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8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9.xml" ContentType="application/vnd.openxmlformats-officedocument.presentationml.notesSlide+xml"/>
  <Override PartName="/ppt/tags/tag76.xml" ContentType="application/vnd.openxmlformats-officedocument.presentationml.tags+xml"/>
  <Override PartName="/ppt/notesSlides/notesSlide10.xml" ContentType="application/vnd.openxmlformats-officedocument.presentationml.notesSlide+xml"/>
  <Override PartName="/ppt/tags/tag77.xml" ContentType="application/vnd.openxmlformats-officedocument.presentationml.tags+xml"/>
  <Override PartName="/ppt/notesSlides/notesSlide11.xml" ContentType="application/vnd.openxmlformats-officedocument.presentationml.notesSlide+xml"/>
  <Override PartName="/ppt/tags/tag78.xml" ContentType="application/vnd.openxmlformats-officedocument.presentationml.tags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694" r:id="rId2"/>
    <p:sldId id="696" r:id="rId3"/>
    <p:sldId id="700" r:id="rId4"/>
    <p:sldId id="713" r:id="rId5"/>
    <p:sldId id="702" r:id="rId6"/>
    <p:sldId id="714" r:id="rId7"/>
    <p:sldId id="711" r:id="rId8"/>
    <p:sldId id="343" r:id="rId9"/>
    <p:sldId id="676" r:id="rId10"/>
    <p:sldId id="555" r:id="rId11"/>
    <p:sldId id="652" r:id="rId12"/>
    <p:sldId id="616" r:id="rId13"/>
    <p:sldId id="586" r:id="rId14"/>
    <p:sldId id="632" r:id="rId15"/>
    <p:sldId id="677" r:id="rId16"/>
    <p:sldId id="563" r:id="rId17"/>
    <p:sldId id="634" r:id="rId18"/>
    <p:sldId id="665" r:id="rId19"/>
    <p:sldId id="715" r:id="rId20"/>
    <p:sldId id="678" r:id="rId21"/>
    <p:sldId id="671" r:id="rId22"/>
    <p:sldId id="672" r:id="rId23"/>
    <p:sldId id="673" r:id="rId24"/>
    <p:sldId id="692" r:id="rId25"/>
    <p:sldId id="675" r:id="rId26"/>
  </p:sldIdLst>
  <p:sldSz cx="11949113" cy="6721475"/>
  <p:notesSz cx="7099300" cy="10234613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8" userDrawn="1">
          <p15:clr>
            <a:srgbClr val="A4A3A4"/>
          </p15:clr>
        </p15:guide>
        <p15:guide id="2" pos="52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5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eu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FD5"/>
    <a:srgbClr val="EE9D44"/>
    <a:srgbClr val="1D648B"/>
    <a:srgbClr val="2886BA"/>
    <a:srgbClr val="000000"/>
    <a:srgbClr val="F0F0F0"/>
    <a:srgbClr val="FFFFFF"/>
    <a:srgbClr val="F3F7F6"/>
    <a:srgbClr val="F5C693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116" autoAdjust="0"/>
    <p:restoredTop sz="92701" autoAdjust="0"/>
  </p:normalViewPr>
  <p:slideViewPr>
    <p:cSldViewPr snapToGrid="0" snapToObjects="1">
      <p:cViewPr varScale="1">
        <p:scale>
          <a:sx n="65" d="100"/>
          <a:sy n="65" d="100"/>
        </p:scale>
        <p:origin x="1278" y="78"/>
      </p:cViewPr>
      <p:guideLst>
        <p:guide orient="horz" pos="1618"/>
        <p:guide pos="52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5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71.emf"/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88.emf"/><Relationship Id="rId1" Type="http://schemas.openxmlformats.org/officeDocument/2006/relationships/image" Target="../media/image7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3.emf"/><Relationship Id="rId1" Type="http://schemas.openxmlformats.org/officeDocument/2006/relationships/image" Target="../media/image46.emf"/><Relationship Id="rId4" Type="http://schemas.openxmlformats.org/officeDocument/2006/relationships/image" Target="../media/image9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825" y="549275"/>
            <a:ext cx="6648450" cy="3740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7" y="5499466"/>
            <a:ext cx="6049781" cy="1276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9" y="9842083"/>
            <a:ext cx="563198" cy="190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1" y="117995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Comes </a:t>
            </a:r>
            <a:r>
              <a:rPr lang="fr-FR" dirty="0" err="1" smtClean="0"/>
              <a:t>from</a:t>
            </a:r>
            <a:r>
              <a:rPr lang="fr-FR" dirty="0" smtClean="0"/>
              <a:t> discussion 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partners</a:t>
            </a:r>
            <a:r>
              <a:rPr lang="fr-FR" dirty="0" smtClean="0"/>
              <a:t>, </a:t>
            </a:r>
            <a:r>
              <a:rPr lang="fr-FR" dirty="0" err="1" smtClean="0"/>
              <a:t>especially</a:t>
            </a:r>
            <a:r>
              <a:rPr lang="fr-FR" baseline="0" dirty="0" smtClean="0"/>
              <a:t> Toyota :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hared</a:t>
            </a:r>
            <a:r>
              <a:rPr lang="fr-FR" baseline="0" dirty="0" smtClean="0"/>
              <a:t> the </a:t>
            </a:r>
            <a:r>
              <a:rPr lang="fr-FR" baseline="0" dirty="0" err="1" smtClean="0"/>
              <a:t>sam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understanding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the vision </a:t>
            </a:r>
            <a:r>
              <a:rPr lang="fr-FR" baseline="0" dirty="0" err="1" smtClean="0"/>
              <a:t>tha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hydroge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a </a:t>
            </a:r>
            <a:r>
              <a:rPr lang="fr-FR" baseline="0" dirty="0" err="1" smtClean="0"/>
              <a:t>tremendou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nerg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vecto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a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il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b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eded</a:t>
            </a:r>
            <a:r>
              <a:rPr lang="fr-FR" baseline="0" dirty="0" smtClean="0"/>
              <a:t> in the future and </a:t>
            </a:r>
            <a:r>
              <a:rPr lang="fr-FR" baseline="0" dirty="0" err="1" smtClean="0"/>
              <a:t>tha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r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arke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pportunities</a:t>
            </a:r>
            <a:r>
              <a:rPr lang="fr-FR" baseline="0" dirty="0" smtClean="0"/>
              <a:t>. For </a:t>
            </a:r>
            <a:r>
              <a:rPr lang="fr-FR" baseline="0" dirty="0" err="1" smtClean="0"/>
              <a:t>th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ed</a:t>
            </a:r>
            <a:r>
              <a:rPr lang="fr-FR" baseline="0" dirty="0" smtClean="0"/>
              <a:t>:</a:t>
            </a:r>
          </a:p>
          <a:p>
            <a:pPr defTabSz="921644">
              <a:defRPr/>
            </a:pP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ed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work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ogether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bring</a:t>
            </a:r>
            <a:r>
              <a:rPr lang="fr-FR" baseline="0" dirty="0" smtClean="0"/>
              <a:t> technologies to </a:t>
            </a:r>
            <a:r>
              <a:rPr lang="fr-FR" baseline="0" dirty="0" err="1" smtClean="0"/>
              <a:t>marke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adines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level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this</a:t>
            </a:r>
            <a:r>
              <a:rPr lang="fr-FR" baseline="0" dirty="0" smtClean="0"/>
              <a:t> all </a:t>
            </a:r>
            <a:r>
              <a:rPr lang="fr-FR" baseline="0" dirty="0" err="1" smtClean="0"/>
              <a:t>along</a:t>
            </a:r>
            <a:r>
              <a:rPr lang="fr-FR" baseline="0" dirty="0" smtClean="0"/>
              <a:t> the value </a:t>
            </a:r>
            <a:r>
              <a:rPr lang="fr-FR" baseline="0" dirty="0" err="1" smtClean="0"/>
              <a:t>chain</a:t>
            </a:r>
            <a:endParaRPr lang="fr-FR" baseline="0" dirty="0" smtClean="0"/>
          </a:p>
          <a:p>
            <a:pPr defTabSz="921644">
              <a:defRPr/>
            </a:pPr>
            <a:r>
              <a:rPr lang="fr-FR" dirty="0" err="1" smtClean="0"/>
              <a:t>We</a:t>
            </a:r>
            <a:r>
              <a:rPr lang="fr-FR" dirty="0" smtClean="0"/>
              <a:t> </a:t>
            </a:r>
            <a:r>
              <a:rPr lang="fr-FR" dirty="0" err="1" smtClean="0"/>
              <a:t>need</a:t>
            </a:r>
            <a:r>
              <a:rPr lang="fr-FR" dirty="0" smtClean="0"/>
              <a:t> to </a:t>
            </a:r>
            <a:r>
              <a:rPr lang="fr-FR" dirty="0" err="1" smtClean="0"/>
              <a:t>work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public and the </a:t>
            </a:r>
            <a:r>
              <a:rPr lang="fr-FR" dirty="0" err="1" smtClean="0"/>
              <a:t>financial</a:t>
            </a:r>
            <a:r>
              <a:rPr lang="fr-FR" dirty="0" smtClean="0"/>
              <a:t> </a:t>
            </a:r>
            <a:r>
              <a:rPr lang="fr-FR" dirty="0" err="1" smtClean="0"/>
              <a:t>sector</a:t>
            </a:r>
            <a:r>
              <a:rPr lang="fr-FR" dirty="0" smtClean="0"/>
              <a:t> to </a:t>
            </a:r>
            <a:r>
              <a:rPr lang="fr-FR" dirty="0" err="1" smtClean="0"/>
              <a:t>share</a:t>
            </a:r>
            <a:r>
              <a:rPr lang="fr-FR" dirty="0" smtClean="0"/>
              <a:t> </a:t>
            </a:r>
            <a:r>
              <a:rPr lang="fr-FR" dirty="0" err="1" smtClean="0"/>
              <a:t>market</a:t>
            </a:r>
            <a:r>
              <a:rPr lang="fr-FR" dirty="0" smtClean="0"/>
              <a:t> </a:t>
            </a:r>
            <a:r>
              <a:rPr lang="fr-FR" dirty="0" err="1" smtClean="0"/>
              <a:t>risks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ensur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rope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inancing</a:t>
            </a:r>
            <a:r>
              <a:rPr lang="fr-FR" baseline="0" dirty="0" smtClean="0"/>
              <a:t> of the </a:t>
            </a:r>
            <a:r>
              <a:rPr lang="fr-FR" baseline="0" dirty="0" err="1" smtClean="0"/>
              <a:t>deployments</a:t>
            </a:r>
            <a:endParaRPr lang="fr-FR" baseline="0" dirty="0" smtClean="0"/>
          </a:p>
          <a:p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scale</a:t>
            </a:r>
            <a:r>
              <a:rPr lang="fr-FR" baseline="0" dirty="0" smtClean="0"/>
              <a:t> up to </a:t>
            </a:r>
            <a:r>
              <a:rPr lang="fr-FR" baseline="0" dirty="0" err="1" smtClean="0"/>
              <a:t>br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sts</a:t>
            </a:r>
            <a:r>
              <a:rPr lang="fr-FR" baseline="0" dirty="0" smtClean="0"/>
              <a:t> down to </a:t>
            </a:r>
            <a:r>
              <a:rPr lang="fr-FR" baseline="0" dirty="0" err="1" smtClean="0"/>
              <a:t>competitivenes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level</a:t>
            </a:r>
            <a:r>
              <a:rPr lang="fr-FR" baseline="0" dirty="0" smtClean="0"/>
              <a:t>, no </a:t>
            </a:r>
            <a:r>
              <a:rPr lang="fr-FR" baseline="0" dirty="0" err="1" smtClean="0"/>
              <a:t>experimentatio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roject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nymore</a:t>
            </a:r>
            <a:endParaRPr lang="fr-FR" baseline="0" dirty="0" smtClean="0"/>
          </a:p>
          <a:p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is</a:t>
            </a:r>
            <a:r>
              <a:rPr lang="fr-FR" baseline="0" dirty="0" smtClean="0"/>
              <a:t> all </a:t>
            </a:r>
            <a:r>
              <a:rPr lang="fr-FR" baseline="0" dirty="0" err="1" smtClean="0"/>
              <a:t>around</a:t>
            </a:r>
            <a:r>
              <a:rPr lang="fr-FR" baseline="0" dirty="0" smtClean="0"/>
              <a:t> the world, cos </a:t>
            </a:r>
            <a:r>
              <a:rPr lang="fr-FR" baseline="0" dirty="0" err="1" smtClean="0"/>
              <a:t>agai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eed</a:t>
            </a:r>
            <a:r>
              <a:rPr lang="fr-FR" baseline="0" dirty="0" smtClean="0"/>
              <a:t> volume</a:t>
            </a:r>
            <a:endParaRPr lang="fr-FR" dirty="0" smtClean="0"/>
          </a:p>
          <a:p>
            <a:r>
              <a:rPr lang="fr-FR" dirty="0" err="1" smtClean="0"/>
              <a:t>We</a:t>
            </a:r>
            <a:r>
              <a:rPr lang="fr-FR" dirty="0" smtClean="0"/>
              <a:t> are </a:t>
            </a:r>
            <a:r>
              <a:rPr lang="fr-FR" dirty="0" err="1" smtClean="0"/>
              <a:t>organised</a:t>
            </a:r>
            <a:r>
              <a:rPr lang="fr-FR" dirty="0" smtClean="0"/>
              <a:t> </a:t>
            </a:r>
            <a:r>
              <a:rPr lang="fr-FR" dirty="0" err="1" smtClean="0"/>
              <a:t>around</a:t>
            </a:r>
            <a:r>
              <a:rPr lang="fr-FR" dirty="0" smtClean="0"/>
              <a:t> 2 main objectives:</a:t>
            </a:r>
          </a:p>
          <a:p>
            <a:pPr marL="172808" indent="-172808">
              <a:buFontTx/>
              <a:buChar char="-"/>
            </a:pPr>
            <a:r>
              <a:rPr lang="fr-FR" dirty="0" err="1" smtClean="0"/>
              <a:t>Gather</a:t>
            </a:r>
            <a:r>
              <a:rPr lang="fr-FR" dirty="0" smtClean="0"/>
              <a:t> the </a:t>
            </a:r>
            <a:r>
              <a:rPr lang="fr-FR" dirty="0" err="1" smtClean="0"/>
              <a:t>actors</a:t>
            </a:r>
            <a:r>
              <a:rPr lang="fr-FR" dirty="0" smtClean="0"/>
              <a:t> </a:t>
            </a:r>
            <a:r>
              <a:rPr lang="fr-FR" dirty="0" err="1" smtClean="0"/>
              <a:t>along</a:t>
            </a:r>
            <a:r>
              <a:rPr lang="fr-FR" dirty="0" smtClean="0"/>
              <a:t> the value </a:t>
            </a:r>
            <a:r>
              <a:rPr lang="fr-FR" dirty="0" err="1" smtClean="0"/>
              <a:t>chain</a:t>
            </a:r>
            <a:r>
              <a:rPr lang="fr-FR" dirty="0" smtClean="0"/>
              <a:t> for us to </a:t>
            </a:r>
            <a:r>
              <a:rPr lang="fr-FR" dirty="0" err="1" smtClean="0"/>
              <a:t>ensure</a:t>
            </a:r>
            <a:r>
              <a:rPr lang="fr-FR" dirty="0" smtClean="0"/>
              <a:t> </a:t>
            </a:r>
            <a:r>
              <a:rPr lang="fr-FR" dirty="0" err="1" smtClean="0"/>
              <a:t>prope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ndustria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velopments</a:t>
            </a:r>
            <a:r>
              <a:rPr lang="fr-FR" baseline="0" dirty="0" smtClean="0"/>
              <a:t> of key components and </a:t>
            </a:r>
            <a:r>
              <a:rPr lang="fr-FR" baseline="0" dirty="0" err="1" smtClean="0"/>
              <a:t>comprehensiv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ployments</a:t>
            </a:r>
            <a:endParaRPr lang="fr-FR" baseline="0" dirty="0" smtClean="0"/>
          </a:p>
          <a:p>
            <a:pPr marL="172808" indent="-172808">
              <a:buFontTx/>
              <a:buChar char="-"/>
            </a:pPr>
            <a:r>
              <a:rPr lang="fr-FR" baseline="0" dirty="0" smtClean="0"/>
              <a:t>Target key </a:t>
            </a:r>
            <a:r>
              <a:rPr lang="fr-FR" baseline="0" dirty="0" err="1" smtClean="0"/>
              <a:t>decision</a:t>
            </a:r>
            <a:r>
              <a:rPr lang="fr-FR" baseline="0" dirty="0" smtClean="0"/>
              <a:t> markers, </a:t>
            </a:r>
            <a:r>
              <a:rPr lang="fr-FR" baseline="0" dirty="0" err="1" smtClean="0"/>
              <a:t>advocate</a:t>
            </a:r>
            <a:r>
              <a:rPr lang="fr-FR" baseline="0" dirty="0" smtClean="0"/>
              <a:t> to public </a:t>
            </a:r>
            <a:r>
              <a:rPr lang="fr-FR" baseline="0" dirty="0" err="1" smtClean="0"/>
              <a:t>decisio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akers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investors</a:t>
            </a:r>
            <a:r>
              <a:rPr lang="fr-FR" baseline="0" dirty="0" smtClean="0"/>
              <a:t> and media </a:t>
            </a:r>
            <a:r>
              <a:rPr lang="fr-FR" baseline="0" dirty="0" err="1" smtClean="0"/>
              <a:t>rol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hydroge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a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lay</a:t>
            </a:r>
            <a:r>
              <a:rPr lang="fr-FR" baseline="0" dirty="0" smtClean="0"/>
              <a:t> in the </a:t>
            </a:r>
            <a:r>
              <a:rPr lang="fr-FR" baseline="0" dirty="0" err="1" smtClean="0"/>
              <a:t>energy</a:t>
            </a:r>
            <a:r>
              <a:rPr lang="fr-FR" baseline="0" dirty="0" smtClean="0"/>
              <a:t> transition </a:t>
            </a:r>
            <a:r>
              <a:rPr lang="fr-FR" baseline="0" dirty="0" err="1" smtClean="0"/>
              <a:t>therefore</a:t>
            </a:r>
            <a:r>
              <a:rPr lang="fr-FR" baseline="0" dirty="0" smtClean="0"/>
              <a:t> the </a:t>
            </a:r>
            <a:r>
              <a:rPr lang="fr-FR" baseline="0" dirty="0" err="1" smtClean="0"/>
              <a:t>benefit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ould</a:t>
            </a:r>
            <a:r>
              <a:rPr lang="fr-FR" baseline="0" dirty="0" smtClean="0"/>
              <a:t> have </a:t>
            </a:r>
            <a:r>
              <a:rPr lang="fr-FR" baseline="0" dirty="0" err="1" smtClean="0"/>
              <a:t>economically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environmentally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deplo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is</a:t>
            </a:r>
            <a:r>
              <a:rPr lang="fr-FR" baseline="0" dirty="0" smtClean="0"/>
              <a:t> solution.</a:t>
            </a:r>
            <a:endParaRPr lang="fr-FR" dirty="0" smtClean="0"/>
          </a:p>
          <a:p>
            <a:r>
              <a:rPr lang="fr-FR" dirty="0" smtClean="0"/>
              <a:t>To </a:t>
            </a:r>
            <a:r>
              <a:rPr lang="fr-FR" dirty="0" err="1" smtClean="0"/>
              <a:t>achieve</a:t>
            </a:r>
            <a:r>
              <a:rPr lang="fr-FR" dirty="0" smtClean="0"/>
              <a:t> </a:t>
            </a:r>
            <a:r>
              <a:rPr lang="fr-FR" dirty="0" err="1" smtClean="0"/>
              <a:t>these</a:t>
            </a:r>
            <a:r>
              <a:rPr lang="fr-FR" dirty="0" smtClean="0"/>
              <a:t> objectives </a:t>
            </a:r>
            <a:r>
              <a:rPr lang="fr-FR" dirty="0" err="1" smtClean="0"/>
              <a:t>we</a:t>
            </a:r>
            <a:r>
              <a:rPr lang="fr-FR" dirty="0" smtClean="0"/>
              <a:t> hav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velop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evera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eans</a:t>
            </a:r>
            <a:r>
              <a:rPr lang="fr-FR" baseline="0" dirty="0" smtClean="0"/>
              <a:t> or </a:t>
            </a:r>
            <a:r>
              <a:rPr lang="fr-FR" baseline="0" dirty="0" err="1" smtClean="0"/>
              <a:t>develop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oolboxes</a:t>
            </a:r>
            <a:r>
              <a:rPr lang="fr-FR" baseline="0" dirty="0" smtClean="0"/>
              <a:t>:</a:t>
            </a:r>
          </a:p>
          <a:p>
            <a:pPr marL="230411" indent="-230411">
              <a:buAutoNum type="arabicParenR"/>
            </a:pPr>
            <a:r>
              <a:rPr lang="fr-FR" baseline="0" dirty="0" smtClean="0"/>
              <a:t>Events : Our </a:t>
            </a:r>
            <a:r>
              <a:rPr lang="fr-FR" baseline="0" dirty="0" err="1" smtClean="0"/>
              <a:t>annual</a:t>
            </a:r>
            <a:r>
              <a:rPr lang="fr-FR" baseline="0" dirty="0" smtClean="0"/>
              <a:t> CEO </a:t>
            </a:r>
            <a:r>
              <a:rPr lang="fr-FR" baseline="0" dirty="0" err="1" smtClean="0"/>
              <a:t>event</a:t>
            </a:r>
            <a:r>
              <a:rPr lang="fr-FR" baseline="0" dirty="0" smtClean="0"/>
              <a:t> or topics </a:t>
            </a:r>
            <a:r>
              <a:rPr lang="fr-FR" baseline="0" dirty="0" err="1" smtClean="0"/>
              <a:t>even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br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ogether</a:t>
            </a:r>
            <a:r>
              <a:rPr lang="fr-FR" baseline="0" dirty="0" smtClean="0"/>
              <a:t> top leaders of key </a:t>
            </a:r>
            <a:r>
              <a:rPr lang="fr-FR" baseline="0" dirty="0" err="1" smtClean="0"/>
              <a:t>industria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layers</a:t>
            </a:r>
            <a:endParaRPr lang="fr-FR" baseline="0" dirty="0" smtClean="0"/>
          </a:p>
          <a:p>
            <a:pPr marL="230411" indent="-230411" defTabSz="921644">
              <a:buFontTx/>
              <a:buAutoNum type="arabicParenR"/>
              <a:defRPr/>
            </a:pPr>
            <a:r>
              <a:rPr lang="fr-FR" baseline="0" dirty="0" err="1" smtClean="0"/>
              <a:t>Hydrogen</a:t>
            </a:r>
            <a:r>
              <a:rPr lang="fr-FR" baseline="0" dirty="0" smtClean="0"/>
              <a:t> Package : simple </a:t>
            </a:r>
            <a:r>
              <a:rPr lang="fr-FR" baseline="0" dirty="0" err="1" smtClean="0"/>
              <a:t>term</a:t>
            </a:r>
            <a:r>
              <a:rPr lang="fr-FR" baseline="0" dirty="0" smtClean="0"/>
              <a:t> for a </a:t>
            </a:r>
            <a:r>
              <a:rPr lang="fr-FR" baseline="0" dirty="0" err="1" smtClean="0"/>
              <a:t>complex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dvocacy</a:t>
            </a:r>
            <a:r>
              <a:rPr lang="fr-FR" baseline="0" dirty="0" smtClean="0"/>
              <a:t> actions : </a:t>
            </a:r>
            <a:r>
              <a:rPr lang="en-US" b="1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Calibri"/>
                <a:cs typeface="Calibri"/>
                <a:sym typeface="Calibri"/>
              </a:rPr>
              <a:t>Purpose is </a:t>
            </a:r>
            <a:r>
              <a:rPr lang="fr-FR" baseline="0" dirty="0" smtClean="0"/>
              <a:t>to have a consistent and </a:t>
            </a:r>
            <a:r>
              <a:rPr lang="fr-FR" baseline="0" dirty="0" err="1" smtClean="0"/>
              <a:t>comprehensiv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ployment</a:t>
            </a:r>
            <a:r>
              <a:rPr lang="fr-FR" baseline="0" dirty="0" smtClean="0"/>
              <a:t> plan + </a:t>
            </a:r>
            <a:r>
              <a:rPr lang="fr-FR" baseline="0" dirty="0" err="1" smtClean="0"/>
              <a:t>supportiv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legislations</a:t>
            </a:r>
            <a:r>
              <a:rPr lang="fr-FR" baseline="0" dirty="0" smtClean="0"/>
              <a:t> in </a:t>
            </a:r>
            <a:r>
              <a:rPr lang="fr-FR" baseline="0" dirty="0" err="1" smtClean="0"/>
              <a:t>parallel</a:t>
            </a:r>
            <a:r>
              <a:rPr lang="fr-FR" baseline="0" dirty="0" smtClean="0"/>
              <a:t> in </a:t>
            </a:r>
            <a:r>
              <a:rPr lang="fr-FR" baseline="0" dirty="0" err="1" smtClean="0"/>
              <a:t>many</a:t>
            </a:r>
            <a:r>
              <a:rPr lang="fr-FR" baseline="0" dirty="0" smtClean="0"/>
              <a:t> countries to </a:t>
            </a:r>
            <a:r>
              <a:rPr lang="fr-FR" baseline="0" dirty="0" err="1" smtClean="0"/>
              <a:t>ensure</a:t>
            </a:r>
            <a:r>
              <a:rPr lang="fr-FR" baseline="0" dirty="0" smtClean="0"/>
              <a:t> volume to </a:t>
            </a:r>
            <a:r>
              <a:rPr lang="fr-FR" baseline="0" dirty="0" err="1" smtClean="0"/>
              <a:t>decreas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sts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prope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ecto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verage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attrac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rivat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inancia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ector</a:t>
            </a:r>
            <a:endParaRPr lang="fr-FR" baseline="0" dirty="0" smtClean="0"/>
          </a:p>
          <a:p>
            <a:pPr marL="806439" lvl="1" indent="-345617">
              <a:buFont typeface="+mj-lt"/>
              <a:buAutoNum type="alphaLcParenR"/>
            </a:pPr>
            <a:r>
              <a:rPr lang="fr-FR" sz="1400" dirty="0" err="1" smtClean="0"/>
              <a:t>Quantified</a:t>
            </a:r>
            <a:r>
              <a:rPr lang="fr-FR" sz="1400" dirty="0" smtClean="0"/>
              <a:t> vision of the </a:t>
            </a:r>
            <a:r>
              <a:rPr lang="fr-FR" sz="1400" dirty="0" err="1" smtClean="0"/>
              <a:t>hydrogen</a:t>
            </a:r>
            <a:r>
              <a:rPr lang="fr-FR" sz="1400" dirty="0" smtClean="0"/>
              <a:t> </a:t>
            </a:r>
            <a:r>
              <a:rPr lang="fr-FR" sz="1400" dirty="0" err="1" smtClean="0"/>
              <a:t>role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energy</a:t>
            </a:r>
            <a:r>
              <a:rPr lang="fr-FR" sz="1400" dirty="0" smtClean="0"/>
              <a:t> system </a:t>
            </a:r>
            <a:r>
              <a:rPr lang="fr-FR" sz="1400" dirty="0" err="1" smtClean="0"/>
              <a:t>with</a:t>
            </a:r>
            <a:r>
              <a:rPr lang="fr-FR" sz="1400" dirty="0" smtClean="0"/>
              <a:t> </a:t>
            </a:r>
            <a:r>
              <a:rPr lang="fr-FR" sz="1400" dirty="0" err="1" smtClean="0"/>
              <a:t>deployment</a:t>
            </a:r>
            <a:r>
              <a:rPr lang="fr-FR" sz="1400" dirty="0" smtClean="0"/>
              <a:t> roadmap: </a:t>
            </a:r>
          </a:p>
          <a:p>
            <a:pPr marL="1267261" lvl="2" indent="-345617">
              <a:buFont typeface="+mj-lt"/>
              <a:buAutoNum type="arabicPeriod"/>
            </a:pPr>
            <a:r>
              <a:rPr lang="fr-FR" sz="1400" dirty="0" smtClean="0"/>
              <a:t>At global </a:t>
            </a:r>
            <a:r>
              <a:rPr lang="fr-FR" sz="1400" dirty="0" err="1" smtClean="0"/>
              <a:t>level</a:t>
            </a:r>
            <a:r>
              <a:rPr lang="fr-FR" sz="1400" dirty="0" smtClean="0"/>
              <a:t> : </a:t>
            </a:r>
            <a:r>
              <a:rPr lang="fr-FR" sz="1400" dirty="0" err="1" smtClean="0"/>
              <a:t>Hydrogen</a:t>
            </a:r>
            <a:r>
              <a:rPr lang="fr-FR" sz="1400" dirty="0" smtClean="0"/>
              <a:t> </a:t>
            </a:r>
            <a:r>
              <a:rPr lang="fr-FR" sz="1400" dirty="0" err="1" smtClean="0"/>
              <a:t>scaling</a:t>
            </a:r>
            <a:r>
              <a:rPr lang="fr-FR" sz="1400" dirty="0" smtClean="0"/>
              <a:t> up </a:t>
            </a:r>
            <a:r>
              <a:rPr lang="fr-FR" sz="1400" dirty="0" err="1" smtClean="0"/>
              <a:t>study</a:t>
            </a:r>
            <a:r>
              <a:rPr lang="fr-FR" sz="1400" dirty="0" smtClean="0"/>
              <a:t> &gt; First </a:t>
            </a:r>
            <a:r>
              <a:rPr lang="fr-FR" sz="1400" dirty="0" err="1" smtClean="0"/>
              <a:t>step</a:t>
            </a:r>
            <a:r>
              <a:rPr lang="fr-FR" sz="1400" dirty="0" smtClean="0"/>
              <a:t> : </a:t>
            </a:r>
            <a:r>
              <a:rPr lang="fr-FR" sz="1400" dirty="0" err="1" smtClean="0"/>
              <a:t>quantified</a:t>
            </a:r>
            <a:r>
              <a:rPr lang="fr-FR" sz="1400" dirty="0" smtClean="0"/>
              <a:t> vision of the </a:t>
            </a:r>
            <a:r>
              <a:rPr lang="fr-FR" sz="1400" dirty="0" err="1" smtClean="0"/>
              <a:t>hydrogen</a:t>
            </a:r>
            <a:r>
              <a:rPr lang="fr-FR" sz="1400" dirty="0" smtClean="0"/>
              <a:t> </a:t>
            </a:r>
            <a:r>
              <a:rPr lang="fr-FR" sz="1400" dirty="0" err="1" smtClean="0"/>
              <a:t>role</a:t>
            </a:r>
            <a:r>
              <a:rPr lang="fr-FR" sz="1400" dirty="0" smtClean="0"/>
              <a:t> in the </a:t>
            </a:r>
            <a:r>
              <a:rPr lang="fr-FR" sz="1400" dirty="0" err="1" smtClean="0"/>
              <a:t>energy</a:t>
            </a:r>
            <a:r>
              <a:rPr lang="fr-FR" sz="1400" dirty="0" smtClean="0"/>
              <a:t> system </a:t>
            </a:r>
            <a:r>
              <a:rPr lang="fr-FR" sz="1400" dirty="0" err="1" smtClean="0"/>
              <a:t>with</a:t>
            </a:r>
            <a:r>
              <a:rPr lang="fr-FR" sz="1400" dirty="0" smtClean="0"/>
              <a:t> </a:t>
            </a:r>
            <a:r>
              <a:rPr lang="fr-FR" sz="1400" dirty="0" err="1" smtClean="0"/>
              <a:t>deployment</a:t>
            </a:r>
            <a:r>
              <a:rPr lang="fr-FR" sz="1400" dirty="0" smtClean="0"/>
              <a:t> roadmaps at global </a:t>
            </a:r>
            <a:r>
              <a:rPr lang="fr-FR" sz="1400" dirty="0" err="1" smtClean="0"/>
              <a:t>level</a:t>
            </a:r>
            <a:r>
              <a:rPr lang="fr-FR" sz="1400" dirty="0" smtClean="0"/>
              <a:t> : </a:t>
            </a:r>
            <a:r>
              <a:rPr lang="fr-FR" sz="1400" dirty="0" err="1" smtClean="0"/>
              <a:t>gives</a:t>
            </a:r>
            <a:r>
              <a:rPr lang="fr-FR" sz="1400" dirty="0" smtClean="0"/>
              <a:t> a </a:t>
            </a:r>
            <a:r>
              <a:rPr lang="fr-FR" sz="1400" dirty="0" err="1" smtClean="0"/>
              <a:t>methodology</a:t>
            </a:r>
            <a:r>
              <a:rPr lang="fr-FR" sz="1400" dirty="0" smtClean="0"/>
              <a:t> </a:t>
            </a:r>
            <a:r>
              <a:rPr lang="fr-FR" sz="1400" dirty="0" err="1" smtClean="0"/>
              <a:t>that</a:t>
            </a:r>
            <a:r>
              <a:rPr lang="fr-FR" sz="1400" dirty="0" smtClean="0"/>
              <a:t> </a:t>
            </a:r>
            <a:r>
              <a:rPr lang="fr-FR" sz="1400" dirty="0" err="1" smtClean="0"/>
              <a:t>can</a:t>
            </a:r>
            <a:r>
              <a:rPr lang="fr-FR" sz="1400" dirty="0" smtClean="0"/>
              <a:t> </a:t>
            </a:r>
            <a:r>
              <a:rPr lang="fr-FR" sz="1400" dirty="0" err="1" smtClean="0"/>
              <a:t>be</a:t>
            </a:r>
            <a:r>
              <a:rPr lang="fr-FR" sz="1400" dirty="0" smtClean="0"/>
              <a:t> </a:t>
            </a:r>
            <a:r>
              <a:rPr lang="fr-FR" sz="1400" dirty="0" err="1" smtClean="0"/>
              <a:t>replicated</a:t>
            </a:r>
            <a:r>
              <a:rPr lang="fr-FR" sz="1400" dirty="0" smtClean="0"/>
              <a:t> at national </a:t>
            </a:r>
            <a:r>
              <a:rPr lang="fr-FR" sz="1400" dirty="0" err="1" smtClean="0"/>
              <a:t>level</a:t>
            </a:r>
            <a:r>
              <a:rPr lang="fr-FR" sz="1400" dirty="0" smtClean="0"/>
              <a:t> and </a:t>
            </a:r>
            <a:r>
              <a:rPr lang="fr-FR" sz="1400" dirty="0" err="1" smtClean="0"/>
              <a:t>based</a:t>
            </a:r>
            <a:r>
              <a:rPr lang="fr-FR" sz="1400" dirty="0" smtClean="0"/>
              <a:t> on </a:t>
            </a:r>
            <a:r>
              <a:rPr lang="fr-FR" sz="1400" dirty="0" err="1" smtClean="0"/>
              <a:t>which</a:t>
            </a:r>
            <a:r>
              <a:rPr lang="fr-FR" sz="1400" dirty="0" smtClean="0"/>
              <a:t> countries </a:t>
            </a:r>
            <a:r>
              <a:rPr lang="fr-FR" sz="1400" dirty="0" err="1" smtClean="0"/>
              <a:t>can</a:t>
            </a:r>
            <a:r>
              <a:rPr lang="fr-FR" sz="1400" dirty="0" smtClean="0"/>
              <a:t> </a:t>
            </a:r>
            <a:r>
              <a:rPr lang="fr-FR" sz="1400" dirty="0" err="1" smtClean="0"/>
              <a:t>develop</a:t>
            </a:r>
            <a:r>
              <a:rPr lang="fr-FR" sz="1400" dirty="0" smtClean="0"/>
              <a:t> </a:t>
            </a:r>
            <a:r>
              <a:rPr lang="fr-FR" sz="1400" dirty="0" err="1" smtClean="0"/>
              <a:t>hydrogen</a:t>
            </a:r>
            <a:r>
              <a:rPr lang="fr-FR" sz="1400" dirty="0" smtClean="0"/>
              <a:t> </a:t>
            </a:r>
            <a:r>
              <a:rPr lang="fr-FR" sz="1400" dirty="0" err="1" smtClean="0"/>
              <a:t>deployment</a:t>
            </a:r>
            <a:r>
              <a:rPr lang="fr-FR" sz="1400" dirty="0" smtClean="0"/>
              <a:t> plan as in </a:t>
            </a:r>
            <a:r>
              <a:rPr lang="fr-FR" sz="1400" dirty="0" err="1" smtClean="0"/>
              <a:t>Japan</a:t>
            </a:r>
            <a:endParaRPr lang="fr-FR" sz="1400" dirty="0" smtClean="0"/>
          </a:p>
          <a:p>
            <a:pPr marL="1267261" lvl="2" indent="-345617">
              <a:buFont typeface="+mj-lt"/>
              <a:buAutoNum type="arabicPeriod"/>
            </a:pPr>
            <a:r>
              <a:rPr lang="fr-FR" sz="1400" dirty="0" smtClean="0"/>
              <a:t>Second </a:t>
            </a:r>
            <a:r>
              <a:rPr lang="fr-FR" sz="1400" dirty="0" err="1" smtClean="0"/>
              <a:t>step</a:t>
            </a:r>
            <a:r>
              <a:rPr lang="fr-FR" sz="1400" dirty="0" smtClean="0"/>
              <a:t>: Impulse roadmap </a:t>
            </a:r>
            <a:r>
              <a:rPr lang="fr-FR" sz="1400" dirty="0" err="1" smtClean="0"/>
              <a:t>development</a:t>
            </a:r>
            <a:r>
              <a:rPr lang="fr-FR" sz="1400" dirty="0" smtClean="0"/>
              <a:t> </a:t>
            </a:r>
            <a:r>
              <a:rPr lang="fr-FR" sz="1400" dirty="0" err="1" smtClean="0"/>
              <a:t>coherent</a:t>
            </a:r>
            <a:r>
              <a:rPr lang="fr-FR" sz="1400" dirty="0" smtClean="0"/>
              <a:t> </a:t>
            </a:r>
            <a:r>
              <a:rPr lang="fr-FR" sz="1400" dirty="0" err="1" smtClean="0"/>
              <a:t>with</a:t>
            </a:r>
            <a:r>
              <a:rPr lang="fr-FR" sz="1400" dirty="0" smtClean="0"/>
              <a:t> global </a:t>
            </a:r>
            <a:r>
              <a:rPr lang="fr-FR" sz="1400" dirty="0" err="1" smtClean="0"/>
              <a:t>study</a:t>
            </a:r>
            <a:r>
              <a:rPr lang="fr-FR" sz="1400" dirty="0" smtClean="0"/>
              <a:t> at national </a:t>
            </a:r>
            <a:r>
              <a:rPr lang="fr-FR" sz="1400" dirty="0" err="1" smtClean="0"/>
              <a:t>level</a:t>
            </a:r>
            <a:r>
              <a:rPr lang="fr-FR" sz="1400" dirty="0" smtClean="0"/>
              <a:t> </a:t>
            </a:r>
            <a:r>
              <a:rPr lang="fr-FR" sz="1400" dirty="0" err="1" smtClean="0"/>
              <a:t>with</a:t>
            </a:r>
            <a:r>
              <a:rPr lang="fr-FR" sz="1400" dirty="0" smtClean="0"/>
              <a:t> H2C </a:t>
            </a:r>
            <a:r>
              <a:rPr lang="fr-FR" sz="1400" dirty="0" err="1" smtClean="0"/>
              <a:t>members</a:t>
            </a:r>
            <a:r>
              <a:rPr lang="fr-FR" sz="1400" dirty="0" smtClean="0"/>
              <a:t> </a:t>
            </a:r>
            <a:r>
              <a:rPr lang="fr-FR" sz="1400" dirty="0" err="1" smtClean="0"/>
              <a:t>leverage</a:t>
            </a:r>
            <a:endParaRPr lang="fr-FR" sz="1400" dirty="0" smtClean="0"/>
          </a:p>
          <a:p>
            <a:pPr marL="1267261" lvl="2" indent="-345617">
              <a:buFont typeface="+mj-lt"/>
              <a:buAutoNum type="arabicPeriod"/>
            </a:pPr>
            <a:r>
              <a:rPr lang="fr-FR" sz="1400" dirty="0" err="1" smtClean="0"/>
              <a:t>Third</a:t>
            </a:r>
            <a:r>
              <a:rPr lang="fr-FR" sz="1400" dirty="0" smtClean="0"/>
              <a:t> </a:t>
            </a:r>
            <a:r>
              <a:rPr lang="fr-FR" sz="1400" dirty="0" err="1" smtClean="0"/>
              <a:t>step</a:t>
            </a:r>
            <a:r>
              <a:rPr lang="fr-FR" sz="1400" dirty="0" smtClean="0"/>
              <a:t> and </a:t>
            </a:r>
            <a:r>
              <a:rPr lang="fr-FR" sz="1400" dirty="0" err="1" smtClean="0"/>
              <a:t>beyond</a:t>
            </a:r>
            <a:r>
              <a:rPr lang="fr-FR" sz="1400" dirty="0" smtClean="0"/>
              <a:t>: </a:t>
            </a:r>
            <a:r>
              <a:rPr lang="fr-FR" sz="1400" dirty="0" err="1" smtClean="0"/>
              <a:t>provide</a:t>
            </a:r>
            <a:r>
              <a:rPr lang="fr-FR" sz="1400" dirty="0" smtClean="0"/>
              <a:t> </a:t>
            </a:r>
            <a:r>
              <a:rPr lang="fr-FR" sz="1400" dirty="0" err="1" smtClean="0"/>
              <a:t>tools</a:t>
            </a:r>
            <a:r>
              <a:rPr lang="fr-FR" sz="1400" dirty="0" smtClean="0"/>
              <a:t> for key </a:t>
            </a:r>
            <a:r>
              <a:rPr lang="fr-FR" sz="1400" dirty="0" err="1" smtClean="0"/>
              <a:t>decision</a:t>
            </a:r>
            <a:r>
              <a:rPr lang="fr-FR" sz="1400" dirty="0" smtClean="0"/>
              <a:t> </a:t>
            </a:r>
            <a:r>
              <a:rPr lang="fr-FR" sz="1400" dirty="0" err="1" smtClean="0"/>
              <a:t>makers</a:t>
            </a:r>
            <a:endParaRPr lang="fr-FR" baseline="0" dirty="0" smtClean="0"/>
          </a:p>
          <a:p>
            <a:pPr marL="230411" indent="-230411">
              <a:buAutoNum type="arabicParenR"/>
            </a:pPr>
            <a:r>
              <a:rPr lang="fr-FR" baseline="0" dirty="0" err="1" smtClean="0"/>
              <a:t>Multilatera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ialog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key international organisations to </a:t>
            </a:r>
            <a:r>
              <a:rPr lang="fr-FR" baseline="0" dirty="0" err="1" smtClean="0"/>
              <a:t>specific</a:t>
            </a:r>
            <a:r>
              <a:rPr lang="fr-FR" baseline="0" dirty="0" smtClean="0"/>
              <a:t> objectives : R&amp;D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Mission Innovation, </a:t>
            </a:r>
            <a:r>
              <a:rPr lang="fr-FR" baseline="0" dirty="0" err="1" smtClean="0"/>
              <a:t>Energy</a:t>
            </a:r>
            <a:r>
              <a:rPr lang="fr-FR" baseline="0" dirty="0" smtClean="0"/>
              <a:t> scenarii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IEA, Financial </a:t>
            </a:r>
            <a:r>
              <a:rPr lang="fr-FR" baseline="0" dirty="0" err="1" smtClean="0"/>
              <a:t>tool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olrd</a:t>
            </a:r>
            <a:r>
              <a:rPr lang="fr-FR" baseline="0" dirty="0" smtClean="0"/>
              <a:t> Bank </a:t>
            </a:r>
            <a:r>
              <a:rPr lang="fr-FR" baseline="0" dirty="0" err="1" smtClean="0"/>
              <a:t>etc</a:t>
            </a:r>
            <a:endParaRPr lang="fr-FR" baseline="0" dirty="0" smtClean="0"/>
          </a:p>
          <a:p>
            <a:pPr marL="230411" indent="-230411">
              <a:buAutoNum type="arabicParenR"/>
            </a:pPr>
            <a:r>
              <a:rPr lang="fr-FR" baseline="0" dirty="0" err="1" smtClean="0"/>
              <a:t>Studies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fe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oolbox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velopment</a:t>
            </a:r>
            <a:r>
              <a:rPr lang="fr-FR" baseline="0" dirty="0" smtClean="0"/>
              <a:t> : Policy benchmarks, </a:t>
            </a:r>
            <a:r>
              <a:rPr lang="fr-FR" baseline="0" dirty="0" err="1" smtClean="0"/>
              <a:t>financ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chemes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cost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mpetitiveness</a:t>
            </a: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6183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700" y="550863"/>
            <a:ext cx="6672263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23764" y="5348251"/>
            <a:ext cx="6564018" cy="255248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4496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700" y="550863"/>
            <a:ext cx="6672263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23764" y="5348251"/>
            <a:ext cx="6564018" cy="255248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9774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700" y="550863"/>
            <a:ext cx="6672263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23764" y="5348251"/>
            <a:ext cx="6564018" cy="255248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4363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700" y="550863"/>
            <a:ext cx="6672263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23764" y="5348251"/>
            <a:ext cx="6564018" cy="255248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8205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442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livered new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udies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 show the role of hydrogen technologies in the global energy transition and the benefits of hydrogen’s scale deployment </a:t>
            </a:r>
          </a:p>
          <a:p>
            <a:pPr algn="l"/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a 2°C scenario.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931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74897" y="5499465"/>
            <a:ext cx="6049781" cy="1520488"/>
          </a:xfrm>
        </p:spPr>
        <p:txBody>
          <a:bodyPr/>
          <a:lstStyle/>
          <a:p>
            <a:pPr lvl="1">
              <a:spcBef>
                <a:spcPct val="50000"/>
              </a:spcBef>
            </a:pPr>
            <a:r>
              <a:rPr lang="en-US" dirty="0" smtClean="0"/>
              <a:t>First </a:t>
            </a:r>
            <a:r>
              <a:rPr lang="en-US" b="1" dirty="0" smtClean="0"/>
              <a:t>comprehensive quantified vision </a:t>
            </a:r>
            <a:r>
              <a:rPr lang="en-US" dirty="0" smtClean="0"/>
              <a:t>and </a:t>
            </a:r>
            <a:r>
              <a:rPr lang="en-US" b="1" dirty="0" smtClean="0"/>
              <a:t>roadmap</a:t>
            </a:r>
            <a:r>
              <a:rPr lang="en-US" dirty="0" smtClean="0"/>
              <a:t> for deployment</a:t>
            </a:r>
          </a:p>
          <a:p>
            <a:pPr lvl="1">
              <a:spcBef>
                <a:spcPct val="50000"/>
              </a:spcBef>
            </a:pPr>
            <a:r>
              <a:rPr lang="en-US" b="1" dirty="0" smtClean="0"/>
              <a:t>Ambitious yet realistic</a:t>
            </a:r>
          </a:p>
          <a:p>
            <a:pPr lvl="1">
              <a:spcBef>
                <a:spcPct val="50000"/>
              </a:spcBef>
            </a:pPr>
            <a:r>
              <a:rPr lang="en-US" b="1" dirty="0" smtClean="0"/>
              <a:t>Integrated</a:t>
            </a:r>
            <a:r>
              <a:rPr lang="en-US" dirty="0" smtClean="0"/>
              <a:t> </a:t>
            </a:r>
            <a:r>
              <a:rPr lang="en-US" b="1" dirty="0" smtClean="0"/>
              <a:t>study</a:t>
            </a:r>
            <a:r>
              <a:rPr lang="en-US" dirty="0" smtClean="0"/>
              <a:t> of Hydrogen Council and McKinse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629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7650" y="550863"/>
            <a:ext cx="6673850" cy="37544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6374" y="5519737"/>
            <a:ext cx="6065329" cy="508779"/>
          </a:xfrm>
        </p:spPr>
        <p:txBody>
          <a:bodyPr/>
          <a:lstStyle/>
          <a:p>
            <a:r>
              <a:rPr lang="en-US" b="1" dirty="0"/>
              <a:t>Global demand and supply could reach X </a:t>
            </a:r>
            <a:r>
              <a:rPr lang="en-US" b="1" dirty="0" err="1"/>
              <a:t>EJ</a:t>
            </a:r>
            <a:r>
              <a:rPr lang="en-US" b="1" dirty="0"/>
              <a:t> by 2030, X </a:t>
            </a:r>
            <a:r>
              <a:rPr lang="en-US" b="1" dirty="0" err="1"/>
              <a:t>EJ</a:t>
            </a:r>
            <a:r>
              <a:rPr lang="en-US" b="1" dirty="0"/>
              <a:t> by 2050</a:t>
            </a:r>
            <a:endParaRPr lang="de-DE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776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0465" y="5480960"/>
            <a:ext cx="6003134" cy="25438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9482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0465" y="5480960"/>
            <a:ext cx="6003134" cy="25438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4862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88465" y="5127547"/>
            <a:ext cx="6192543" cy="25438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0729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700" y="550863"/>
            <a:ext cx="6672263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23764" y="5348251"/>
            <a:ext cx="6564018" cy="255248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52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92A003B6-125E-440F-A01D-B5F895BA1506}"/>
              </a:ext>
            </a:extLst>
          </p:cNvPr>
          <p:cNvSpPr/>
          <p:nvPr/>
        </p:nvSpPr>
        <p:spPr>
          <a:xfrm>
            <a:off x="6590223" y="84197"/>
            <a:ext cx="2957368" cy="1243476"/>
          </a:xfrm>
          <a:custGeom>
            <a:avLst/>
            <a:gdLst>
              <a:gd name="connsiteX0" fmla="*/ 0 w 2957368"/>
              <a:gd name="connsiteY0" fmla="*/ 0 h 1243476"/>
              <a:gd name="connsiteX1" fmla="*/ 2957368 w 2957368"/>
              <a:gd name="connsiteY1" fmla="*/ 0 h 1243476"/>
              <a:gd name="connsiteX2" fmla="*/ 2244234 w 2957368"/>
              <a:gd name="connsiteY2" fmla="*/ 1243476 h 1243476"/>
              <a:gd name="connsiteX3" fmla="*/ 713134 w 2957368"/>
              <a:gd name="connsiteY3" fmla="*/ 1243476 h 124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7368" h="1243476">
                <a:moveTo>
                  <a:pt x="0" y="0"/>
                </a:moveTo>
                <a:lnTo>
                  <a:pt x="2957368" y="0"/>
                </a:lnTo>
                <a:lnTo>
                  <a:pt x="2244234" y="1243476"/>
                </a:lnTo>
                <a:lnTo>
                  <a:pt x="713134" y="124347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E010552E-E676-49D0-A83E-29FF5A71B4A5}"/>
              </a:ext>
            </a:extLst>
          </p:cNvPr>
          <p:cNvSpPr/>
          <p:nvPr/>
        </p:nvSpPr>
        <p:spPr>
          <a:xfrm>
            <a:off x="1829316" y="93976"/>
            <a:ext cx="7765900" cy="5255579"/>
          </a:xfrm>
          <a:custGeom>
            <a:avLst/>
            <a:gdLst>
              <a:gd name="connsiteX0" fmla="*/ 3104308 w 7765900"/>
              <a:gd name="connsiteY0" fmla="*/ 2683202 h 5255579"/>
              <a:gd name="connsiteX1" fmla="*/ 4659434 w 7765900"/>
              <a:gd name="connsiteY1" fmla="*/ 2683202 h 5255579"/>
              <a:gd name="connsiteX2" fmla="*/ 5390633 w 7765900"/>
              <a:gd name="connsiteY2" fmla="*/ 3969391 h 5255579"/>
              <a:gd name="connsiteX3" fmla="*/ 4659434 w 7765900"/>
              <a:gd name="connsiteY3" fmla="*/ 5255579 h 5255579"/>
              <a:gd name="connsiteX4" fmla="*/ 3104308 w 7765900"/>
              <a:gd name="connsiteY4" fmla="*/ 5255579 h 5255579"/>
              <a:gd name="connsiteX5" fmla="*/ 2373109 w 7765900"/>
              <a:gd name="connsiteY5" fmla="*/ 3969391 h 5255579"/>
              <a:gd name="connsiteX6" fmla="*/ 731199 w 7765900"/>
              <a:gd name="connsiteY6" fmla="*/ 1324290 h 5255579"/>
              <a:gd name="connsiteX7" fmla="*/ 2286325 w 7765900"/>
              <a:gd name="connsiteY7" fmla="*/ 1324290 h 5255579"/>
              <a:gd name="connsiteX8" fmla="*/ 3017524 w 7765900"/>
              <a:gd name="connsiteY8" fmla="*/ 2610479 h 5255579"/>
              <a:gd name="connsiteX9" fmla="*/ 2286325 w 7765900"/>
              <a:gd name="connsiteY9" fmla="*/ 3896667 h 5255579"/>
              <a:gd name="connsiteX10" fmla="*/ 731199 w 7765900"/>
              <a:gd name="connsiteY10" fmla="*/ 3896667 h 5255579"/>
              <a:gd name="connsiteX11" fmla="*/ 0 w 7765900"/>
              <a:gd name="connsiteY11" fmla="*/ 2610479 h 5255579"/>
              <a:gd name="connsiteX12" fmla="*/ 5479575 w 7765900"/>
              <a:gd name="connsiteY12" fmla="*/ 1324290 h 5255579"/>
              <a:gd name="connsiteX13" fmla="*/ 7034701 w 7765900"/>
              <a:gd name="connsiteY13" fmla="*/ 1324290 h 5255579"/>
              <a:gd name="connsiteX14" fmla="*/ 7765900 w 7765900"/>
              <a:gd name="connsiteY14" fmla="*/ 2610479 h 5255579"/>
              <a:gd name="connsiteX15" fmla="*/ 7034701 w 7765900"/>
              <a:gd name="connsiteY15" fmla="*/ 3896667 h 5255579"/>
              <a:gd name="connsiteX16" fmla="*/ 5479575 w 7765900"/>
              <a:gd name="connsiteY16" fmla="*/ 3896667 h 5255579"/>
              <a:gd name="connsiteX17" fmla="*/ 4748376 w 7765900"/>
              <a:gd name="connsiteY17" fmla="*/ 2610479 h 5255579"/>
              <a:gd name="connsiteX18" fmla="*/ 3104308 w 7765900"/>
              <a:gd name="connsiteY18" fmla="*/ 0 h 5255579"/>
              <a:gd name="connsiteX19" fmla="*/ 4659434 w 7765900"/>
              <a:gd name="connsiteY19" fmla="*/ 0 h 5255579"/>
              <a:gd name="connsiteX20" fmla="*/ 5390633 w 7765900"/>
              <a:gd name="connsiteY20" fmla="*/ 1286189 h 5255579"/>
              <a:gd name="connsiteX21" fmla="*/ 4659434 w 7765900"/>
              <a:gd name="connsiteY21" fmla="*/ 2572377 h 5255579"/>
              <a:gd name="connsiteX22" fmla="*/ 3104308 w 7765900"/>
              <a:gd name="connsiteY22" fmla="*/ 2572377 h 5255579"/>
              <a:gd name="connsiteX23" fmla="*/ 2373109 w 7765900"/>
              <a:gd name="connsiteY23" fmla="*/ 1286189 h 5255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7765900" h="5255579">
                <a:moveTo>
                  <a:pt x="3104308" y="2683202"/>
                </a:moveTo>
                <a:lnTo>
                  <a:pt x="4659434" y="2683202"/>
                </a:lnTo>
                <a:lnTo>
                  <a:pt x="5390633" y="3969391"/>
                </a:lnTo>
                <a:lnTo>
                  <a:pt x="4659434" y="5255579"/>
                </a:lnTo>
                <a:lnTo>
                  <a:pt x="3104308" y="5255579"/>
                </a:lnTo>
                <a:lnTo>
                  <a:pt x="2373109" y="3969391"/>
                </a:lnTo>
                <a:close/>
                <a:moveTo>
                  <a:pt x="731199" y="1324290"/>
                </a:moveTo>
                <a:lnTo>
                  <a:pt x="2286325" y="1324290"/>
                </a:lnTo>
                <a:lnTo>
                  <a:pt x="3017524" y="2610479"/>
                </a:lnTo>
                <a:lnTo>
                  <a:pt x="2286325" y="3896667"/>
                </a:lnTo>
                <a:lnTo>
                  <a:pt x="731199" y="3896667"/>
                </a:lnTo>
                <a:lnTo>
                  <a:pt x="0" y="2610479"/>
                </a:lnTo>
                <a:close/>
                <a:moveTo>
                  <a:pt x="5479575" y="1324290"/>
                </a:moveTo>
                <a:lnTo>
                  <a:pt x="7034701" y="1324290"/>
                </a:lnTo>
                <a:lnTo>
                  <a:pt x="7765900" y="2610479"/>
                </a:lnTo>
                <a:lnTo>
                  <a:pt x="7034701" y="3896667"/>
                </a:lnTo>
                <a:lnTo>
                  <a:pt x="5479575" y="3896667"/>
                </a:lnTo>
                <a:lnTo>
                  <a:pt x="4748376" y="2610479"/>
                </a:lnTo>
                <a:close/>
                <a:moveTo>
                  <a:pt x="3104308" y="0"/>
                </a:moveTo>
                <a:lnTo>
                  <a:pt x="4659434" y="0"/>
                </a:lnTo>
                <a:lnTo>
                  <a:pt x="5390633" y="1286189"/>
                </a:lnTo>
                <a:lnTo>
                  <a:pt x="4659434" y="2572377"/>
                </a:lnTo>
                <a:lnTo>
                  <a:pt x="3104308" y="2572377"/>
                </a:lnTo>
                <a:lnTo>
                  <a:pt x="2373109" y="1286189"/>
                </a:lnTo>
                <a:close/>
              </a:path>
            </a:pathLst>
          </a:cu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12385" r="-11675"/>
            </a:stretch>
          </a:blip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4093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4D60C58F-F53D-4D17-B4CF-6D64335AAA43}"/>
              </a:ext>
            </a:extLst>
          </p:cNvPr>
          <p:cNvGrpSpPr/>
          <p:nvPr/>
        </p:nvGrpSpPr>
        <p:grpSpPr>
          <a:xfrm>
            <a:off x="99484" y="84139"/>
            <a:ext cx="4711645" cy="6547746"/>
            <a:chOff x="99484" y="65089"/>
            <a:chExt cx="4889832" cy="6795372"/>
          </a:xfrm>
        </p:grpSpPr>
        <p:sp>
          <p:nvSpPr>
            <p:cNvPr id="43" name="Freeform 42"/>
            <p:cNvSpPr/>
            <p:nvPr userDrawn="1"/>
          </p:nvSpPr>
          <p:spPr>
            <a:xfrm flipV="1">
              <a:off x="99484" y="65089"/>
              <a:ext cx="4889832" cy="6795372"/>
            </a:xfrm>
            <a:custGeom>
              <a:avLst/>
              <a:gdLst>
                <a:gd name="connsiteX0" fmla="*/ 314324 w 3813876"/>
                <a:gd name="connsiteY0" fmla="*/ 5300122 h 5300122"/>
                <a:gd name="connsiteX1" fmla="*/ 3813876 w 3813876"/>
                <a:gd name="connsiteY1" fmla="*/ 5300122 h 5300122"/>
                <a:gd name="connsiteX2" fmla="*/ 3227020 w 3813876"/>
                <a:gd name="connsiteY2" fmla="*/ 4299682 h 5300122"/>
                <a:gd name="connsiteX3" fmla="*/ 1923838 w 3813876"/>
                <a:gd name="connsiteY3" fmla="*/ 4299682 h 5300122"/>
                <a:gd name="connsiteX4" fmla="*/ 1285875 w 3813876"/>
                <a:gd name="connsiteY4" fmla="*/ 3188746 h 5300122"/>
                <a:gd name="connsiteX5" fmla="*/ 1920884 w 3813876"/>
                <a:gd name="connsiteY5" fmla="*/ 2075496 h 5300122"/>
                <a:gd name="connsiteX6" fmla="*/ 703402 w 3813876"/>
                <a:gd name="connsiteY6" fmla="*/ 0 h 5300122"/>
                <a:gd name="connsiteX7" fmla="*/ 0 w 3813876"/>
                <a:gd name="connsiteY7" fmla="*/ 0 h 5300122"/>
                <a:gd name="connsiteX8" fmla="*/ 0 w 3813876"/>
                <a:gd name="connsiteY8" fmla="*/ 4766721 h 5300122"/>
                <a:gd name="connsiteX9" fmla="*/ 314324 w 3813876"/>
                <a:gd name="connsiteY9" fmla="*/ 4766721 h 530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13876" h="5300122">
                  <a:moveTo>
                    <a:pt x="314324" y="5300122"/>
                  </a:moveTo>
                  <a:lnTo>
                    <a:pt x="3813876" y="5300122"/>
                  </a:lnTo>
                  <a:lnTo>
                    <a:pt x="3227020" y="4299682"/>
                  </a:lnTo>
                  <a:lnTo>
                    <a:pt x="1923838" y="4299682"/>
                  </a:lnTo>
                  <a:lnTo>
                    <a:pt x="1285875" y="3188746"/>
                  </a:lnTo>
                  <a:lnTo>
                    <a:pt x="1920884" y="2075496"/>
                  </a:lnTo>
                  <a:lnTo>
                    <a:pt x="703402" y="0"/>
                  </a:lnTo>
                  <a:lnTo>
                    <a:pt x="0" y="0"/>
                  </a:lnTo>
                  <a:lnTo>
                    <a:pt x="0" y="4766721"/>
                  </a:lnTo>
                  <a:lnTo>
                    <a:pt x="314324" y="4766721"/>
                  </a:lnTo>
                  <a:close/>
                </a:path>
              </a:pathLst>
            </a:custGeom>
            <a:solidFill>
              <a:srgbClr val="9DC15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Freeform 29"/>
            <p:cNvSpPr/>
            <p:nvPr userDrawn="1"/>
          </p:nvSpPr>
          <p:spPr>
            <a:xfrm flipV="1">
              <a:off x="99485" y="65090"/>
              <a:ext cx="2313018" cy="4030850"/>
            </a:xfrm>
            <a:custGeom>
              <a:avLst/>
              <a:gdLst>
                <a:gd name="connsiteX0" fmla="*/ 0 w 1804063"/>
                <a:gd name="connsiteY0" fmla="*/ 3143904 h 3143904"/>
                <a:gd name="connsiteX1" fmla="*/ 1804063 w 1804063"/>
                <a:gd name="connsiteY1" fmla="*/ 3143904 h 3143904"/>
                <a:gd name="connsiteX2" fmla="*/ 0 w 1804063"/>
                <a:gd name="connsiteY2" fmla="*/ 0 h 314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04063" h="3143904">
                  <a:moveTo>
                    <a:pt x="0" y="3143904"/>
                  </a:moveTo>
                  <a:lnTo>
                    <a:pt x="1804063" y="31439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8527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7233660" y="4283752"/>
            <a:ext cx="471545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911B9D05-321F-4ABE-8BBF-2B3019CE0E94}"/>
              </a:ext>
            </a:extLst>
          </p:cNvPr>
          <p:cNvSpPr/>
          <p:nvPr/>
        </p:nvSpPr>
        <p:spPr>
          <a:xfrm flipV="1">
            <a:off x="1834711" y="4096554"/>
            <a:ext cx="2957368" cy="1243476"/>
          </a:xfrm>
          <a:custGeom>
            <a:avLst/>
            <a:gdLst>
              <a:gd name="connsiteX0" fmla="*/ 0 w 2957368"/>
              <a:gd name="connsiteY0" fmla="*/ 0 h 1243476"/>
              <a:gd name="connsiteX1" fmla="*/ 2957368 w 2957368"/>
              <a:gd name="connsiteY1" fmla="*/ 0 h 1243476"/>
              <a:gd name="connsiteX2" fmla="*/ 2244234 w 2957368"/>
              <a:gd name="connsiteY2" fmla="*/ 1243476 h 1243476"/>
              <a:gd name="connsiteX3" fmla="*/ 713134 w 2957368"/>
              <a:gd name="connsiteY3" fmla="*/ 1243476 h 124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7368" h="1243476">
                <a:moveTo>
                  <a:pt x="0" y="0"/>
                </a:moveTo>
                <a:lnTo>
                  <a:pt x="2957368" y="0"/>
                </a:lnTo>
                <a:lnTo>
                  <a:pt x="2244234" y="1243476"/>
                </a:lnTo>
                <a:lnTo>
                  <a:pt x="713134" y="1243476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411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56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N°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86AD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991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929" name="think-cell Slide" r:id="rId4" imgW="410" imgH="409" progId="TCLayout.ActiveDocument.1">
                  <p:embed/>
                </p:oleObj>
              </mc:Choice>
              <mc:Fallback>
                <p:oleObj name="think-cell Slid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N°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Hexagon 2"/>
          <p:cNvSpPr/>
          <p:nvPr/>
        </p:nvSpPr>
        <p:spPr>
          <a:xfrm>
            <a:off x="-615362" y="895181"/>
            <a:ext cx="2089492" cy="1802511"/>
          </a:xfrm>
          <a:prstGeom prst="hexagon">
            <a:avLst>
              <a:gd name="adj" fmla="val 28619"/>
              <a:gd name="vf" fmla="val 115470"/>
            </a:avLst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8" name="Hexagon 7"/>
          <p:cNvSpPr/>
          <p:nvPr/>
        </p:nvSpPr>
        <p:spPr>
          <a:xfrm>
            <a:off x="1034323" y="1860302"/>
            <a:ext cx="2089492" cy="1802511"/>
          </a:xfrm>
          <a:prstGeom prst="hexagon">
            <a:avLst>
              <a:gd name="adj" fmla="val 28619"/>
              <a:gd name="vf" fmla="val 115470"/>
            </a:avLst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1" name="Hexagon 10"/>
          <p:cNvSpPr/>
          <p:nvPr/>
        </p:nvSpPr>
        <p:spPr>
          <a:xfrm>
            <a:off x="1039933" y="3745655"/>
            <a:ext cx="2089492" cy="1802511"/>
          </a:xfrm>
          <a:prstGeom prst="hexagon">
            <a:avLst>
              <a:gd name="adj" fmla="val 28619"/>
              <a:gd name="vf" fmla="val 115470"/>
            </a:avLst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2" name="Hexagon 11"/>
          <p:cNvSpPr/>
          <p:nvPr/>
        </p:nvSpPr>
        <p:spPr>
          <a:xfrm>
            <a:off x="2684007" y="4705163"/>
            <a:ext cx="2089492" cy="1802511"/>
          </a:xfrm>
          <a:prstGeom prst="hexagon">
            <a:avLst>
              <a:gd name="adj" fmla="val 28619"/>
              <a:gd name="vf" fmla="val 115470"/>
            </a:avLst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" name="Hexagon 12"/>
          <p:cNvSpPr/>
          <p:nvPr/>
        </p:nvSpPr>
        <p:spPr>
          <a:xfrm>
            <a:off x="-620973" y="2805119"/>
            <a:ext cx="2089492" cy="1802511"/>
          </a:xfrm>
          <a:prstGeom prst="hexagon">
            <a:avLst>
              <a:gd name="adj" fmla="val 28619"/>
              <a:gd name="vf" fmla="val 115470"/>
            </a:avLst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830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988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/>
          </p:cNvSpPr>
          <p:nvPr/>
        </p:nvSpPr>
        <p:spPr>
          <a:xfrm>
            <a:off x="0" y="0"/>
            <a:ext cx="11949113" cy="6721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Slide Number"/>
          <p:cNvSpPr txBox="1">
            <a:spLocks/>
          </p:cNvSpPr>
          <p:nvPr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N°›</a:t>
            </a:fld>
            <a:endParaRPr lang="en-US"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920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1949113" cy="6721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936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rapezoid 7">
            <a:extLst>
              <a:ext uri="{FF2B5EF4-FFF2-40B4-BE49-F238E27FC236}">
                <a16:creationId xmlns:a16="http://schemas.microsoft.com/office/drawing/2014/main" id="{4B23529A-48FE-4EA8-8536-39DB84E221EC}"/>
              </a:ext>
            </a:extLst>
          </p:cNvPr>
          <p:cNvSpPr/>
          <p:nvPr userDrawn="1"/>
        </p:nvSpPr>
        <p:spPr>
          <a:xfrm rot="10800000">
            <a:off x="1493638" y="-2"/>
            <a:ext cx="8845663" cy="1014704"/>
          </a:xfrm>
          <a:prstGeom prst="trapezoid">
            <a:avLst>
              <a:gd name="adj" fmla="val 73214"/>
            </a:avLst>
          </a:prstGeom>
          <a:solidFill>
            <a:srgbClr val="14B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/>
          </a:p>
        </p:txBody>
      </p:sp>
      <p:sp>
        <p:nvSpPr>
          <p:cNvPr id="11" name="Номер слайда 21">
            <a:extLst>
              <a:ext uri="{FF2B5EF4-FFF2-40B4-BE49-F238E27FC236}">
                <a16:creationId xmlns:a16="http://schemas.microsoft.com/office/drawing/2014/main" id="{4726D47C-6A03-4626-AF51-94E6BC4B2B13}"/>
              </a:ext>
            </a:extLst>
          </p:cNvPr>
          <p:cNvSpPr txBox="1">
            <a:spLocks/>
          </p:cNvSpPr>
          <p:nvPr userDrawn="1"/>
        </p:nvSpPr>
        <p:spPr>
          <a:xfrm>
            <a:off x="11105411" y="6083654"/>
            <a:ext cx="503500" cy="222642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3" b="0" i="0" kern="1200">
                <a:solidFill>
                  <a:schemeClr val="tx1">
                    <a:alpha val="30000"/>
                  </a:schemeClr>
                </a:solidFill>
                <a:latin typeface="Calibri Regular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8D877B3-D348-4611-9BDB-C5374591D951}" type="slidenum">
              <a:rPr lang="en-US" sz="787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N°›</a:t>
            </a:fld>
            <a:endParaRPr lang="en-US" sz="787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Shape 22">
            <a:extLst>
              <a:ext uri="{FF2B5EF4-FFF2-40B4-BE49-F238E27FC236}">
                <a16:creationId xmlns:a16="http://schemas.microsoft.com/office/drawing/2014/main" id="{139F4958-F3FA-4EE4-AEC8-FB56702839A0}"/>
              </a:ext>
            </a:extLst>
          </p:cNvPr>
          <p:cNvSpPr/>
          <p:nvPr userDrawn="1"/>
        </p:nvSpPr>
        <p:spPr>
          <a:xfrm>
            <a:off x="11183316" y="5994234"/>
            <a:ext cx="347689" cy="4014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5400"/>
                </a:lnTo>
                <a:lnTo>
                  <a:pt x="21600" y="16200"/>
                </a:lnTo>
                <a:lnTo>
                  <a:pt x="10800" y="21600"/>
                </a:lnTo>
                <a:lnTo>
                  <a:pt x="0" y="16200"/>
                </a:lnTo>
                <a:lnTo>
                  <a:pt x="0" y="5400"/>
                </a:lnTo>
                <a:close/>
              </a:path>
            </a:pathLst>
          </a:custGeom>
          <a:noFill/>
          <a:ln w="6350">
            <a:solidFill>
              <a:schemeClr val="tx1">
                <a:lumMod val="75000"/>
                <a:lumOff val="25000"/>
                <a:alpha val="20000"/>
              </a:schemeClr>
            </a:solidFill>
            <a:miter lim="400000"/>
          </a:ln>
        </p:spPr>
        <p:txBody>
          <a:bodyPr lIns="44808" rIns="44808" anchor="ctr"/>
          <a:lstStyle/>
          <a:p>
            <a:endParaRPr sz="1568" b="0" i="0" dirty="0">
              <a:solidFill>
                <a:schemeClr val="tx1">
                  <a:lumMod val="75000"/>
                  <a:lumOff val="25000"/>
                </a:schemeClr>
              </a:solidFill>
              <a:latin typeface="Calibri Regular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1183E4E9-545A-47DD-8230-6E0A7C694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1051" y="-152732"/>
            <a:ext cx="10306110" cy="1299174"/>
          </a:xfrm>
        </p:spPr>
        <p:txBody>
          <a:bodyPr>
            <a:normAutofit/>
          </a:bodyPr>
          <a:lstStyle>
            <a:lvl1pPr algn="ctr">
              <a:defRPr sz="3136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CB3018-A7C0-419B-AAAC-EDB0BCA8AC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5183" y="1383725"/>
            <a:ext cx="10418133" cy="4715924"/>
          </a:xfrm>
        </p:spPr>
        <p:txBody>
          <a:bodyPr numCol="2"/>
          <a:lstStyle>
            <a:lvl1pPr>
              <a:defRPr sz="1372">
                <a:latin typeface="+mn-lt"/>
              </a:defRPr>
            </a:lvl1pPr>
            <a:lvl2pPr>
              <a:defRPr sz="1372"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6423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7067540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6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754841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>
                <a:tabLst/>
              </a:pP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667" r:id="rId4"/>
    <p:sldLayoutId id="2147483668" r:id="rId5"/>
    <p:sldLayoutId id="2147483670" r:id="rId6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3000" b="0" baseline="0">
          <a:solidFill>
            <a:srgbClr val="185271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56.png"/><Relationship Id="rId18" Type="http://schemas.openxmlformats.org/officeDocument/2006/relationships/image" Target="../media/image5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png"/><Relationship Id="rId12" Type="http://schemas.openxmlformats.org/officeDocument/2006/relationships/image" Target="../media/image62.png"/><Relationship Id="rId17" Type="http://schemas.openxmlformats.org/officeDocument/2006/relationships/image" Target="../media/image66.png"/><Relationship Id="rId2" Type="http://schemas.openxmlformats.org/officeDocument/2006/relationships/tags" Target="../tags/tag26.xml"/><Relationship Id="rId16" Type="http://schemas.openxmlformats.org/officeDocument/2006/relationships/image" Target="../media/image65.png"/><Relationship Id="rId20" Type="http://schemas.openxmlformats.org/officeDocument/2006/relationships/image" Target="../media/image53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46.emf"/><Relationship Id="rId11" Type="http://schemas.openxmlformats.org/officeDocument/2006/relationships/image" Target="../media/image61.pn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64.png"/><Relationship Id="rId10" Type="http://schemas.openxmlformats.org/officeDocument/2006/relationships/image" Target="../media/image60.png"/><Relationship Id="rId19" Type="http://schemas.openxmlformats.org/officeDocument/2006/relationships/image" Target="../media/image52.png"/><Relationship Id="rId4" Type="http://schemas.openxmlformats.org/officeDocument/2006/relationships/image" Target="../media/image57.jpeg"/><Relationship Id="rId9" Type="http://schemas.openxmlformats.org/officeDocument/2006/relationships/image" Target="../media/image59.png"/><Relationship Id="rId14" Type="http://schemas.openxmlformats.org/officeDocument/2006/relationships/image" Target="../media/image6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tags" Target="../tags/tag28.xml"/><Relationship Id="rId7" Type="http://schemas.openxmlformats.org/officeDocument/2006/relationships/image" Target="../media/image46.emf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70.jpe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69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6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30.xml"/><Relationship Id="rId21" Type="http://schemas.openxmlformats.org/officeDocument/2006/relationships/image" Target="../media/image73.png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image" Target="../media/image4.emf"/><Relationship Id="rId2" Type="http://schemas.openxmlformats.org/officeDocument/2006/relationships/tags" Target="../tags/tag29.xml"/><Relationship Id="rId16" Type="http://schemas.openxmlformats.org/officeDocument/2006/relationships/oleObject" Target="../embeddings/oleObject10.bin"/><Relationship Id="rId20" Type="http://schemas.openxmlformats.org/officeDocument/2006/relationships/image" Target="../media/image72.png"/><Relationship Id="rId1" Type="http://schemas.openxmlformats.org/officeDocument/2006/relationships/vmlDrawing" Target="../drawings/vmlDrawing10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76.png"/><Relationship Id="rId5" Type="http://schemas.openxmlformats.org/officeDocument/2006/relationships/tags" Target="../tags/tag32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75.png"/><Relationship Id="rId10" Type="http://schemas.openxmlformats.org/officeDocument/2006/relationships/tags" Target="../tags/tag37.xml"/><Relationship Id="rId19" Type="http://schemas.openxmlformats.org/officeDocument/2006/relationships/image" Target="../media/image71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image" Target="../media/image7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tags" Target="../tags/tag43.xml"/><Relationship Id="rId7" Type="http://schemas.openxmlformats.org/officeDocument/2006/relationships/image" Target="../media/image77.emf"/><Relationship Id="rId12" Type="http://schemas.openxmlformats.org/officeDocument/2006/relationships/image" Target="../media/image82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81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8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85.png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8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48.xml"/><Relationship Id="rId11" Type="http://schemas.openxmlformats.org/officeDocument/2006/relationships/image" Target="../media/image83.png"/><Relationship Id="rId5" Type="http://schemas.openxmlformats.org/officeDocument/2006/relationships/tags" Target="../tags/tag47.xml"/><Relationship Id="rId15" Type="http://schemas.openxmlformats.org/officeDocument/2006/relationships/image" Target="../media/image87.png"/><Relationship Id="rId10" Type="http://schemas.openxmlformats.org/officeDocument/2006/relationships/image" Target="../media/image77.emf"/><Relationship Id="rId4" Type="http://schemas.openxmlformats.org/officeDocument/2006/relationships/tags" Target="../tags/tag46.xml"/><Relationship Id="rId9" Type="http://schemas.openxmlformats.org/officeDocument/2006/relationships/oleObject" Target="../embeddings/oleObject13.bin"/><Relationship Id="rId14" Type="http://schemas.openxmlformats.org/officeDocument/2006/relationships/image" Target="../media/image8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image" Target="../media/image77.emf"/><Relationship Id="rId3" Type="http://schemas.openxmlformats.org/officeDocument/2006/relationships/tags" Target="../tags/tag50.xml"/><Relationship Id="rId21" Type="http://schemas.openxmlformats.org/officeDocument/2006/relationships/image" Target="../media/image72.png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oleObject" Target="../embeddings/oleObject14.bin"/><Relationship Id="rId2" Type="http://schemas.openxmlformats.org/officeDocument/2006/relationships/tags" Target="../tags/tag49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88.emf"/><Relationship Id="rId1" Type="http://schemas.openxmlformats.org/officeDocument/2006/relationships/vmlDrawing" Target="../drawings/vmlDrawing13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75.png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image" Target="../media/image73.png"/><Relationship Id="rId10" Type="http://schemas.openxmlformats.org/officeDocument/2006/relationships/tags" Target="../tags/tag57.xml"/><Relationship Id="rId19" Type="http://schemas.openxmlformats.org/officeDocument/2006/relationships/oleObject" Target="../embeddings/oleObject15.bin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image" Target="../media/image7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86.png"/><Relationship Id="rId3" Type="http://schemas.openxmlformats.org/officeDocument/2006/relationships/tags" Target="../tags/tag64.xml"/><Relationship Id="rId7" Type="http://schemas.openxmlformats.org/officeDocument/2006/relationships/image" Target="../media/image89.jpeg"/><Relationship Id="rId12" Type="http://schemas.openxmlformats.org/officeDocument/2006/relationships/image" Target="../media/image85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11" Type="http://schemas.openxmlformats.org/officeDocument/2006/relationships/image" Target="../media/image83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9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1.png"/><Relationship Id="rId14" Type="http://schemas.openxmlformats.org/officeDocument/2006/relationships/image" Target="../media/image8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oleObject" Target="../embeddings/oleObject17.bin"/><Relationship Id="rId18" Type="http://schemas.openxmlformats.org/officeDocument/2006/relationships/image" Target="../media/image98.png"/><Relationship Id="rId26" Type="http://schemas.openxmlformats.org/officeDocument/2006/relationships/oleObject" Target="../embeddings/oleObject20.bin"/><Relationship Id="rId3" Type="http://schemas.openxmlformats.org/officeDocument/2006/relationships/tags" Target="../tags/tag66.xml"/><Relationship Id="rId21" Type="http://schemas.openxmlformats.org/officeDocument/2006/relationships/image" Target="../media/image99.png"/><Relationship Id="rId7" Type="http://schemas.openxmlformats.org/officeDocument/2006/relationships/tags" Target="../tags/tag70.xml"/><Relationship Id="rId12" Type="http://schemas.openxmlformats.org/officeDocument/2006/relationships/notesSlide" Target="../notesSlides/notesSlide8.xml"/><Relationship Id="rId17" Type="http://schemas.openxmlformats.org/officeDocument/2006/relationships/image" Target="../media/image97.png"/><Relationship Id="rId25" Type="http://schemas.openxmlformats.org/officeDocument/2006/relationships/image" Target="../media/image94.emf"/><Relationship Id="rId2" Type="http://schemas.openxmlformats.org/officeDocument/2006/relationships/tags" Target="../tags/tag65.xml"/><Relationship Id="rId16" Type="http://schemas.openxmlformats.org/officeDocument/2006/relationships/image" Target="../media/image96.png"/><Relationship Id="rId20" Type="http://schemas.openxmlformats.org/officeDocument/2006/relationships/image" Target="../media/image52.png"/><Relationship Id="rId1" Type="http://schemas.openxmlformats.org/officeDocument/2006/relationships/vmlDrawing" Target="../drawings/vmlDrawing15.vml"/><Relationship Id="rId6" Type="http://schemas.openxmlformats.org/officeDocument/2006/relationships/tags" Target="../tags/tag69.xml"/><Relationship Id="rId11" Type="http://schemas.openxmlformats.org/officeDocument/2006/relationships/slideLayout" Target="../slideLayouts/slideLayout2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68.xml"/><Relationship Id="rId15" Type="http://schemas.openxmlformats.org/officeDocument/2006/relationships/image" Target="../media/image64.png"/><Relationship Id="rId23" Type="http://schemas.openxmlformats.org/officeDocument/2006/relationships/image" Target="../media/image93.emf"/><Relationship Id="rId10" Type="http://schemas.openxmlformats.org/officeDocument/2006/relationships/tags" Target="../tags/tag73.xml"/><Relationship Id="rId19" Type="http://schemas.openxmlformats.org/officeDocument/2006/relationships/image" Target="../media/image51.pn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image" Target="../media/image46.emf"/><Relationship Id="rId22" Type="http://schemas.openxmlformats.org/officeDocument/2006/relationships/oleObject" Target="../embeddings/oleObject18.bin"/><Relationship Id="rId27" Type="http://schemas.openxmlformats.org/officeDocument/2006/relationships/image" Target="../media/image9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00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2" Type="http://schemas.openxmlformats.org/officeDocument/2006/relationships/tags" Target="../tags/tag7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11" Type="http://schemas.openxmlformats.org/officeDocument/2006/relationships/image" Target="../media/image107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06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0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1.jpeg"/><Relationship Id="rId12" Type="http://schemas.openxmlformats.org/officeDocument/2006/relationships/image" Target="../media/image4.emf"/><Relationship Id="rId2" Type="http://schemas.openxmlformats.org/officeDocument/2006/relationships/tags" Target="../tags/tag7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0.jpeg"/><Relationship Id="rId11" Type="http://schemas.openxmlformats.org/officeDocument/2006/relationships/oleObject" Target="../embeddings/oleObject23.bin"/><Relationship Id="rId5" Type="http://schemas.openxmlformats.org/officeDocument/2006/relationships/image" Target="../media/image109.jpg"/><Relationship Id="rId10" Type="http://schemas.openxmlformats.org/officeDocument/2006/relationships/image" Target="../media/image114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13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12" Type="http://schemas.openxmlformats.org/officeDocument/2006/relationships/image" Target="../media/image120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119.jpeg"/><Relationship Id="rId5" Type="http://schemas.openxmlformats.org/officeDocument/2006/relationships/image" Target="../media/image115.png"/><Relationship Id="rId10" Type="http://schemas.openxmlformats.org/officeDocument/2006/relationships/image" Target="../media/image118.jpe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17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3.jpeg"/><Relationship Id="rId12" Type="http://schemas.openxmlformats.org/officeDocument/2006/relationships/image" Target="../media/image4.emf"/><Relationship Id="rId2" Type="http://schemas.openxmlformats.org/officeDocument/2006/relationships/tags" Target="../tags/tag7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2.jpeg"/><Relationship Id="rId11" Type="http://schemas.openxmlformats.org/officeDocument/2006/relationships/oleObject" Target="../embeddings/oleObject25.bin"/><Relationship Id="rId5" Type="http://schemas.openxmlformats.org/officeDocument/2006/relationships/image" Target="../media/image121.jpg"/><Relationship Id="rId10" Type="http://schemas.openxmlformats.org/officeDocument/2006/relationships/image" Target="../media/image115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25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8.jpeg"/><Relationship Id="rId12" Type="http://schemas.openxmlformats.org/officeDocument/2006/relationships/image" Target="../media/image4.emf"/><Relationship Id="rId2" Type="http://schemas.openxmlformats.org/officeDocument/2006/relationships/tags" Target="../tags/tag7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27.jpeg"/><Relationship Id="rId11" Type="http://schemas.openxmlformats.org/officeDocument/2006/relationships/oleObject" Target="../embeddings/oleObject26.bin"/><Relationship Id="rId5" Type="http://schemas.openxmlformats.org/officeDocument/2006/relationships/image" Target="../media/image126.png"/><Relationship Id="rId10" Type="http://schemas.openxmlformats.org/officeDocument/2006/relationships/image" Target="../media/image131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3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11" Type="http://schemas.openxmlformats.org/officeDocument/2006/relationships/image" Target="../media/image21.JP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jpeg"/><Relationship Id="rId3" Type="http://schemas.openxmlformats.org/officeDocument/2006/relationships/image" Target="../media/image27.png"/><Relationship Id="rId7" Type="http://schemas.openxmlformats.org/officeDocument/2006/relationships/image" Target="../media/image31.jpe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jpe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jpg"/><Relationship Id="rId5" Type="http://schemas.openxmlformats.org/officeDocument/2006/relationships/image" Target="../media/image42.png"/><Relationship Id="rId4" Type="http://schemas.openxmlformats.org/officeDocument/2006/relationships/image" Target="../media/image41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tags" Target="../tags/tag25.xml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tags" Target="../tags/tag24.xml"/><Relationship Id="rId16" Type="http://schemas.openxmlformats.org/officeDocument/2006/relationships/image" Target="../media/image56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46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55.png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png"/><Relationship Id="rId1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Placeholder 26">
            <a:extLst>
              <a:ext uri="{FF2B5EF4-FFF2-40B4-BE49-F238E27FC236}">
                <a16:creationId xmlns:a16="http://schemas.microsoft.com/office/drawing/2014/main" id="{00F2B757-714E-514D-853E-FFD49A2A576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3AFEF880-4281-734D-8653-F56F6C5F0436}"/>
              </a:ext>
            </a:extLst>
          </p:cNvPr>
          <p:cNvSpPr/>
          <p:nvPr/>
        </p:nvSpPr>
        <p:spPr bwMode="auto">
          <a:xfrm>
            <a:off x="-1" y="-13004"/>
            <a:ext cx="11949113" cy="6730180"/>
          </a:xfrm>
          <a:prstGeom prst="rect">
            <a:avLst/>
          </a:prstGeom>
          <a:gradFill>
            <a:gsLst>
              <a:gs pos="100000">
                <a:srgbClr val="F7921E">
                  <a:alpha val="40000"/>
                </a:srgbClr>
              </a:gs>
              <a:gs pos="0">
                <a:srgbClr val="14B5E3">
                  <a:alpha val="50000"/>
                </a:srgbClr>
              </a:gs>
            </a:gsLst>
            <a:lin ang="2700000" scaled="1"/>
          </a:gradFill>
          <a:ln>
            <a:noFill/>
          </a:ln>
          <a:extLst/>
        </p:spPr>
        <p:txBody>
          <a:bodyPr spcFirstLastPara="1" vert="horz" wrap="square" lIns="89618" tIns="44809" rIns="89618" bIns="44809" numCol="1" rtlCol="0" anchor="ctr" anchorCtr="0" compatLnSpc="1">
            <a:prstTxWarp prst="textArchDown">
              <a:avLst>
                <a:gd name="adj" fmla="val 29361"/>
              </a:avLst>
            </a:prstTxWarp>
          </a:bodyPr>
          <a:lstStyle/>
          <a:p>
            <a:pPr algn="ctr"/>
            <a:endParaRPr lang="en-US" sz="1568" dirty="0">
              <a:latin typeface="Calibri Regular"/>
            </a:endParaRPr>
          </a:p>
        </p:txBody>
      </p:sp>
      <p:sp>
        <p:nvSpPr>
          <p:cNvPr id="11" name="Freeform 10"/>
          <p:cNvSpPr>
            <a:spLocks noChangeArrowheads="1"/>
          </p:cNvSpPr>
          <p:nvPr/>
        </p:nvSpPr>
        <p:spPr bwMode="auto">
          <a:xfrm>
            <a:off x="1751163" y="-1536978"/>
            <a:ext cx="8446787" cy="9795430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9" name="Freeform 8"/>
          <p:cNvSpPr>
            <a:spLocks noChangeArrowheads="1"/>
          </p:cNvSpPr>
          <p:nvPr/>
        </p:nvSpPr>
        <p:spPr bwMode="auto">
          <a:xfrm>
            <a:off x="2053835" y="-1185981"/>
            <a:ext cx="7841443" cy="9093436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8" name="Freeform 7"/>
          <p:cNvSpPr>
            <a:spLocks noChangeArrowheads="1"/>
          </p:cNvSpPr>
          <p:nvPr/>
        </p:nvSpPr>
        <p:spPr bwMode="auto">
          <a:xfrm>
            <a:off x="2361511" y="-829182"/>
            <a:ext cx="7226092" cy="8379837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6" name="Freeform 5"/>
          <p:cNvSpPr>
            <a:spLocks noChangeArrowheads="1"/>
          </p:cNvSpPr>
          <p:nvPr/>
        </p:nvSpPr>
        <p:spPr bwMode="auto">
          <a:xfrm>
            <a:off x="2684402" y="-454734"/>
            <a:ext cx="6580309" cy="7630944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3" name="Title 15"/>
          <p:cNvSpPr txBox="1">
            <a:spLocks/>
          </p:cNvSpPr>
          <p:nvPr/>
        </p:nvSpPr>
        <p:spPr>
          <a:xfrm>
            <a:off x="2772266" y="2136720"/>
            <a:ext cx="6492444" cy="1300090"/>
          </a:xfrm>
          <a:prstGeom prst="rect">
            <a:avLst/>
          </a:prstGeom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b="1" kern="1200" spc="-1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881" dirty="0">
                <a:solidFill>
                  <a:schemeClr val="tx1">
                    <a:lumMod val="75000"/>
                    <a:lumOff val="25000"/>
                  </a:schemeClr>
                </a:solidFill>
                <a:latin typeface="Signika Semibold" panose="02010003020600000004" pitchFamily="2" charset="0"/>
              </a:rPr>
              <a:t>HYDROGEN COUNCIL</a:t>
            </a:r>
          </a:p>
          <a:p>
            <a:pPr algn="ctr"/>
            <a:r>
              <a:rPr lang="en-US" sz="392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ignika Semibold" panose="02010003020600000004" pitchFamily="2" charset="0"/>
              </a:rPr>
              <a:t>Hydrogen Scaling Up</a:t>
            </a:r>
            <a:endParaRPr lang="en-US" sz="3920" b="0" dirty="0">
              <a:solidFill>
                <a:schemeClr val="tx1">
                  <a:lumMod val="75000"/>
                  <a:lumOff val="25000"/>
                </a:schemeClr>
              </a:solidFill>
              <a:latin typeface="Signika Semibold" panose="02010003020600000004" pitchFamily="2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764194" y="4441740"/>
            <a:ext cx="2420725" cy="57490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568" spc="294" dirty="0" smtClean="0">
                <a:solidFill>
                  <a:srgbClr val="F7921E"/>
                </a:solidFill>
              </a:rPr>
              <a:t>28 November </a:t>
            </a:r>
            <a:r>
              <a:rPr lang="en-US" sz="1568" spc="294" dirty="0">
                <a:solidFill>
                  <a:srgbClr val="F7921E"/>
                </a:solidFill>
              </a:rPr>
              <a:t>2018</a:t>
            </a:r>
          </a:p>
        </p:txBody>
      </p:sp>
      <p:sp>
        <p:nvSpPr>
          <p:cNvPr id="12" name="Shape 22">
            <a:extLst>
              <a:ext uri="{FF2B5EF4-FFF2-40B4-BE49-F238E27FC236}">
                <a16:creationId xmlns:a16="http://schemas.microsoft.com/office/drawing/2014/main" id="{CF776F0B-A40A-8F47-8418-85D91B923794}"/>
              </a:ext>
            </a:extLst>
          </p:cNvPr>
          <p:cNvSpPr/>
          <p:nvPr/>
        </p:nvSpPr>
        <p:spPr>
          <a:xfrm rot="19800000">
            <a:off x="8035971" y="-1970469"/>
            <a:ext cx="3309812" cy="38218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5400"/>
                </a:lnTo>
                <a:lnTo>
                  <a:pt x="21600" y="16200"/>
                </a:lnTo>
                <a:lnTo>
                  <a:pt x="10800" y="21600"/>
                </a:lnTo>
                <a:lnTo>
                  <a:pt x="0" y="16200"/>
                </a:lnTo>
                <a:lnTo>
                  <a:pt x="0" y="540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 w="12700">
            <a:miter lim="400000"/>
          </a:ln>
        </p:spPr>
        <p:txBody>
          <a:bodyPr lIns="44808" rIns="44808" anchor="ctr"/>
          <a:lstStyle/>
          <a:p>
            <a:endParaRPr sz="1568" dirty="0">
              <a:latin typeface="Calibri Regular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11E109-98D8-7F45-AA17-7550C38A95B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6322" y="389774"/>
            <a:ext cx="1776160" cy="692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68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45FE6A9-4515-4B79-B8C2-F2FF90E4065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1"/>
          <a:stretch/>
        </p:blipFill>
        <p:spPr>
          <a:xfrm>
            <a:off x="-1" y="3561106"/>
            <a:ext cx="2624689" cy="2931169"/>
          </a:xfrm>
          <a:prstGeom prst="rect">
            <a:avLst/>
          </a:prstGeom>
        </p:spPr>
      </p:pic>
      <p:sp>
        <p:nvSpPr>
          <p:cNvPr id="97" name="Freeform 3">
            <a:extLst>
              <a:ext uri="{FF2B5EF4-FFF2-40B4-BE49-F238E27FC236}">
                <a16:creationId xmlns:a16="http://schemas.microsoft.com/office/drawing/2014/main" id="{2732E033-8878-4828-AC16-7F31756C6CAA}"/>
              </a:ext>
            </a:extLst>
          </p:cNvPr>
          <p:cNvSpPr/>
          <p:nvPr/>
        </p:nvSpPr>
        <p:spPr>
          <a:xfrm>
            <a:off x="7295365" y="2350080"/>
            <a:ext cx="1320801" cy="1579379"/>
          </a:xfrm>
          <a:custGeom>
            <a:avLst/>
            <a:gdLst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7045"/>
              <a:gd name="connsiteX1" fmla="*/ 800100 w 1540934"/>
              <a:gd name="connsiteY1" fmla="*/ 1134533 h 1587045"/>
              <a:gd name="connsiteX2" fmla="*/ 791634 w 1540934"/>
              <a:gd name="connsiteY2" fmla="*/ 431800 h 1587045"/>
              <a:gd name="connsiteX3" fmla="*/ 1244600 w 1540934"/>
              <a:gd name="connsiteY3" fmla="*/ 0 h 1587045"/>
              <a:gd name="connsiteX4" fmla="*/ 1540934 w 1540934"/>
              <a:gd name="connsiteY4" fmla="*/ 0 h 1587045"/>
              <a:gd name="connsiteX0" fmla="*/ 0 w 1540934"/>
              <a:gd name="connsiteY0" fmla="*/ 1583266 h 1586189"/>
              <a:gd name="connsiteX1" fmla="*/ 800100 w 1540934"/>
              <a:gd name="connsiteY1" fmla="*/ 1134533 h 1586189"/>
              <a:gd name="connsiteX2" fmla="*/ 791634 w 1540934"/>
              <a:gd name="connsiteY2" fmla="*/ 431800 h 1586189"/>
              <a:gd name="connsiteX3" fmla="*/ 1244600 w 1540934"/>
              <a:gd name="connsiteY3" fmla="*/ 0 h 1586189"/>
              <a:gd name="connsiteX4" fmla="*/ 1540934 w 1540934"/>
              <a:gd name="connsiteY4" fmla="*/ 0 h 1586189"/>
              <a:gd name="connsiteX0" fmla="*/ 0 w 1540934"/>
              <a:gd name="connsiteY0" fmla="*/ 1583266 h 1585511"/>
              <a:gd name="connsiteX1" fmla="*/ 800100 w 1540934"/>
              <a:gd name="connsiteY1" fmla="*/ 1134533 h 1585511"/>
              <a:gd name="connsiteX2" fmla="*/ 791634 w 1540934"/>
              <a:gd name="connsiteY2" fmla="*/ 431800 h 1585511"/>
              <a:gd name="connsiteX3" fmla="*/ 1244600 w 1540934"/>
              <a:gd name="connsiteY3" fmla="*/ 0 h 1585511"/>
              <a:gd name="connsiteX4" fmla="*/ 1540934 w 1540934"/>
              <a:gd name="connsiteY4" fmla="*/ 0 h 1585511"/>
              <a:gd name="connsiteX0" fmla="*/ 0 w 1320801"/>
              <a:gd name="connsiteY0" fmla="*/ 1579033 h 1581321"/>
              <a:gd name="connsiteX1" fmla="*/ 579967 w 1320801"/>
              <a:gd name="connsiteY1" fmla="*/ 1134533 h 1581321"/>
              <a:gd name="connsiteX2" fmla="*/ 571501 w 1320801"/>
              <a:gd name="connsiteY2" fmla="*/ 431800 h 1581321"/>
              <a:gd name="connsiteX3" fmla="*/ 1024467 w 1320801"/>
              <a:gd name="connsiteY3" fmla="*/ 0 h 1581321"/>
              <a:gd name="connsiteX4" fmla="*/ 1320801 w 1320801"/>
              <a:gd name="connsiteY4" fmla="*/ 0 h 1581321"/>
              <a:gd name="connsiteX0" fmla="*/ 0 w 1320801"/>
              <a:gd name="connsiteY0" fmla="*/ 1579033 h 1579212"/>
              <a:gd name="connsiteX1" fmla="*/ 579967 w 1320801"/>
              <a:gd name="connsiteY1" fmla="*/ 1134533 h 1579212"/>
              <a:gd name="connsiteX2" fmla="*/ 571501 w 1320801"/>
              <a:gd name="connsiteY2" fmla="*/ 431800 h 1579212"/>
              <a:gd name="connsiteX3" fmla="*/ 1024467 w 1320801"/>
              <a:gd name="connsiteY3" fmla="*/ 0 h 1579212"/>
              <a:gd name="connsiteX4" fmla="*/ 1320801 w 1320801"/>
              <a:gd name="connsiteY4" fmla="*/ 0 h 1579212"/>
              <a:gd name="connsiteX0" fmla="*/ 0 w 1320801"/>
              <a:gd name="connsiteY0" fmla="*/ 1579033 h 1579379"/>
              <a:gd name="connsiteX1" fmla="*/ 579967 w 1320801"/>
              <a:gd name="connsiteY1" fmla="*/ 1134533 h 1579379"/>
              <a:gd name="connsiteX2" fmla="*/ 571501 w 1320801"/>
              <a:gd name="connsiteY2" fmla="*/ 431800 h 1579379"/>
              <a:gd name="connsiteX3" fmla="*/ 1024467 w 1320801"/>
              <a:gd name="connsiteY3" fmla="*/ 0 h 1579379"/>
              <a:gd name="connsiteX4" fmla="*/ 1320801 w 1320801"/>
              <a:gd name="connsiteY4" fmla="*/ 0 h 15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0801" h="1579379">
                <a:moveTo>
                  <a:pt x="0" y="1579033"/>
                </a:moveTo>
                <a:cubicBezTo>
                  <a:pt x="431800" y="1585559"/>
                  <a:pt x="583142" y="1502128"/>
                  <a:pt x="579967" y="1134533"/>
                </a:cubicBezTo>
                <a:lnTo>
                  <a:pt x="571501" y="431800"/>
                </a:lnTo>
                <a:cubicBezTo>
                  <a:pt x="570090" y="237066"/>
                  <a:pt x="732191" y="1058"/>
                  <a:pt x="1024467" y="0"/>
                </a:cubicBezTo>
                <a:lnTo>
                  <a:pt x="1320801" y="0"/>
                </a:lnTo>
              </a:path>
            </a:pathLst>
          </a:custGeom>
          <a:noFill/>
          <a:ln w="2063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Freeform 48">
            <a:extLst>
              <a:ext uri="{FF2B5EF4-FFF2-40B4-BE49-F238E27FC236}">
                <a16:creationId xmlns:a16="http://schemas.microsoft.com/office/drawing/2014/main" id="{B7BC686A-A62C-40D3-84D2-DC460422ED4F}"/>
              </a:ext>
            </a:extLst>
          </p:cNvPr>
          <p:cNvSpPr/>
          <p:nvPr/>
        </p:nvSpPr>
        <p:spPr>
          <a:xfrm flipV="1">
            <a:off x="7295365" y="3928665"/>
            <a:ext cx="1320801" cy="1579379"/>
          </a:xfrm>
          <a:custGeom>
            <a:avLst/>
            <a:gdLst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3266"/>
              <a:gd name="connsiteX1" fmla="*/ 800100 w 1540934"/>
              <a:gd name="connsiteY1" fmla="*/ 1134533 h 1583266"/>
              <a:gd name="connsiteX2" fmla="*/ 791634 w 1540934"/>
              <a:gd name="connsiteY2" fmla="*/ 431800 h 1583266"/>
              <a:gd name="connsiteX3" fmla="*/ 1244600 w 1540934"/>
              <a:gd name="connsiteY3" fmla="*/ 0 h 1583266"/>
              <a:gd name="connsiteX4" fmla="*/ 1540934 w 1540934"/>
              <a:gd name="connsiteY4" fmla="*/ 0 h 1583266"/>
              <a:gd name="connsiteX0" fmla="*/ 0 w 1540934"/>
              <a:gd name="connsiteY0" fmla="*/ 1583266 h 1587045"/>
              <a:gd name="connsiteX1" fmla="*/ 800100 w 1540934"/>
              <a:gd name="connsiteY1" fmla="*/ 1134533 h 1587045"/>
              <a:gd name="connsiteX2" fmla="*/ 791634 w 1540934"/>
              <a:gd name="connsiteY2" fmla="*/ 431800 h 1587045"/>
              <a:gd name="connsiteX3" fmla="*/ 1244600 w 1540934"/>
              <a:gd name="connsiteY3" fmla="*/ 0 h 1587045"/>
              <a:gd name="connsiteX4" fmla="*/ 1540934 w 1540934"/>
              <a:gd name="connsiteY4" fmla="*/ 0 h 1587045"/>
              <a:gd name="connsiteX0" fmla="*/ 0 w 1540934"/>
              <a:gd name="connsiteY0" fmla="*/ 1583266 h 1586189"/>
              <a:gd name="connsiteX1" fmla="*/ 800100 w 1540934"/>
              <a:gd name="connsiteY1" fmla="*/ 1134533 h 1586189"/>
              <a:gd name="connsiteX2" fmla="*/ 791634 w 1540934"/>
              <a:gd name="connsiteY2" fmla="*/ 431800 h 1586189"/>
              <a:gd name="connsiteX3" fmla="*/ 1244600 w 1540934"/>
              <a:gd name="connsiteY3" fmla="*/ 0 h 1586189"/>
              <a:gd name="connsiteX4" fmla="*/ 1540934 w 1540934"/>
              <a:gd name="connsiteY4" fmla="*/ 0 h 1586189"/>
              <a:gd name="connsiteX0" fmla="*/ 0 w 1540934"/>
              <a:gd name="connsiteY0" fmla="*/ 1583266 h 1585511"/>
              <a:gd name="connsiteX1" fmla="*/ 800100 w 1540934"/>
              <a:gd name="connsiteY1" fmla="*/ 1134533 h 1585511"/>
              <a:gd name="connsiteX2" fmla="*/ 791634 w 1540934"/>
              <a:gd name="connsiteY2" fmla="*/ 431800 h 1585511"/>
              <a:gd name="connsiteX3" fmla="*/ 1244600 w 1540934"/>
              <a:gd name="connsiteY3" fmla="*/ 0 h 1585511"/>
              <a:gd name="connsiteX4" fmla="*/ 1540934 w 1540934"/>
              <a:gd name="connsiteY4" fmla="*/ 0 h 1585511"/>
              <a:gd name="connsiteX0" fmla="*/ 0 w 1320801"/>
              <a:gd name="connsiteY0" fmla="*/ 1579033 h 1581321"/>
              <a:gd name="connsiteX1" fmla="*/ 579967 w 1320801"/>
              <a:gd name="connsiteY1" fmla="*/ 1134533 h 1581321"/>
              <a:gd name="connsiteX2" fmla="*/ 571501 w 1320801"/>
              <a:gd name="connsiteY2" fmla="*/ 431800 h 1581321"/>
              <a:gd name="connsiteX3" fmla="*/ 1024467 w 1320801"/>
              <a:gd name="connsiteY3" fmla="*/ 0 h 1581321"/>
              <a:gd name="connsiteX4" fmla="*/ 1320801 w 1320801"/>
              <a:gd name="connsiteY4" fmla="*/ 0 h 1581321"/>
              <a:gd name="connsiteX0" fmla="*/ 0 w 1320801"/>
              <a:gd name="connsiteY0" fmla="*/ 1579033 h 1579212"/>
              <a:gd name="connsiteX1" fmla="*/ 579967 w 1320801"/>
              <a:gd name="connsiteY1" fmla="*/ 1134533 h 1579212"/>
              <a:gd name="connsiteX2" fmla="*/ 571501 w 1320801"/>
              <a:gd name="connsiteY2" fmla="*/ 431800 h 1579212"/>
              <a:gd name="connsiteX3" fmla="*/ 1024467 w 1320801"/>
              <a:gd name="connsiteY3" fmla="*/ 0 h 1579212"/>
              <a:gd name="connsiteX4" fmla="*/ 1320801 w 1320801"/>
              <a:gd name="connsiteY4" fmla="*/ 0 h 1579212"/>
              <a:gd name="connsiteX0" fmla="*/ 0 w 1320801"/>
              <a:gd name="connsiteY0" fmla="*/ 1579033 h 1579379"/>
              <a:gd name="connsiteX1" fmla="*/ 579967 w 1320801"/>
              <a:gd name="connsiteY1" fmla="*/ 1134533 h 1579379"/>
              <a:gd name="connsiteX2" fmla="*/ 571501 w 1320801"/>
              <a:gd name="connsiteY2" fmla="*/ 431800 h 1579379"/>
              <a:gd name="connsiteX3" fmla="*/ 1024467 w 1320801"/>
              <a:gd name="connsiteY3" fmla="*/ 0 h 1579379"/>
              <a:gd name="connsiteX4" fmla="*/ 1320801 w 1320801"/>
              <a:gd name="connsiteY4" fmla="*/ 0 h 1579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0801" h="1579379">
                <a:moveTo>
                  <a:pt x="0" y="1579033"/>
                </a:moveTo>
                <a:cubicBezTo>
                  <a:pt x="431800" y="1585559"/>
                  <a:pt x="583142" y="1502128"/>
                  <a:pt x="579967" y="1134533"/>
                </a:cubicBezTo>
                <a:lnTo>
                  <a:pt x="571501" y="431800"/>
                </a:lnTo>
                <a:cubicBezTo>
                  <a:pt x="570090" y="237066"/>
                  <a:pt x="732191" y="1058"/>
                  <a:pt x="1024467" y="0"/>
                </a:cubicBezTo>
                <a:lnTo>
                  <a:pt x="1320801" y="0"/>
                </a:lnTo>
              </a:path>
            </a:pathLst>
          </a:custGeom>
          <a:noFill/>
          <a:ln w="2063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18E68D2-0A7B-4173-8600-AF1C133252B8}"/>
              </a:ext>
            </a:extLst>
          </p:cNvPr>
          <p:cNvSpPr/>
          <p:nvPr/>
        </p:nvSpPr>
        <p:spPr>
          <a:xfrm>
            <a:off x="2744236" y="3826984"/>
            <a:ext cx="4601444" cy="20584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8491ED52-A324-4C2A-B8F2-F3679E44FCCC}"/>
              </a:ext>
            </a:extLst>
          </p:cNvPr>
          <p:cNvCxnSpPr/>
          <p:nvPr/>
        </p:nvCxnSpPr>
        <p:spPr>
          <a:xfrm>
            <a:off x="7910791" y="4473704"/>
            <a:ext cx="654044" cy="0"/>
          </a:xfrm>
          <a:prstGeom prst="line">
            <a:avLst/>
          </a:prstGeom>
          <a:ln w="2063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739943CA-4C34-4A40-92F3-42FC76F097D1}"/>
              </a:ext>
            </a:extLst>
          </p:cNvPr>
          <p:cNvCxnSpPr/>
          <p:nvPr/>
        </p:nvCxnSpPr>
        <p:spPr>
          <a:xfrm>
            <a:off x="7910791" y="3420827"/>
            <a:ext cx="654044" cy="0"/>
          </a:xfrm>
          <a:prstGeom prst="line">
            <a:avLst/>
          </a:prstGeom>
          <a:ln w="2063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9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Hydrogen can help mitigate all these challenges</a:t>
            </a:r>
          </a:p>
        </p:txBody>
      </p:sp>
      <p:sp>
        <p:nvSpPr>
          <p:cNvPr id="169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>
                <a:solidFill>
                  <a:schemeClr val="accent6"/>
                </a:solidFill>
              </a:rPr>
              <a:t>SOURCE: Hydrogen Council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AE2C7B62-818F-4817-9179-E7562A693C66}"/>
              </a:ext>
            </a:extLst>
          </p:cNvPr>
          <p:cNvCxnSpPr/>
          <p:nvPr/>
        </p:nvCxnSpPr>
        <p:spPr>
          <a:xfrm>
            <a:off x="2264938" y="3928665"/>
            <a:ext cx="2197100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D144C332-AA6A-4C1A-A0B0-57BBF1D87AC8}"/>
              </a:ext>
            </a:extLst>
          </p:cNvPr>
          <p:cNvCxnSpPr>
            <a:cxnSpLocks/>
          </p:cNvCxnSpPr>
          <p:nvPr/>
        </p:nvCxnSpPr>
        <p:spPr>
          <a:xfrm>
            <a:off x="4810117" y="3928665"/>
            <a:ext cx="2791595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D5E717C-CE63-40FA-A0D1-24B52BAD5014}"/>
              </a:ext>
            </a:extLst>
          </p:cNvPr>
          <p:cNvSpPr/>
          <p:nvPr/>
        </p:nvSpPr>
        <p:spPr>
          <a:xfrm rot="5400000" flipV="1">
            <a:off x="4379103" y="4514805"/>
            <a:ext cx="1181048" cy="20505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854914E-25B0-48D6-BA88-8AEE97BE3472}"/>
              </a:ext>
            </a:extLst>
          </p:cNvPr>
          <p:cNvSpPr txBox="1">
            <a:spLocks/>
          </p:cNvSpPr>
          <p:nvPr/>
        </p:nvSpPr>
        <p:spPr>
          <a:xfrm>
            <a:off x="5686005" y="4885630"/>
            <a:ext cx="2014788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/>
              <a:t>Act as a </a:t>
            </a:r>
            <a:r>
              <a:rPr lang="en-US" sz="1600" b="1" dirty="0">
                <a:solidFill>
                  <a:schemeClr val="accent2"/>
                </a:solidFill>
              </a:rPr>
              <a:t>buffer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/>
              <a:t>to increase </a:t>
            </a:r>
            <a:br>
              <a:rPr lang="en-US" sz="1600" dirty="0"/>
            </a:br>
            <a:r>
              <a:rPr lang="en-US" sz="1600" dirty="0"/>
              <a:t>system resilienc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FB1C11DC-D8F1-4A24-9056-0E906900321F}"/>
              </a:ext>
            </a:extLst>
          </p:cNvPr>
          <p:cNvSpPr txBox="1">
            <a:spLocks/>
          </p:cNvSpPr>
          <p:nvPr/>
        </p:nvSpPr>
        <p:spPr>
          <a:xfrm>
            <a:off x="4557005" y="2505336"/>
            <a:ext cx="1989202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Distribute</a:t>
            </a:r>
            <a:r>
              <a:rPr lang="en-US" sz="1600" dirty="0">
                <a:solidFill>
                  <a:schemeClr val="accent2"/>
                </a:solidFill>
              </a:rPr>
              <a:t> </a:t>
            </a:r>
            <a:r>
              <a:rPr lang="en-US" sz="1600" dirty="0"/>
              <a:t>energy across sectors and region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DF280484-E930-4E36-A29B-42C5325FC8DF}"/>
              </a:ext>
            </a:extLst>
          </p:cNvPr>
          <p:cNvSpPr txBox="1"/>
          <p:nvPr/>
        </p:nvSpPr>
        <p:spPr>
          <a:xfrm>
            <a:off x="1641235" y="2560102"/>
            <a:ext cx="2890567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/>
              <a:t>Enable </a:t>
            </a:r>
            <a:r>
              <a:rPr lang="en-US" sz="1600" b="1" dirty="0">
                <a:solidFill>
                  <a:schemeClr val="accent2"/>
                </a:solidFill>
              </a:rPr>
              <a:t>large-scale</a:t>
            </a:r>
          </a:p>
          <a:p>
            <a:r>
              <a:rPr lang="en-US" sz="1600" b="1" dirty="0">
                <a:solidFill>
                  <a:schemeClr val="accent2"/>
                </a:solidFill>
              </a:rPr>
              <a:t>renewables integration </a:t>
            </a:r>
            <a:br>
              <a:rPr lang="en-US" sz="1600" b="1" dirty="0">
                <a:solidFill>
                  <a:schemeClr val="accent2"/>
                </a:solidFill>
              </a:rPr>
            </a:br>
            <a:r>
              <a:rPr lang="en-US" sz="1600" dirty="0"/>
              <a:t>and</a:t>
            </a:r>
            <a:r>
              <a:rPr lang="en-US" sz="1600" dirty="0">
                <a:solidFill>
                  <a:schemeClr val="accent2"/>
                </a:solidFill>
              </a:rPr>
              <a:t> </a:t>
            </a:r>
            <a:r>
              <a:rPr lang="en-US" sz="1600" b="1" dirty="0">
                <a:solidFill>
                  <a:schemeClr val="accent2"/>
                </a:solidFill>
              </a:rPr>
              <a:t>power generation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C563D049-0375-4019-9DCD-E53FC0ADE2D3}"/>
              </a:ext>
            </a:extLst>
          </p:cNvPr>
          <p:cNvSpPr txBox="1"/>
          <p:nvPr/>
        </p:nvSpPr>
        <p:spPr>
          <a:xfrm>
            <a:off x="1641235" y="1219401"/>
            <a:ext cx="4268090" cy="30777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000" dirty="0">
                <a:solidFill>
                  <a:schemeClr val="accent2"/>
                </a:solidFill>
              </a:rPr>
              <a:t>Enable the renewable energy system</a:t>
            </a:r>
          </a:p>
        </p:txBody>
      </p: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B56988A7-DD18-4944-B2FC-0D7927251A70}"/>
              </a:ext>
            </a:extLst>
          </p:cNvPr>
          <p:cNvCxnSpPr>
            <a:cxnSpLocks/>
          </p:cNvCxnSpPr>
          <p:nvPr/>
        </p:nvCxnSpPr>
        <p:spPr>
          <a:xfrm>
            <a:off x="5909325" y="1427798"/>
            <a:ext cx="1479027" cy="0"/>
          </a:xfrm>
          <a:prstGeom prst="straightConnector1">
            <a:avLst/>
          </a:prstGeom>
          <a:noFill/>
          <a:ln w="15875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6992FD6E-31F3-4436-8913-C8A2C184668D}"/>
              </a:ext>
            </a:extLst>
          </p:cNvPr>
          <p:cNvSpPr txBox="1"/>
          <p:nvPr/>
        </p:nvSpPr>
        <p:spPr>
          <a:xfrm>
            <a:off x="7601712" y="1219401"/>
            <a:ext cx="2584007" cy="30777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000" dirty="0">
                <a:solidFill>
                  <a:schemeClr val="accent5"/>
                </a:solidFill>
              </a:rPr>
              <a:t>Decarbonize end uses</a:t>
            </a:r>
          </a:p>
        </p:txBody>
      </p: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A7E47E28-61AD-4B3C-9AA1-4EBB2EF2B281}"/>
              </a:ext>
            </a:extLst>
          </p:cNvPr>
          <p:cNvCxnSpPr>
            <a:cxnSpLocks/>
          </p:cNvCxnSpPr>
          <p:nvPr/>
        </p:nvCxnSpPr>
        <p:spPr>
          <a:xfrm>
            <a:off x="10408488" y="1423712"/>
            <a:ext cx="1191514" cy="0"/>
          </a:xfrm>
          <a:prstGeom prst="straightConnector1">
            <a:avLst/>
          </a:prstGeom>
          <a:noFill/>
          <a:ln w="15875">
            <a:solidFill>
              <a:schemeClr val="accent5"/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14" name="Picture 113">
            <a:extLst>
              <a:ext uri="{FF2B5EF4-FFF2-40B4-BE49-F238E27FC236}">
                <a16:creationId xmlns:a16="http://schemas.microsoft.com/office/drawing/2014/main" id="{9FCF05F6-CAB7-4CD1-B345-758A35DEEFD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1" t="13324" r="6841" b="13324"/>
          <a:stretch>
            <a:fillRect/>
          </a:stretch>
        </p:blipFill>
        <p:spPr>
          <a:xfrm>
            <a:off x="8368264" y="5148887"/>
            <a:ext cx="968445" cy="822972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CA02D7D4-941B-4FBB-8252-7877594757E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7" t="13548" r="8104" b="10295"/>
          <a:stretch>
            <a:fillRect/>
          </a:stretch>
        </p:blipFill>
        <p:spPr>
          <a:xfrm>
            <a:off x="8368264" y="1989433"/>
            <a:ext cx="968445" cy="822972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F34CF5B3-902E-4456-827F-E577D9C4A46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" t="10481" r="5815" b="10129"/>
          <a:stretch>
            <a:fillRect/>
          </a:stretch>
        </p:blipFill>
        <p:spPr>
          <a:xfrm>
            <a:off x="8368264" y="3039488"/>
            <a:ext cx="968445" cy="822972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BC7EF105-84D0-41FA-B5DA-1F06B82B27C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8" t="12527" b="7209"/>
          <a:stretch>
            <a:fillRect/>
          </a:stretch>
        </p:blipFill>
        <p:spPr>
          <a:xfrm>
            <a:off x="8368264" y="4089543"/>
            <a:ext cx="968445" cy="822972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80C70B14-49DE-486B-9930-F047F3459D1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5" t="12397" r="1530" b="8814"/>
          <a:stretch>
            <a:fillRect/>
          </a:stretch>
        </p:blipFill>
        <p:spPr>
          <a:xfrm>
            <a:off x="4382877" y="4971829"/>
            <a:ext cx="968445" cy="822972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rgbClr val="9DC15C"/>
            </a:solidFill>
          </a:ln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90D2E5B5-07BD-4539-85C1-722CB85C57C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5" t="9316" r="2125" b="9316"/>
          <a:stretch>
            <a:fillRect/>
          </a:stretch>
        </p:blipFill>
        <p:spPr>
          <a:xfrm>
            <a:off x="4541373" y="3544217"/>
            <a:ext cx="968445" cy="822972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8AB9401F-E038-4087-8974-78317435272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6" t="13940" r="7565" b="13940"/>
          <a:stretch>
            <a:fillRect/>
          </a:stretch>
        </p:blipFill>
        <p:spPr>
          <a:xfrm>
            <a:off x="1598171" y="3561106"/>
            <a:ext cx="968445" cy="822972"/>
          </a:xfrm>
          <a:custGeom>
            <a:avLst/>
            <a:gdLst>
              <a:gd name="connsiteX0" fmla="*/ 257468 w 1043747"/>
              <a:gd name="connsiteY0" fmla="*/ 0 h 886963"/>
              <a:gd name="connsiteX1" fmla="*/ 786279 w 1043747"/>
              <a:gd name="connsiteY1" fmla="*/ 0 h 886963"/>
              <a:gd name="connsiteX2" fmla="*/ 1043747 w 1043747"/>
              <a:gd name="connsiteY2" fmla="*/ 443482 h 886963"/>
              <a:gd name="connsiteX3" fmla="*/ 786279 w 1043747"/>
              <a:gd name="connsiteY3" fmla="*/ 886963 h 886963"/>
              <a:gd name="connsiteX4" fmla="*/ 257468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7468" y="0"/>
                </a:moveTo>
                <a:lnTo>
                  <a:pt x="786279" y="0"/>
                </a:lnTo>
                <a:lnTo>
                  <a:pt x="1043747" y="443482"/>
                </a:lnTo>
                <a:lnTo>
                  <a:pt x="786279" y="886963"/>
                </a:lnTo>
                <a:lnTo>
                  <a:pt x="257468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D0CEBCE2-8C71-4B5E-A8F3-C70CF8FA3373}"/>
              </a:ext>
            </a:extLst>
          </p:cNvPr>
          <p:cNvPicPr>
            <a:picLocks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t="6227" r="11710" b="17192"/>
          <a:stretch/>
        </p:blipFill>
        <p:spPr>
          <a:xfrm>
            <a:off x="8603893" y="5075607"/>
            <a:ext cx="1043747" cy="886963"/>
          </a:xfrm>
          <a:prstGeom prst="hexagon">
            <a:avLst>
              <a:gd name="adj" fmla="val 28490"/>
              <a:gd name="vf" fmla="val 115470"/>
            </a:avLst>
          </a:prstGeom>
          <a:ln w="12700">
            <a:solidFill>
              <a:schemeClr val="accent3"/>
            </a:solidFill>
          </a:ln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E5D1E4BA-AB76-411D-95C8-06B5D45F7614}"/>
              </a:ext>
            </a:extLst>
          </p:cNvPr>
          <p:cNvGrpSpPr/>
          <p:nvPr/>
        </p:nvGrpSpPr>
        <p:grpSpPr>
          <a:xfrm>
            <a:off x="8603893" y="1868292"/>
            <a:ext cx="1043747" cy="944113"/>
            <a:chOff x="8131966" y="1868292"/>
            <a:chExt cx="1043747" cy="944113"/>
          </a:xfrm>
        </p:grpSpPr>
        <p:pic>
          <p:nvPicPr>
            <p:cNvPr id="157" name="Picture 156">
              <a:extLst>
                <a:ext uri="{FF2B5EF4-FFF2-40B4-BE49-F238E27FC236}">
                  <a16:creationId xmlns:a16="http://schemas.microsoft.com/office/drawing/2014/main" id="{A8298201-0D74-46DF-8F6B-7CD9700D06F8}"/>
                </a:ext>
              </a:extLst>
            </p:cNvPr>
            <p:cNvPicPr>
              <a:picLocks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38" t="6145" r="11638" b="17131"/>
            <a:stretch/>
          </p:blipFill>
          <p:spPr>
            <a:xfrm>
              <a:off x="8131966" y="1925442"/>
              <a:ext cx="1043747" cy="886963"/>
            </a:xfrm>
            <a:prstGeom prst="hexagon">
              <a:avLst>
                <a:gd name="adj" fmla="val 28490"/>
                <a:gd name="vf" fmla="val 115470"/>
              </a:avLst>
            </a:prstGeom>
            <a:ln w="12700">
              <a:solidFill>
                <a:schemeClr val="accent6">
                  <a:lumMod val="50000"/>
                </a:schemeClr>
              </a:solidFill>
            </a:ln>
          </p:spPr>
        </p:pic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C92D82CD-8021-4AB1-844E-E59DA87D1BE3}"/>
                </a:ext>
              </a:extLst>
            </p:cNvPr>
            <p:cNvSpPr txBox="1">
              <a:spLocks/>
            </p:cNvSpPr>
            <p:nvPr/>
          </p:nvSpPr>
          <p:spPr>
            <a:xfrm>
              <a:off x="8299195" y="1868292"/>
              <a:ext cx="396676" cy="329540"/>
            </a:xfrm>
            <a:prstGeom prst="hexagon">
              <a:avLst/>
            </a:prstGeom>
            <a:solidFill>
              <a:schemeClr val="accent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600" dirty="0">
                  <a:solidFill>
                    <a:schemeClr val="lt1"/>
                  </a:solidFill>
                </a:rPr>
                <a:t>4</a:t>
              </a:r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id="{4E636BFA-2F09-45AE-AEF3-662A731305E5}"/>
              </a:ext>
            </a:extLst>
          </p:cNvPr>
          <p:cNvSpPr txBox="1">
            <a:spLocks/>
          </p:cNvSpPr>
          <p:nvPr/>
        </p:nvSpPr>
        <p:spPr>
          <a:xfrm>
            <a:off x="8771122" y="5018457"/>
            <a:ext cx="396676" cy="329540"/>
          </a:xfrm>
          <a:prstGeom prst="hexagon">
            <a:avLst/>
          </a:prstGeom>
          <a:solidFill>
            <a:schemeClr val="accent3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600" dirty="0">
                <a:solidFill>
                  <a:schemeClr val="lt1"/>
                </a:solidFill>
              </a:rPr>
              <a:t>7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DC08D3E-DEB8-4228-BC71-06DACA31CAA4}"/>
              </a:ext>
            </a:extLst>
          </p:cNvPr>
          <p:cNvGrpSpPr/>
          <p:nvPr/>
        </p:nvGrpSpPr>
        <p:grpSpPr>
          <a:xfrm>
            <a:off x="8603893" y="2919032"/>
            <a:ext cx="1043747" cy="943428"/>
            <a:chOff x="8131966" y="2919032"/>
            <a:chExt cx="1043747" cy="943428"/>
          </a:xfrm>
        </p:grpSpPr>
        <p:pic>
          <p:nvPicPr>
            <p:cNvPr id="158" name="Picture 157">
              <a:extLst>
                <a:ext uri="{FF2B5EF4-FFF2-40B4-BE49-F238E27FC236}">
                  <a16:creationId xmlns:a16="http://schemas.microsoft.com/office/drawing/2014/main" id="{88288422-91FA-4964-8503-41040350B1D4}"/>
                </a:ext>
              </a:extLst>
            </p:cNvPr>
            <p:cNvPicPr>
              <a:picLocks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4583" r="11710" b="18837"/>
            <a:stretch/>
          </p:blipFill>
          <p:spPr>
            <a:xfrm>
              <a:off x="8131966" y="2975497"/>
              <a:ext cx="1043747" cy="886963"/>
            </a:xfrm>
            <a:prstGeom prst="hexagon">
              <a:avLst>
                <a:gd name="adj" fmla="val 29027"/>
                <a:gd name="vf" fmla="val 115470"/>
              </a:avLst>
            </a:prstGeom>
            <a:ln w="12700">
              <a:solidFill>
                <a:schemeClr val="accent6"/>
              </a:solidFill>
            </a:ln>
          </p:spPr>
        </p:pic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30C5AC67-6AF5-4030-8652-6630A17A6892}"/>
                </a:ext>
              </a:extLst>
            </p:cNvPr>
            <p:cNvSpPr txBox="1">
              <a:spLocks/>
            </p:cNvSpPr>
            <p:nvPr/>
          </p:nvSpPr>
          <p:spPr>
            <a:xfrm>
              <a:off x="8299195" y="2919032"/>
              <a:ext cx="396676" cy="329540"/>
            </a:xfrm>
            <a:prstGeom prst="hexagon">
              <a:avLst/>
            </a:prstGeom>
            <a:solidFill>
              <a:schemeClr val="accent6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600" dirty="0">
                  <a:solidFill>
                    <a:schemeClr val="lt1"/>
                  </a:solidFill>
                </a:rPr>
                <a:t>5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FC5745-24E9-4A8D-8D72-63AC68A5112D}"/>
              </a:ext>
            </a:extLst>
          </p:cNvPr>
          <p:cNvGrpSpPr/>
          <p:nvPr/>
        </p:nvGrpSpPr>
        <p:grpSpPr>
          <a:xfrm>
            <a:off x="8603893" y="3972592"/>
            <a:ext cx="1043747" cy="939923"/>
            <a:chOff x="8131966" y="3972592"/>
            <a:chExt cx="1043747" cy="939923"/>
          </a:xfrm>
        </p:grpSpPr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5F7FF8A2-9E86-49E5-93DD-E20A44CF7827}"/>
                </a:ext>
              </a:extLst>
            </p:cNvPr>
            <p:cNvPicPr>
              <a:picLocks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11710" r="11710" b="11710"/>
            <a:stretch>
              <a:fillRect/>
            </a:stretch>
          </p:blipFill>
          <p:spPr>
            <a:xfrm>
              <a:off x="8131966" y="4025552"/>
              <a:ext cx="1043747" cy="886963"/>
            </a:xfrm>
            <a:prstGeom prst="hexagon">
              <a:avLst>
                <a:gd name="adj" fmla="val 29027"/>
                <a:gd name="vf" fmla="val 115470"/>
              </a:avLst>
            </a:prstGeom>
            <a:ln w="12700">
              <a:solidFill>
                <a:srgbClr val="EE9D44"/>
              </a:solidFill>
            </a:ln>
          </p:spPr>
        </p:pic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710F84C9-6CD2-4120-A134-B2F4F89B016F}"/>
                </a:ext>
              </a:extLst>
            </p:cNvPr>
            <p:cNvSpPr txBox="1">
              <a:spLocks/>
            </p:cNvSpPr>
            <p:nvPr/>
          </p:nvSpPr>
          <p:spPr>
            <a:xfrm>
              <a:off x="8299195" y="3972592"/>
              <a:ext cx="396676" cy="329540"/>
            </a:xfrm>
            <a:prstGeom prst="hexagon">
              <a:avLst/>
            </a:prstGeom>
            <a:solidFill>
              <a:srgbClr val="EE9D4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600" dirty="0">
                  <a:solidFill>
                    <a:schemeClr val="lt1"/>
                  </a:solidFill>
                </a:rPr>
                <a:t>6</a:t>
              </a:r>
            </a:p>
          </p:txBody>
        </p:sp>
      </p:grpSp>
      <p:pic>
        <p:nvPicPr>
          <p:cNvPr id="164" name="Picture 163">
            <a:extLst>
              <a:ext uri="{FF2B5EF4-FFF2-40B4-BE49-F238E27FC236}">
                <a16:creationId xmlns:a16="http://schemas.microsoft.com/office/drawing/2014/main" id="{88A46977-0297-4FFA-9512-F830AB174489}"/>
              </a:ext>
            </a:extLst>
          </p:cNvPr>
          <p:cNvPicPr>
            <a:picLocks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7524" y="3485977"/>
            <a:ext cx="1043747" cy="886963"/>
          </a:xfrm>
          <a:prstGeom prst="hexagon">
            <a:avLst>
              <a:gd name="adj" fmla="val 29027"/>
              <a:gd name="vf" fmla="val 115470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</p:pic>
      <p:sp>
        <p:nvSpPr>
          <p:cNvPr id="165" name="TextBox 164">
            <a:extLst>
              <a:ext uri="{FF2B5EF4-FFF2-40B4-BE49-F238E27FC236}">
                <a16:creationId xmlns:a16="http://schemas.microsoft.com/office/drawing/2014/main" id="{CD70699A-7E05-438C-A264-F7A6626CDFDD}"/>
              </a:ext>
            </a:extLst>
          </p:cNvPr>
          <p:cNvSpPr txBox="1">
            <a:spLocks/>
          </p:cNvSpPr>
          <p:nvPr/>
        </p:nvSpPr>
        <p:spPr>
          <a:xfrm>
            <a:off x="4951282" y="3408174"/>
            <a:ext cx="396676" cy="329540"/>
          </a:xfrm>
          <a:prstGeom prst="hexagon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600" dirty="0">
                <a:solidFill>
                  <a:schemeClr val="lt1"/>
                </a:solidFill>
              </a:rPr>
              <a:t>2</a:t>
            </a:r>
          </a:p>
        </p:txBody>
      </p:sp>
      <p:pic>
        <p:nvPicPr>
          <p:cNvPr id="166" name="Picture 165">
            <a:extLst>
              <a:ext uri="{FF2B5EF4-FFF2-40B4-BE49-F238E27FC236}">
                <a16:creationId xmlns:a16="http://schemas.microsoft.com/office/drawing/2014/main" id="{26F17753-6338-4432-962F-0C7B23612BD8}"/>
              </a:ext>
            </a:extLst>
          </p:cNvPr>
          <p:cNvPicPr>
            <a:picLocks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9028" y="4891676"/>
            <a:ext cx="1043747" cy="886963"/>
          </a:xfrm>
          <a:prstGeom prst="hexagon">
            <a:avLst>
              <a:gd name="adj" fmla="val 29296"/>
              <a:gd name="vf" fmla="val 115470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</p:pic>
      <p:sp>
        <p:nvSpPr>
          <p:cNvPr id="167" name="TextBox 166">
            <a:extLst>
              <a:ext uri="{FF2B5EF4-FFF2-40B4-BE49-F238E27FC236}">
                <a16:creationId xmlns:a16="http://schemas.microsoft.com/office/drawing/2014/main" id="{8B062F51-58DE-4E27-9790-0F446F10B2D8}"/>
              </a:ext>
            </a:extLst>
          </p:cNvPr>
          <p:cNvSpPr txBox="1">
            <a:spLocks/>
          </p:cNvSpPr>
          <p:nvPr/>
        </p:nvSpPr>
        <p:spPr>
          <a:xfrm>
            <a:off x="4792786" y="4813873"/>
            <a:ext cx="396676" cy="329540"/>
          </a:xfrm>
          <a:prstGeom prst="hexagon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600" dirty="0">
                <a:solidFill>
                  <a:schemeClr val="lt1"/>
                </a:solidFill>
              </a:rPr>
              <a:t>3</a:t>
            </a:r>
          </a:p>
        </p:txBody>
      </p:sp>
      <p:pic>
        <p:nvPicPr>
          <p:cNvPr id="168" name="Picture 167">
            <a:extLst>
              <a:ext uri="{FF2B5EF4-FFF2-40B4-BE49-F238E27FC236}">
                <a16:creationId xmlns:a16="http://schemas.microsoft.com/office/drawing/2014/main" id="{08AA5F31-B8AB-4F63-86F1-9841A8A8C4F8}"/>
              </a:ext>
            </a:extLst>
          </p:cNvPr>
          <p:cNvPicPr>
            <a:picLocks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" t="2503" r="8761" b="20093"/>
          <a:stretch/>
        </p:blipFill>
        <p:spPr>
          <a:xfrm>
            <a:off x="2208092" y="3484943"/>
            <a:ext cx="1043747" cy="886963"/>
          </a:xfrm>
          <a:prstGeom prst="hexagon">
            <a:avLst>
              <a:gd name="adj" fmla="val 29028"/>
              <a:gd name="vf" fmla="val 115470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</p:pic>
      <p:sp>
        <p:nvSpPr>
          <p:cNvPr id="170" name="TextBox 169">
            <a:extLst>
              <a:ext uri="{FF2B5EF4-FFF2-40B4-BE49-F238E27FC236}">
                <a16:creationId xmlns:a16="http://schemas.microsoft.com/office/drawing/2014/main" id="{F4E8C3C9-930F-4D6E-BA2A-F0EAAC29B8F4}"/>
              </a:ext>
            </a:extLst>
          </p:cNvPr>
          <p:cNvSpPr txBox="1">
            <a:spLocks/>
          </p:cNvSpPr>
          <p:nvPr/>
        </p:nvSpPr>
        <p:spPr>
          <a:xfrm>
            <a:off x="2411528" y="3408174"/>
            <a:ext cx="396676" cy="329540"/>
          </a:xfrm>
          <a:prstGeom prst="hexagon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600" dirty="0">
                <a:solidFill>
                  <a:schemeClr val="lt1"/>
                </a:solidFill>
              </a:rPr>
              <a:t>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97B21F-E4A3-42DB-9A75-1715EE12D69A}"/>
              </a:ext>
            </a:extLst>
          </p:cNvPr>
          <p:cNvSpPr txBox="1">
            <a:spLocks/>
          </p:cNvSpPr>
          <p:nvPr/>
        </p:nvSpPr>
        <p:spPr>
          <a:xfrm>
            <a:off x="9867594" y="2132576"/>
            <a:ext cx="188823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/>
              <a:t>Decarbonize </a:t>
            </a:r>
            <a:r>
              <a:rPr lang="en-US" sz="1600" b="1" dirty="0">
                <a:solidFill>
                  <a:schemeClr val="accent4"/>
                </a:solidFill>
              </a:rPr>
              <a:t>transporta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4DFBC27-342A-4A89-9375-8606C6B2D11E}"/>
              </a:ext>
            </a:extLst>
          </p:cNvPr>
          <p:cNvSpPr txBox="1">
            <a:spLocks/>
          </p:cNvSpPr>
          <p:nvPr/>
        </p:nvSpPr>
        <p:spPr>
          <a:xfrm>
            <a:off x="9823172" y="4036705"/>
            <a:ext cx="1888238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/>
              <a:t>Help decarbonize</a:t>
            </a:r>
            <a:r>
              <a:rPr lang="en-US" sz="1600" dirty="0">
                <a:solidFill>
                  <a:schemeClr val="tx2"/>
                </a:solidFill>
              </a:rPr>
              <a:t/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b="1" dirty="0">
                <a:solidFill>
                  <a:srgbClr val="EE9D44"/>
                </a:solidFill>
              </a:rPr>
              <a:t>building heat and pow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2CE44DE-E84D-484C-BF60-3D386A95B43A}"/>
              </a:ext>
            </a:extLst>
          </p:cNvPr>
          <p:cNvSpPr txBox="1">
            <a:spLocks/>
          </p:cNvSpPr>
          <p:nvPr/>
        </p:nvSpPr>
        <p:spPr>
          <a:xfrm>
            <a:off x="9839393" y="2982930"/>
            <a:ext cx="1888238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/>
              <a:t>Decarbonize </a:t>
            </a:r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industrial energy </a:t>
            </a:r>
            <a:r>
              <a:rPr lang="en-US" sz="1600" dirty="0"/>
              <a:t>us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FBA6289-8B9C-4661-806B-340C51999715}"/>
              </a:ext>
            </a:extLst>
          </p:cNvPr>
          <p:cNvSpPr txBox="1">
            <a:spLocks/>
          </p:cNvSpPr>
          <p:nvPr/>
        </p:nvSpPr>
        <p:spPr>
          <a:xfrm>
            <a:off x="9839393" y="5244154"/>
            <a:ext cx="188823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/>
              <a:t>Serve as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/>
              <a:t>renewable </a:t>
            </a:r>
            <a:r>
              <a:rPr lang="en-US" sz="1600" b="1" dirty="0">
                <a:solidFill>
                  <a:schemeClr val="accent3"/>
                </a:solidFill>
              </a:rPr>
              <a:t>feedstock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8244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1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5" name="Picture 24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4" t="1173" r="34608" b="1170"/>
          <a:stretch>
            <a:fillRect/>
          </a:stretch>
        </p:blipFill>
        <p:spPr>
          <a:xfrm>
            <a:off x="8288529" y="2985594"/>
            <a:ext cx="3362121" cy="2977090"/>
          </a:xfrm>
          <a:custGeom>
            <a:avLst/>
            <a:gdLst>
              <a:gd name="connsiteX0" fmla="*/ 468193 w 2134974"/>
              <a:gd name="connsiteY0" fmla="*/ 0 h 1872773"/>
              <a:gd name="connsiteX1" fmla="*/ 1666781 w 2134974"/>
              <a:gd name="connsiteY1" fmla="*/ 0 h 1872773"/>
              <a:gd name="connsiteX2" fmla="*/ 2134974 w 2134974"/>
              <a:gd name="connsiteY2" fmla="*/ 936387 h 1872773"/>
              <a:gd name="connsiteX3" fmla="*/ 1666781 w 2134974"/>
              <a:gd name="connsiteY3" fmla="*/ 1872773 h 1872773"/>
              <a:gd name="connsiteX4" fmla="*/ 468193 w 2134974"/>
              <a:gd name="connsiteY4" fmla="*/ 1872773 h 1872773"/>
              <a:gd name="connsiteX5" fmla="*/ 0 w 2134974"/>
              <a:gd name="connsiteY5" fmla="*/ 936387 h 1872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4974" h="1872773">
                <a:moveTo>
                  <a:pt x="468193" y="0"/>
                </a:moveTo>
                <a:lnTo>
                  <a:pt x="1666781" y="0"/>
                </a:lnTo>
                <a:lnTo>
                  <a:pt x="2134974" y="936387"/>
                </a:lnTo>
                <a:lnTo>
                  <a:pt x="1666781" y="1872773"/>
                </a:lnTo>
                <a:lnTo>
                  <a:pt x="468193" y="1872773"/>
                </a:lnTo>
                <a:lnTo>
                  <a:pt x="0" y="936387"/>
                </a:lnTo>
                <a:close/>
              </a:path>
            </a:pathLst>
          </a:cu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AD84B6D-B6C5-4281-BF5B-D04313D46B99}"/>
              </a:ext>
            </a:extLst>
          </p:cNvPr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09" r="5778" b="5"/>
          <a:stretch/>
        </p:blipFill>
        <p:spPr>
          <a:xfrm>
            <a:off x="158759" y="1483471"/>
            <a:ext cx="3362121" cy="2952761"/>
          </a:xfrm>
          <a:prstGeom prst="hexagon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265B26B-11D3-4E23-8E17-5C7FE4B69702}"/>
              </a:ext>
            </a:extLst>
          </p:cNvPr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6" t="16406" r="188" b="3488"/>
          <a:stretch/>
        </p:blipFill>
        <p:spPr>
          <a:xfrm>
            <a:off x="2868682" y="3002842"/>
            <a:ext cx="3355406" cy="2959842"/>
          </a:xfrm>
          <a:prstGeom prst="hexagon">
            <a:avLst/>
          </a:prstGeom>
        </p:spPr>
      </p:pic>
      <p:pic>
        <p:nvPicPr>
          <p:cNvPr id="31" name="Picture 41" descr="https://mm.gettyimages.com/api/1.0/owners/249873912/assets/531054871/thumbnails/master/vn?signature=a9a36002f4866a94c07b51f263508847">
            <a:extLst>
              <a:ext uri="{FF2B5EF4-FFF2-40B4-BE49-F238E27FC236}">
                <a16:creationId xmlns:a16="http://schemas.microsoft.com/office/drawing/2014/main" id="{4F1C0898-1132-446F-A84C-0F5BAF878D28}"/>
              </a:ext>
            </a:extLst>
          </p:cNvPr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40" r="4262"/>
          <a:stretch/>
        </p:blipFill>
        <p:spPr bwMode="auto">
          <a:xfrm>
            <a:off x="5571890" y="1465584"/>
            <a:ext cx="3368836" cy="2952760"/>
          </a:xfrm>
          <a:prstGeom prst="hexagon">
            <a:avLst/>
          </a:prstGeom>
          <a:ln w="285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DD51863-B0E3-45A4-8BB7-25B8E42D60C5}"/>
              </a:ext>
            </a:extLst>
          </p:cNvPr>
          <p:cNvSpPr txBox="1">
            <a:spLocks/>
          </p:cNvSpPr>
          <p:nvPr/>
        </p:nvSpPr>
        <p:spPr>
          <a:xfrm>
            <a:off x="473020" y="1759469"/>
            <a:ext cx="2733598" cy="2400764"/>
          </a:xfrm>
          <a:prstGeom prst="hexagon">
            <a:avLst/>
          </a:prstGeom>
          <a:solidFill>
            <a:srgbClr val="FFFFFF">
              <a:alpha val="69804"/>
            </a:srgb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D51863-B0E3-45A4-8BB7-25B8E42D60C5}"/>
              </a:ext>
            </a:extLst>
          </p:cNvPr>
          <p:cNvSpPr txBox="1">
            <a:spLocks/>
          </p:cNvSpPr>
          <p:nvPr/>
        </p:nvSpPr>
        <p:spPr>
          <a:xfrm>
            <a:off x="3179586" y="3282381"/>
            <a:ext cx="2733598" cy="2400764"/>
          </a:xfrm>
          <a:prstGeom prst="hexagon">
            <a:avLst/>
          </a:prstGeom>
          <a:solidFill>
            <a:srgbClr val="FFFFFF">
              <a:alpha val="69804"/>
            </a:srgb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DD51863-B0E3-45A4-8BB7-25B8E42D60C5}"/>
              </a:ext>
            </a:extLst>
          </p:cNvPr>
          <p:cNvSpPr txBox="1">
            <a:spLocks/>
          </p:cNvSpPr>
          <p:nvPr/>
        </p:nvSpPr>
        <p:spPr>
          <a:xfrm>
            <a:off x="5889509" y="1741582"/>
            <a:ext cx="2733598" cy="2400764"/>
          </a:xfrm>
          <a:prstGeom prst="hexagon">
            <a:avLst/>
          </a:prstGeom>
          <a:solidFill>
            <a:srgbClr val="FFFFFF">
              <a:alpha val="69804"/>
            </a:srgb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DD51863-B0E3-45A4-8BB7-25B8E42D60C5}"/>
              </a:ext>
            </a:extLst>
          </p:cNvPr>
          <p:cNvSpPr txBox="1">
            <a:spLocks/>
          </p:cNvSpPr>
          <p:nvPr/>
        </p:nvSpPr>
        <p:spPr>
          <a:xfrm>
            <a:off x="8602790" y="3273757"/>
            <a:ext cx="2733598" cy="2400764"/>
          </a:xfrm>
          <a:prstGeom prst="hexagon">
            <a:avLst/>
          </a:prstGeom>
          <a:solidFill>
            <a:srgbClr val="FFFFFF">
              <a:alpha val="69804"/>
            </a:srgb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59128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Hydrogen can benefit the energy system, environment and economy</a:t>
            </a:r>
          </a:p>
        </p:txBody>
      </p:sp>
      <p:sp>
        <p:nvSpPr>
          <p:cNvPr id="43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 smtClean="0">
                <a:solidFill>
                  <a:schemeClr val="accent6"/>
                </a:solidFill>
                <a:latin typeface="+mn-lt"/>
              </a:rPr>
              <a:t>SOURCES: 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Hydrogen Council, IEA ETP Hydrogen and Fuel Cells CBS, National Energy Outlook 2016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932726" y="2424133"/>
            <a:ext cx="1814186" cy="1071436"/>
            <a:chOff x="886334" y="2428932"/>
            <a:chExt cx="1814186" cy="1071436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A7ADF64-15BD-4357-A696-B172C8CBB5ED}"/>
                </a:ext>
              </a:extLst>
            </p:cNvPr>
            <p:cNvSpPr txBox="1"/>
            <p:nvPr/>
          </p:nvSpPr>
          <p:spPr>
            <a:xfrm>
              <a:off x="1042617" y="2428932"/>
              <a:ext cx="1501620" cy="5306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>
                <a:lnSpc>
                  <a:spcPts val="4000"/>
                </a:lnSpc>
              </a:pPr>
              <a:r>
                <a:rPr lang="en-US" sz="4000" dirty="0">
                  <a:solidFill>
                    <a:schemeClr val="accent4"/>
                  </a:solidFill>
                </a:rPr>
                <a:t>18%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62BDF15-9710-4A1D-B745-9FC802752AE4}"/>
                </a:ext>
              </a:extLst>
            </p:cNvPr>
            <p:cNvSpPr txBox="1"/>
            <p:nvPr/>
          </p:nvSpPr>
          <p:spPr>
            <a:xfrm>
              <a:off x="886334" y="2946369"/>
              <a:ext cx="1814186" cy="553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800" dirty="0">
                  <a:solidFill>
                    <a:schemeClr val="accent4"/>
                  </a:solidFill>
                </a:rPr>
                <a:t>of final energy demand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274162" y="3947045"/>
            <a:ext cx="2544447" cy="1071436"/>
            <a:chOff x="-3089449" y="108087"/>
            <a:chExt cx="2544447" cy="107143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2E12126-3A1D-4F48-BA83-438C0199CB84}"/>
                </a:ext>
              </a:extLst>
            </p:cNvPr>
            <p:cNvSpPr txBox="1"/>
            <p:nvPr/>
          </p:nvSpPr>
          <p:spPr>
            <a:xfrm>
              <a:off x="-3089449" y="108087"/>
              <a:ext cx="2544447" cy="5129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ctr" defTabSz="895350" eaLnBrk="1" latinLnBrk="0" hangingPunct="1">
                <a:buClr>
                  <a:schemeClr val="tx2"/>
                </a:buClr>
                <a:buSzPct val="100000"/>
                <a:defRPr sz="7200" baseline="0">
                  <a:solidFill>
                    <a:schemeClr val="bg1"/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lnSpc>
                  <a:spcPts val="4000"/>
                </a:lnSpc>
              </a:pPr>
              <a:r>
                <a:rPr lang="en-US" sz="4000" dirty="0">
                  <a:solidFill>
                    <a:schemeClr val="accent4"/>
                  </a:solidFill>
                </a:rPr>
                <a:t>6 G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BE9A90A-CCC0-4825-9FE7-70CAFF4F243D}"/>
                </a:ext>
              </a:extLst>
            </p:cNvPr>
            <p:cNvSpPr txBox="1"/>
            <p:nvPr/>
          </p:nvSpPr>
          <p:spPr>
            <a:xfrm>
              <a:off x="-3014624" y="625524"/>
              <a:ext cx="2394797" cy="553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800" dirty="0">
                  <a:solidFill>
                    <a:schemeClr val="accent4"/>
                  </a:solidFill>
                </a:rPr>
                <a:t>annual CO</a:t>
              </a:r>
              <a:r>
                <a:rPr lang="en-US" sz="1800" baseline="-25000" dirty="0">
                  <a:solidFill>
                    <a:schemeClr val="accent4"/>
                  </a:solidFill>
                </a:rPr>
                <a:t>2</a:t>
              </a:r>
              <a:r>
                <a:rPr lang="en-US" sz="1800" dirty="0">
                  <a:solidFill>
                    <a:schemeClr val="accent4"/>
                  </a:solidFill>
                </a:rPr>
                <a:t> </a:t>
              </a:r>
            </a:p>
            <a:p>
              <a:pPr algn="ctr"/>
              <a:r>
                <a:rPr lang="en-US" sz="1800" dirty="0">
                  <a:solidFill>
                    <a:schemeClr val="accent4"/>
                  </a:solidFill>
                </a:rPr>
                <a:t>abatemen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876031" y="2424133"/>
            <a:ext cx="2760554" cy="1348434"/>
            <a:chOff x="6013525" y="2305086"/>
            <a:chExt cx="2760554" cy="134843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E8182A3-4DF0-4703-BF1A-FD39E3FB12D4}"/>
                </a:ext>
              </a:extLst>
            </p:cNvPr>
            <p:cNvSpPr txBox="1"/>
            <p:nvPr/>
          </p:nvSpPr>
          <p:spPr>
            <a:xfrm>
              <a:off x="6013525" y="2305086"/>
              <a:ext cx="2760554" cy="5129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ctr" defTabSz="895350" eaLnBrk="1" latinLnBrk="0" hangingPunct="1">
                <a:buClr>
                  <a:schemeClr val="tx2"/>
                </a:buClr>
                <a:buSzPct val="100000"/>
                <a:defRPr sz="7200" baseline="0">
                  <a:solidFill>
                    <a:schemeClr val="bg1"/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lnSpc>
                  <a:spcPts val="4000"/>
                </a:lnSpc>
              </a:pPr>
              <a:r>
                <a:rPr lang="en-US" sz="4000" spc="-20" dirty="0">
                  <a:solidFill>
                    <a:schemeClr val="accent4"/>
                  </a:solidFill>
                </a:rPr>
                <a:t>$2500 </a:t>
              </a:r>
              <a:r>
                <a:rPr lang="en-US" sz="4000" spc="-20" dirty="0" err="1">
                  <a:solidFill>
                    <a:schemeClr val="accent4"/>
                  </a:solidFill>
                </a:rPr>
                <a:t>bn</a:t>
              </a:r>
              <a:endParaRPr lang="en-US" sz="4000" spc="-20" dirty="0">
                <a:solidFill>
                  <a:schemeClr val="accent4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BD8218E-1B3E-4CC2-98C0-4890D540CA01}"/>
                </a:ext>
              </a:extLst>
            </p:cNvPr>
            <p:cNvSpPr txBox="1"/>
            <p:nvPr/>
          </p:nvSpPr>
          <p:spPr>
            <a:xfrm>
              <a:off x="6196403" y="2822523"/>
              <a:ext cx="2394797" cy="8309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800" dirty="0">
                  <a:solidFill>
                    <a:schemeClr val="accent4"/>
                  </a:solidFill>
                </a:rPr>
                <a:t>annual sales </a:t>
              </a:r>
            </a:p>
            <a:p>
              <a:pPr algn="ctr"/>
              <a:r>
                <a:rPr lang="en-US" sz="1800" dirty="0">
                  <a:solidFill>
                    <a:schemeClr val="accent4"/>
                  </a:solidFill>
                </a:rPr>
                <a:t>(hydrogen and </a:t>
              </a:r>
              <a:br>
                <a:rPr lang="en-US" sz="1800" dirty="0">
                  <a:solidFill>
                    <a:schemeClr val="accent4"/>
                  </a:solidFill>
                </a:rPr>
              </a:br>
              <a:r>
                <a:rPr lang="en-US" sz="1800" dirty="0">
                  <a:solidFill>
                    <a:schemeClr val="accent4"/>
                  </a:solidFill>
                </a:rPr>
                <a:t>equipment</a:t>
              </a:r>
              <a:r>
                <a:rPr lang="en-US" sz="1800" baseline="30000" dirty="0">
                  <a:solidFill>
                    <a:schemeClr val="accent4"/>
                  </a:solidFill>
                </a:rPr>
                <a:t>1</a:t>
              </a:r>
              <a:r>
                <a:rPr lang="en-US" sz="1800" dirty="0">
                  <a:solidFill>
                    <a:schemeClr val="accent4"/>
                  </a:solidFill>
                </a:rPr>
                <a:t>) 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697366" y="3947045"/>
            <a:ext cx="2544447" cy="1071436"/>
            <a:chOff x="11752974" y="3817160"/>
            <a:chExt cx="2544447" cy="1071436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E8182A3-4DF0-4703-BF1A-FD39E3FB12D4}"/>
                </a:ext>
              </a:extLst>
            </p:cNvPr>
            <p:cNvSpPr txBox="1"/>
            <p:nvPr/>
          </p:nvSpPr>
          <p:spPr>
            <a:xfrm>
              <a:off x="11752974" y="3817160"/>
              <a:ext cx="2544447" cy="5129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ctr" defTabSz="895350" eaLnBrk="1" latinLnBrk="0" hangingPunct="1">
                <a:buClr>
                  <a:schemeClr val="tx2"/>
                </a:buClr>
                <a:buSzPct val="100000"/>
                <a:defRPr sz="7200" baseline="0">
                  <a:solidFill>
                    <a:schemeClr val="bg1"/>
                  </a:solidFill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lnSpc>
                  <a:spcPts val="4000"/>
                </a:lnSpc>
              </a:pPr>
              <a:r>
                <a:rPr lang="en-US" sz="4000" spc="-20" dirty="0">
                  <a:solidFill>
                    <a:schemeClr val="accent4"/>
                  </a:solidFill>
                </a:rPr>
                <a:t>3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BD8218E-1B3E-4CC2-98C0-4890D540CA01}"/>
                </a:ext>
              </a:extLst>
            </p:cNvPr>
            <p:cNvSpPr txBox="1"/>
            <p:nvPr/>
          </p:nvSpPr>
          <p:spPr>
            <a:xfrm>
              <a:off x="11827799" y="4334597"/>
              <a:ext cx="2394797" cy="553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US" sz="1800" dirty="0">
                  <a:solidFill>
                    <a:schemeClr val="accent4"/>
                  </a:solidFill>
                </a:rPr>
                <a:t>million jobs </a:t>
              </a:r>
            </a:p>
            <a:p>
              <a:pPr algn="ctr"/>
              <a:r>
                <a:rPr lang="en-US" sz="1800" dirty="0">
                  <a:solidFill>
                    <a:schemeClr val="accent4"/>
                  </a:solidFill>
                </a:rPr>
                <a:t>created</a:t>
              </a:r>
            </a:p>
          </p:txBody>
        </p:sp>
      </p:grpSp>
      <p:sp>
        <p:nvSpPr>
          <p:cNvPr id="27" name="4. Footnote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>
                <a:solidFill>
                  <a:schemeClr val="accent6"/>
                </a:solidFill>
                <a:latin typeface="Arial" panose="020B0604020202020204" pitchFamily="34" charset="0"/>
                <a:ea typeface="+mn-ea"/>
              </a:rPr>
              <a:t>1 Value add of fuel cells</a:t>
            </a:r>
            <a:endParaRPr lang="en-US" sz="800" baseline="0" noProof="0" dirty="0">
              <a:solidFill>
                <a:schemeClr val="accent6"/>
              </a:solidFill>
              <a:latin typeface="Arial" panose="020B0604020202020204" pitchFamily="34" charset="0"/>
              <a:ea typeface="+mn-ea"/>
            </a:endParaRPr>
          </a:p>
        </p:txBody>
      </p:sp>
      <p:sp>
        <p:nvSpPr>
          <p:cNvPr id="29" name="3. Unit of measure"/>
          <p:cNvSpPr txBox="1">
            <a:spLocks noChangeArrowheads="1"/>
          </p:cNvSpPr>
          <p:nvPr/>
        </p:nvSpPr>
        <p:spPr bwMode="gray">
          <a:xfrm>
            <a:off x="158759" y="754841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Estimated impact in 2050</a:t>
            </a:r>
          </a:p>
        </p:txBody>
      </p:sp>
    </p:spTree>
    <p:extLst>
      <p:ext uri="{BB962C8B-B14F-4D97-AF65-F5344CB8AC3E}">
        <p14:creationId xmlns:p14="http://schemas.microsoft.com/office/powerpoint/2010/main" val="194873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982CD3-0F2D-42E5-BFEB-34D22478D6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11057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94" name="think-cell Slide" r:id="rId16" imgW="410" imgH="409" progId="TCLayout.ActiveDocument.1">
                  <p:embed/>
                </p:oleObj>
              </mc:Choice>
              <mc:Fallback>
                <p:oleObj name="think-cell Slide" r:id="rId16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1EF2BE-1359-4C95-B9CC-4E464D1428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l-NL" sz="14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5. Source">
            <a:extLst>
              <a:ext uri="{FF2B5EF4-FFF2-40B4-BE49-F238E27FC236}">
                <a16:creationId xmlns:a16="http://schemas.microsoft.com/office/drawing/2014/main" id="{F0B8864D-4BB2-436D-B970-B965588AF98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6507558"/>
            <a:ext cx="878143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de-DE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Hydrogen Council</a:t>
            </a:r>
            <a:endParaRPr lang="x-none" sz="80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7A94B8B6-906F-4601-96EA-E098F6DB526D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23153138"/>
              </p:ext>
            </p:extLst>
          </p:nvPr>
        </p:nvGraphicFramePr>
        <p:xfrm>
          <a:off x="38100" y="1485900"/>
          <a:ext cx="5920541" cy="44650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95" name="Chart" r:id="rId18" imgW="5920541" imgH="4465086" progId="MSGraph.Chart.8">
                  <p:embed followColorScheme="full"/>
                </p:oleObj>
              </mc:Choice>
              <mc:Fallback>
                <p:oleObj name="Chart" r:id="rId18" imgW="5920541" imgH="446508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8100" y="1485900"/>
                        <a:ext cx="5920541" cy="44650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81A0911-00A3-4632-B369-D450925C4DA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083175" y="595471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78CEE0F-FF7B-4356-8A00-5D2B5667119F}" type="datetime'''2''''''''''''''''0''''''''''5''''''''''''''''''''''0'''''''">
              <a:rPr lang="nl-NL" altLang="en-US">
                <a:sym typeface="+mn-lt"/>
              </a:rPr>
              <a:pPr/>
              <a:t>2050</a:t>
            </a:fld>
            <a:endParaRPr lang="nl-NL" dirty="0"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4DC439B-37F5-4BC2-BBD1-90489F4BED0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165725" y="1362075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E039C51-87D7-4C15-8FA7-008B81608B34}" type="datetime'''''''''''''''''''7''8'''''''''">
              <a:rPr lang="nl-NL" altLang="en-US"/>
              <a:pPr/>
              <a:t>78</a:t>
            </a:fld>
            <a:endParaRPr lang="nl-NL" dirty="0"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4B57EE0-0755-44F9-ADC2-C4A1AAF7C7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887663" y="4851400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AEA57FB-9E5B-4D0D-9F2F-8F3A11A8A32E}" type="datetime'''''''''''''''''''''1''''''''''''''''4'''''''''''">
              <a:rPr lang="nl-NL" altLang="en-US"/>
              <a:pPr/>
              <a:t>14</a:t>
            </a:fld>
            <a:endParaRPr lang="nl-NL" dirty="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6C228B1-BF6E-42F6-ADE4-A09351BE0A0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027488" y="4119563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014CE9E-2E3A-49E3-ADA5-9899985E2800}" type="datetime'''2''''''''''''''''''''''8'''''''''''''''''">
              <a:rPr lang="nl-NL" altLang="en-US"/>
              <a:pPr/>
              <a:t>28</a:t>
            </a:fld>
            <a:endParaRPr lang="nl-NL" dirty="0"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18130D2-00F0-40C2-BC31-8E59459CCC3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749425" y="5095875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90BE6CB-3BAC-4A9D-8319-C007468B612C}" type="datetime'''''''''''1''''''''0'''''''''''''''''''''''''">
              <a:rPr lang="nl-NL" altLang="en-US"/>
              <a:pPr/>
              <a:t>10</a:t>
            </a:fld>
            <a:endParaRPr lang="nl-NL" dirty="0"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29609F4-C7E7-48C4-A4D4-99116724F2F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043363" y="5954713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dirty="0">
                <a:sym typeface="+mn-lt"/>
              </a:rPr>
              <a:t>40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1FE380-FA53-4192-BCE0-0D36DE15274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03538" y="5954713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altLang="en-US" dirty="0">
                <a:sym typeface="+mn-lt"/>
              </a:rPr>
              <a:t>30</a:t>
            </a:r>
            <a:endParaRPr lang="nl-NL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7555FC53-E480-4486-B83D-0B9329BB521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765300" y="5954713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nl-NL" altLang="en-US" dirty="0">
                <a:sym typeface="+mn-lt"/>
              </a:rPr>
              <a:t>20</a:t>
            </a:r>
            <a:endParaRPr lang="nl-NL" dirty="0"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1AAD4D3-81D8-4BBD-AECF-21D95FFDAEA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27050" y="595471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42FEDCF-BE8A-4C4E-926E-77F58A5CA3AF}" type="datetime'''2''''''01''5'''''''''''''''''''''''''''''''">
              <a:rPr lang="nl-NL" altLang="en-US">
                <a:sym typeface="+mn-lt"/>
              </a:rPr>
              <a:pPr/>
              <a:t>2015</a:t>
            </a:fld>
            <a:endParaRPr lang="nl-NL" dirty="0"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E33E07-C723-470E-92E8-4DC50315031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58813" y="5178425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1822A6A-FAC5-48CB-8654-CD3B5F243783}" type="datetime'''''''''''''''''''''''''''''''''''''''''''''''8'''''''''">
              <a:rPr lang="de-DE" altLang="en-US" sz="1400"/>
              <a:pPr/>
              <a:t>8</a:t>
            </a:fld>
            <a:endParaRPr lang="de-DE" sz="1400" dirty="0">
              <a:sym typeface="+mn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5BEC87-7F0B-46A4-B565-0954F5FA25A1}"/>
              </a:ext>
            </a:extLst>
          </p:cNvPr>
          <p:cNvSpPr txBox="1">
            <a:spLocks/>
          </p:cNvSpPr>
          <p:nvPr/>
        </p:nvSpPr>
        <p:spPr>
          <a:xfrm>
            <a:off x="7186422" y="2665413"/>
            <a:ext cx="21973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4"/>
                </a:solidFill>
              </a:rPr>
              <a:t>Transportation</a:t>
            </a: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9ABD30CB-1A36-4F23-BDA1-4924DF24A06C}"/>
              </a:ext>
            </a:extLst>
          </p:cNvPr>
          <p:cNvSpPr>
            <a:spLocks/>
          </p:cNvSpPr>
          <p:nvPr/>
        </p:nvSpPr>
        <p:spPr>
          <a:xfrm>
            <a:off x="6137275" y="2363788"/>
            <a:ext cx="866953" cy="766137"/>
          </a:xfrm>
          <a:prstGeom prst="hexagon">
            <a:avLst>
              <a:gd name="adj" fmla="val 28619"/>
              <a:gd name="vf" fmla="val 115470"/>
            </a:avLst>
          </a:prstGeom>
          <a:solidFill>
            <a:schemeClr val="accent3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B0063FA-A27B-4EA4-9633-C98C0396D8CC}"/>
              </a:ext>
            </a:extLst>
          </p:cNvPr>
          <p:cNvPicPr>
            <a:picLocks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8" t="6145" r="11638" b="17131"/>
          <a:stretch/>
        </p:blipFill>
        <p:spPr>
          <a:xfrm>
            <a:off x="6188075" y="2416175"/>
            <a:ext cx="866953" cy="766137"/>
          </a:xfrm>
          <a:prstGeom prst="hexagon">
            <a:avLst>
              <a:gd name="adj" fmla="val 28490"/>
              <a:gd name="vf" fmla="val 115470"/>
            </a:avLst>
          </a:prstGeom>
          <a:ln w="6350">
            <a:solidFill>
              <a:schemeClr val="accent6">
                <a:lumMod val="50000"/>
              </a:schemeClr>
            </a:solidFill>
          </a:ln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E6FE38EE-9C69-4702-A590-C8E5ED69BC11}"/>
              </a:ext>
            </a:extLst>
          </p:cNvPr>
          <p:cNvSpPr txBox="1">
            <a:spLocks/>
          </p:cNvSpPr>
          <p:nvPr/>
        </p:nvSpPr>
        <p:spPr>
          <a:xfrm>
            <a:off x="6186488" y="2363788"/>
            <a:ext cx="316592" cy="273509"/>
          </a:xfrm>
          <a:prstGeom prst="hexagon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4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C158CE-C22F-4E61-9AF7-4279F5D5A52C}"/>
              </a:ext>
            </a:extLst>
          </p:cNvPr>
          <p:cNvSpPr txBox="1">
            <a:spLocks/>
          </p:cNvSpPr>
          <p:nvPr/>
        </p:nvSpPr>
        <p:spPr>
          <a:xfrm>
            <a:off x="7186422" y="1628775"/>
            <a:ext cx="2197300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2"/>
                </a:solidFill>
              </a:rPr>
              <a:t>Power generation, </a:t>
            </a:r>
          </a:p>
          <a:p>
            <a:r>
              <a:rPr lang="en-US" b="1" dirty="0">
                <a:solidFill>
                  <a:schemeClr val="accent2"/>
                </a:solidFill>
              </a:rPr>
              <a:t>buffering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6137275" y="1398588"/>
            <a:ext cx="917587" cy="893228"/>
            <a:chOff x="7624967" y="1485976"/>
            <a:chExt cx="917587" cy="893228"/>
          </a:xfrm>
        </p:grpSpPr>
        <p:sp>
          <p:nvSpPr>
            <p:cNvPr id="37" name="Hexagon 36">
              <a:extLst>
                <a:ext uri="{FF2B5EF4-FFF2-40B4-BE49-F238E27FC236}">
                  <a16:creationId xmlns:a16="http://schemas.microsoft.com/office/drawing/2014/main" id="{F2642661-19DF-4CC3-89F3-4366BBAB0F44}"/>
                </a:ext>
              </a:extLst>
            </p:cNvPr>
            <p:cNvSpPr>
              <a:spLocks/>
            </p:cNvSpPr>
            <p:nvPr/>
          </p:nvSpPr>
          <p:spPr>
            <a:xfrm>
              <a:off x="7624967" y="1560412"/>
              <a:ext cx="855792" cy="727241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7636780" y="1485976"/>
              <a:ext cx="905774" cy="893228"/>
              <a:chOff x="7636780" y="1485976"/>
              <a:chExt cx="905774" cy="893228"/>
            </a:xfrm>
          </p:grpSpPr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D1BA1F09-9961-4B37-93F3-7416EB93CAA7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61" t="2503" r="8761" b="20093"/>
              <a:stretch/>
            </p:blipFill>
            <p:spPr>
              <a:xfrm>
                <a:off x="7636780" y="1601981"/>
                <a:ext cx="905774" cy="777223"/>
              </a:xfrm>
              <a:prstGeom prst="hexagon">
                <a:avLst>
                  <a:gd name="adj" fmla="val 29028"/>
                  <a:gd name="vf" fmla="val 115470"/>
                </a:avLst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F00166C5-DECB-40D9-B9E4-8E8A9682A95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74198" y="1485976"/>
                <a:ext cx="316592" cy="273509"/>
              </a:xfrm>
              <a:prstGeom prst="hexagon">
                <a:avLst/>
              </a:prstGeom>
              <a:solidFill>
                <a:schemeClr val="accent2"/>
              </a:solidFill>
            </p:spPr>
            <p:txBody>
              <a:bodyPr vert="horz" wrap="square" lIns="0" tIns="0" rIns="0" bIns="0" rtlCol="0" anchor="ctr">
                <a:no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lang="en-US"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en-US"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en-US"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en-US" baseline="0">
                    <a:latin typeface="+mn-lt"/>
                  </a:defRPr>
                </a:lvl9pPr>
              </a:lstStyle>
              <a:p>
                <a:pPr algn="ctr">
                  <a:buClr>
                    <a:schemeClr val="bg2"/>
                  </a:buClr>
                </a:pPr>
                <a:r>
                  <a:rPr lang="en-US" sz="1200" dirty="0">
                    <a:solidFill>
                      <a:schemeClr val="lt1"/>
                    </a:solidFill>
                  </a:rPr>
                  <a:t>1</a:t>
                </a:r>
              </a:p>
            </p:txBody>
          </p:sp>
        </p:grp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023D090-9C2A-4440-A0F6-C0619F7AF963}"/>
              </a:ext>
            </a:extLst>
          </p:cNvPr>
          <p:cNvSpPr txBox="1">
            <a:spLocks/>
          </p:cNvSpPr>
          <p:nvPr/>
        </p:nvSpPr>
        <p:spPr>
          <a:xfrm>
            <a:off x="7186422" y="3556000"/>
            <a:ext cx="21973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Industrial energy</a:t>
            </a:r>
          </a:p>
        </p:txBody>
      </p:sp>
      <p:grpSp>
        <p:nvGrpSpPr>
          <p:cNvPr id="40" name="Group 39"/>
          <p:cNvGrpSpPr>
            <a:grpSpLocks/>
          </p:cNvGrpSpPr>
          <p:nvPr/>
        </p:nvGrpSpPr>
        <p:grpSpPr>
          <a:xfrm>
            <a:off x="6137275" y="3254375"/>
            <a:ext cx="917587" cy="818792"/>
            <a:chOff x="7739063" y="3081906"/>
            <a:chExt cx="680521" cy="62362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287A164-DA69-4423-A613-488B2F21492E}"/>
                </a:ext>
              </a:extLst>
            </p:cNvPr>
            <p:cNvGrpSpPr/>
            <p:nvPr/>
          </p:nvGrpSpPr>
          <p:grpSpPr>
            <a:xfrm>
              <a:off x="7739063" y="3121593"/>
              <a:ext cx="680521" cy="583939"/>
              <a:chOff x="9316389" y="3616786"/>
              <a:chExt cx="730348" cy="626694"/>
            </a:xfrm>
          </p:grpSpPr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8647A192-A6AA-416C-8D67-CA6E9D789D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316389" y="3616786"/>
                <a:ext cx="690046" cy="586392"/>
              </a:xfrm>
              <a:prstGeom prst="hexagon">
                <a:avLst>
                  <a:gd name="adj" fmla="val 28619"/>
                  <a:gd name="vf" fmla="val 115470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987C3DDC-D8AF-4DEE-A2F8-15EE0B0BC26F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710" t="4583" r="11710" b="18837"/>
              <a:stretch/>
            </p:blipFill>
            <p:spPr>
              <a:xfrm>
                <a:off x="9356691" y="3657088"/>
                <a:ext cx="690046" cy="586392"/>
              </a:xfrm>
              <a:prstGeom prst="hexagon">
                <a:avLst>
                  <a:gd name="adj" fmla="val 29027"/>
                  <a:gd name="vf" fmla="val 115470"/>
                </a:avLst>
              </a:prstGeom>
              <a:ln w="6350">
                <a:solidFill>
                  <a:schemeClr val="accent6"/>
                </a:solidFill>
              </a:ln>
            </p:spPr>
          </p:pic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D19DCE7-356B-46FA-8849-388176ED582A}"/>
                </a:ext>
              </a:extLst>
            </p:cNvPr>
            <p:cNvSpPr txBox="1">
              <a:spLocks/>
            </p:cNvSpPr>
            <p:nvPr/>
          </p:nvSpPr>
          <p:spPr>
            <a:xfrm>
              <a:off x="7781925" y="3081906"/>
              <a:ext cx="234798" cy="195059"/>
            </a:xfrm>
            <a:prstGeom prst="hexagon">
              <a:avLst/>
            </a:prstGeom>
            <a:solidFill>
              <a:schemeClr val="accent6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5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3F6D468D-9D85-4753-B20D-B0F8A9DAE18D}"/>
              </a:ext>
            </a:extLst>
          </p:cNvPr>
          <p:cNvSpPr txBox="1">
            <a:spLocks/>
          </p:cNvSpPr>
          <p:nvPr/>
        </p:nvSpPr>
        <p:spPr>
          <a:xfrm>
            <a:off x="7165785" y="4445000"/>
            <a:ext cx="21973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rgbClr val="EE9D44"/>
                </a:solidFill>
              </a:rPr>
              <a:t>Building heat and power</a:t>
            </a:r>
          </a:p>
        </p:txBody>
      </p:sp>
      <p:grpSp>
        <p:nvGrpSpPr>
          <p:cNvPr id="41" name="Group 40"/>
          <p:cNvGrpSpPr>
            <a:grpSpLocks/>
          </p:cNvGrpSpPr>
          <p:nvPr/>
        </p:nvGrpSpPr>
        <p:grpSpPr>
          <a:xfrm>
            <a:off x="6137275" y="4143375"/>
            <a:ext cx="917587" cy="818792"/>
            <a:chOff x="7739063" y="3824283"/>
            <a:chExt cx="680521" cy="610927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1E3B1B4-9E2A-4490-BFF6-593B8C8A8374}"/>
                </a:ext>
              </a:extLst>
            </p:cNvPr>
            <p:cNvGrpSpPr/>
            <p:nvPr/>
          </p:nvGrpSpPr>
          <p:grpSpPr>
            <a:xfrm>
              <a:off x="7739063" y="3851270"/>
              <a:ext cx="680521" cy="583940"/>
              <a:chOff x="9316389" y="4311002"/>
              <a:chExt cx="730348" cy="626695"/>
            </a:xfrm>
          </p:grpSpPr>
          <p:sp>
            <p:nvSpPr>
              <p:cNvPr id="34" name="Hexagon 33">
                <a:extLst>
                  <a:ext uri="{FF2B5EF4-FFF2-40B4-BE49-F238E27FC236}">
                    <a16:creationId xmlns:a16="http://schemas.microsoft.com/office/drawing/2014/main" id="{EA6D86EE-E40F-42FE-943A-14EF352C38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316389" y="4311002"/>
                <a:ext cx="690046" cy="586392"/>
              </a:xfrm>
              <a:prstGeom prst="hexagon">
                <a:avLst>
                  <a:gd name="adj" fmla="val 28619"/>
                  <a:gd name="vf" fmla="val 115470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2038A0A1-7466-4AAF-A171-19626E73C0B8}"/>
                  </a:ext>
                </a:extLst>
              </p:cNvPr>
              <p:cNvPicPr>
                <a:picLocks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710" t="11710" r="11710" b="11710"/>
              <a:stretch>
                <a:fillRect/>
              </a:stretch>
            </p:blipFill>
            <p:spPr>
              <a:xfrm>
                <a:off x="9356691" y="4351305"/>
                <a:ext cx="690046" cy="586392"/>
              </a:xfrm>
              <a:prstGeom prst="hexagon">
                <a:avLst>
                  <a:gd name="adj" fmla="val 29027"/>
                  <a:gd name="vf" fmla="val 115470"/>
                </a:avLst>
              </a:prstGeom>
              <a:ln w="6350">
                <a:solidFill>
                  <a:srgbClr val="EE9D44"/>
                </a:solidFill>
              </a:ln>
            </p:spPr>
          </p:pic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4A1C200-4BE7-4A4F-9E22-C4C7D9EA4345}"/>
                </a:ext>
              </a:extLst>
            </p:cNvPr>
            <p:cNvSpPr txBox="1">
              <a:spLocks/>
            </p:cNvSpPr>
            <p:nvPr/>
          </p:nvSpPr>
          <p:spPr>
            <a:xfrm>
              <a:off x="7781925" y="3824283"/>
              <a:ext cx="234798" cy="195059"/>
            </a:xfrm>
            <a:prstGeom prst="hexagon">
              <a:avLst/>
            </a:prstGeom>
            <a:solidFill>
              <a:srgbClr val="EE9D4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6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FC414C7C-0253-4696-919D-8B25D73786C4}"/>
              </a:ext>
            </a:extLst>
          </p:cNvPr>
          <p:cNvSpPr txBox="1">
            <a:spLocks/>
          </p:cNvSpPr>
          <p:nvPr/>
        </p:nvSpPr>
        <p:spPr>
          <a:xfrm>
            <a:off x="7186422" y="5257800"/>
            <a:ext cx="21973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New feedstock (CCU, DRI)</a:t>
            </a:r>
          </a:p>
        </p:txBody>
      </p:sp>
      <p:grpSp>
        <p:nvGrpSpPr>
          <p:cNvPr id="42" name="Group 41"/>
          <p:cNvGrpSpPr>
            <a:grpSpLocks/>
          </p:cNvGrpSpPr>
          <p:nvPr/>
        </p:nvGrpSpPr>
        <p:grpSpPr>
          <a:xfrm>
            <a:off x="6137275" y="5033963"/>
            <a:ext cx="917587" cy="818792"/>
            <a:chOff x="7739063" y="4504636"/>
            <a:chExt cx="680521" cy="61410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E0C972F-4725-45E6-8323-90FA2B23AE35}"/>
                </a:ext>
              </a:extLst>
            </p:cNvPr>
            <p:cNvGrpSpPr/>
            <p:nvPr/>
          </p:nvGrpSpPr>
          <p:grpSpPr>
            <a:xfrm>
              <a:off x="7739063" y="4534799"/>
              <a:ext cx="680521" cy="583939"/>
              <a:chOff x="9316389" y="5005219"/>
              <a:chExt cx="730348" cy="626694"/>
            </a:xfrm>
          </p:grpSpPr>
          <p:sp>
            <p:nvSpPr>
              <p:cNvPr id="28" name="Hexagon 27">
                <a:extLst>
                  <a:ext uri="{FF2B5EF4-FFF2-40B4-BE49-F238E27FC236}">
                    <a16:creationId xmlns:a16="http://schemas.microsoft.com/office/drawing/2014/main" id="{0DA27A6C-8180-4EF9-A987-A4FF66EEB6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316389" y="5005219"/>
                <a:ext cx="690046" cy="586392"/>
              </a:xfrm>
              <a:prstGeom prst="hexagon">
                <a:avLst>
                  <a:gd name="adj" fmla="val 28619"/>
                  <a:gd name="vf" fmla="val 115470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3014A0AB-0DEF-4F94-8453-CBE4AA82FB9E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710" t="6227" r="11710" b="17192"/>
              <a:stretch/>
            </p:blipFill>
            <p:spPr>
              <a:xfrm>
                <a:off x="9356691" y="5045521"/>
                <a:ext cx="690046" cy="586392"/>
              </a:xfrm>
              <a:prstGeom prst="hexagon">
                <a:avLst>
                  <a:gd name="adj" fmla="val 28490"/>
                  <a:gd name="vf" fmla="val 115470"/>
                </a:avLst>
              </a:prstGeom>
              <a:ln w="6350">
                <a:solidFill>
                  <a:schemeClr val="accent3"/>
                </a:solidFill>
              </a:ln>
            </p:spPr>
          </p:pic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61D3CEF-6226-4264-A386-0D3A3CC91539}"/>
                </a:ext>
              </a:extLst>
            </p:cNvPr>
            <p:cNvSpPr txBox="1">
              <a:spLocks/>
            </p:cNvSpPr>
            <p:nvPr/>
          </p:nvSpPr>
          <p:spPr>
            <a:xfrm>
              <a:off x="7781925" y="4504636"/>
              <a:ext cx="234798" cy="195059"/>
            </a:xfrm>
            <a:prstGeom prst="hexagon">
              <a:avLst/>
            </a:prstGeom>
            <a:solidFill>
              <a:schemeClr val="accent3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7</a:t>
              </a: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FC414C7C-0253-4696-919D-8B25D73786C4}"/>
              </a:ext>
            </a:extLst>
          </p:cNvPr>
          <p:cNvSpPr txBox="1">
            <a:spLocks/>
          </p:cNvSpPr>
          <p:nvPr/>
        </p:nvSpPr>
        <p:spPr>
          <a:xfrm>
            <a:off x="7186422" y="5559425"/>
            <a:ext cx="21973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dirty="0">
                <a:solidFill>
                  <a:schemeClr val="accent3"/>
                </a:solidFill>
              </a:rPr>
              <a:t>Existing feedstock uses</a:t>
            </a:r>
          </a:p>
        </p:txBody>
      </p:sp>
      <p:sp>
        <p:nvSpPr>
          <p:cNvPr id="60" name="Rectangle 59"/>
          <p:cNvSpPr>
            <a:spLocks/>
          </p:cNvSpPr>
          <p:nvPr/>
        </p:nvSpPr>
        <p:spPr>
          <a:xfrm>
            <a:off x="3741738" y="5283200"/>
            <a:ext cx="808567" cy="565026"/>
          </a:xfrm>
          <a:prstGeom prst="rect">
            <a:avLst/>
          </a:prstGeom>
          <a:pattFill prst="pct50">
            <a:fgClr>
              <a:schemeClr val="bg1"/>
            </a:fgClr>
            <a:bgClr>
              <a:schemeClr val="accent3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>
            <a:spLocks/>
          </p:cNvSpPr>
          <p:nvPr/>
        </p:nvSpPr>
        <p:spPr>
          <a:xfrm>
            <a:off x="2600325" y="5283200"/>
            <a:ext cx="812819" cy="565025"/>
          </a:xfrm>
          <a:prstGeom prst="rect">
            <a:avLst/>
          </a:prstGeom>
          <a:pattFill prst="pct50">
            <a:fgClr>
              <a:schemeClr val="bg1"/>
            </a:fgClr>
            <a:bgClr>
              <a:schemeClr val="accent3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>
          <a:xfrm>
            <a:off x="1463675" y="5353050"/>
            <a:ext cx="809311" cy="486000"/>
          </a:xfrm>
          <a:prstGeom prst="rect">
            <a:avLst/>
          </a:prstGeom>
          <a:pattFill prst="pct50">
            <a:fgClr>
              <a:schemeClr val="bg1"/>
            </a:fgClr>
            <a:bgClr>
              <a:schemeClr val="accent3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>
            <a:spLocks/>
          </p:cNvSpPr>
          <p:nvPr/>
        </p:nvSpPr>
        <p:spPr>
          <a:xfrm>
            <a:off x="320675" y="5397500"/>
            <a:ext cx="816009" cy="450166"/>
          </a:xfrm>
          <a:prstGeom prst="rect">
            <a:avLst/>
          </a:prstGeom>
          <a:pattFill prst="pct50">
            <a:fgClr>
              <a:schemeClr val="bg1"/>
            </a:fgClr>
            <a:bgClr>
              <a:schemeClr val="accent3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>
            <a:spLocks/>
          </p:cNvSpPr>
          <p:nvPr/>
        </p:nvSpPr>
        <p:spPr>
          <a:xfrm>
            <a:off x="4872038" y="5294313"/>
            <a:ext cx="812819" cy="553046"/>
          </a:xfrm>
          <a:prstGeom prst="rect">
            <a:avLst/>
          </a:prstGeom>
          <a:pattFill prst="pct50">
            <a:fgClr>
              <a:schemeClr val="bg1"/>
            </a:fgClr>
            <a:bgClr>
              <a:schemeClr val="accent3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075238" y="5489575"/>
            <a:ext cx="406400" cy="215444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de-DE" sz="1400" dirty="0"/>
              <a:t>10</a:t>
            </a:r>
          </a:p>
        </p:txBody>
      </p:sp>
      <p:sp>
        <p:nvSpPr>
          <p:cNvPr id="58" name="Title 1"/>
          <p:cNvSpPr txBox="1">
            <a:spLocks/>
          </p:cNvSpPr>
          <p:nvPr/>
        </p:nvSpPr>
        <p:spPr bwMode="gray">
          <a:xfrm>
            <a:off x="158760" y="230189"/>
            <a:ext cx="1168246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000" b="0" baseline="0">
                <a:solidFill>
                  <a:srgbClr val="185271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Hydrogen could provide ~18% of energy demand in a 2-degree world</a:t>
            </a:r>
            <a:endParaRPr lang="en-US" kern="0" dirty="0"/>
          </a:p>
        </p:txBody>
      </p:sp>
      <p:sp>
        <p:nvSpPr>
          <p:cNvPr id="65" name="3. Unit of measure"/>
          <p:cNvSpPr txBox="1">
            <a:spLocks noChangeArrowheads="1"/>
          </p:cNvSpPr>
          <p:nvPr/>
        </p:nvSpPr>
        <p:spPr bwMode="gray">
          <a:xfrm>
            <a:off x="158759" y="754841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Potential global energy demand supplied with hydrogen, Exajoule (EJ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DD51863-B0E3-45A4-8BB7-25B8E42D60C5}"/>
              </a:ext>
            </a:extLst>
          </p:cNvPr>
          <p:cNvSpPr txBox="1">
            <a:spLocks/>
          </p:cNvSpPr>
          <p:nvPr/>
        </p:nvSpPr>
        <p:spPr>
          <a:xfrm>
            <a:off x="9438694" y="2843949"/>
            <a:ext cx="2153476" cy="1807703"/>
          </a:xfrm>
          <a:prstGeom prst="hexagon">
            <a:avLst/>
          </a:prstGeom>
          <a:solidFill>
            <a:schemeClr val="accent6">
              <a:lumMod val="20000"/>
              <a:lumOff val="80000"/>
              <a:alpha val="85000"/>
            </a:schemeClr>
          </a:solidFill>
          <a:ln w="25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A7ADF64-15BD-4357-A696-B172C8CBB5ED}"/>
              </a:ext>
            </a:extLst>
          </p:cNvPr>
          <p:cNvSpPr txBox="1"/>
          <p:nvPr/>
        </p:nvSpPr>
        <p:spPr>
          <a:xfrm>
            <a:off x="9946978" y="3363928"/>
            <a:ext cx="1186597" cy="5129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lnSpc>
                <a:spcPts val="4000"/>
              </a:lnSpc>
            </a:pPr>
            <a:r>
              <a:rPr lang="en-US" sz="4400" dirty="0">
                <a:solidFill>
                  <a:schemeClr val="accent3"/>
                </a:solidFill>
              </a:rPr>
              <a:t>18%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2BDF15-9710-4A1D-B745-9FC802752AE4}"/>
              </a:ext>
            </a:extLst>
          </p:cNvPr>
          <p:cNvSpPr txBox="1"/>
          <p:nvPr/>
        </p:nvSpPr>
        <p:spPr>
          <a:xfrm>
            <a:off x="9790696" y="3826226"/>
            <a:ext cx="143359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400" dirty="0"/>
              <a:t>of final energy demand</a:t>
            </a:r>
          </a:p>
        </p:txBody>
      </p:sp>
    </p:spTree>
    <p:extLst>
      <p:ext uri="{BB962C8B-B14F-4D97-AF65-F5344CB8AC3E}">
        <p14:creationId xmlns:p14="http://schemas.microsoft.com/office/powerpoint/2010/main" val="2040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Rectangle 443">
            <a:extLst>
              <a:ext uri="{FF2B5EF4-FFF2-40B4-BE49-F238E27FC236}">
                <a16:creationId xmlns:a16="http://schemas.microsoft.com/office/drawing/2014/main" id="{46EDE67D-6A98-4620-8300-69339D743FFF}"/>
              </a:ext>
            </a:extLst>
          </p:cNvPr>
          <p:cNvSpPr/>
          <p:nvPr/>
        </p:nvSpPr>
        <p:spPr>
          <a:xfrm>
            <a:off x="1966237" y="1303436"/>
            <a:ext cx="9453963" cy="4565806"/>
          </a:xfrm>
          <a:prstGeom prst="rect">
            <a:avLst/>
          </a:prstGeom>
          <a:solidFill>
            <a:srgbClr val="F3F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cxnSp>
        <p:nvCxnSpPr>
          <p:cNvPr id="413" name="Straight Connector 412">
            <a:extLst>
              <a:ext uri="{FF2B5EF4-FFF2-40B4-BE49-F238E27FC236}">
                <a16:creationId xmlns:a16="http://schemas.microsoft.com/office/drawing/2014/main" id="{305902AC-60D9-4D7B-BF69-6F621053389C}"/>
              </a:ext>
            </a:extLst>
          </p:cNvPr>
          <p:cNvCxnSpPr>
            <a:cxnSpLocks/>
          </p:cNvCxnSpPr>
          <p:nvPr/>
        </p:nvCxnSpPr>
        <p:spPr>
          <a:xfrm flipV="1">
            <a:off x="8729850" y="1332122"/>
            <a:ext cx="0" cy="449282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874C5CF8-D1B5-4978-BA6D-CC0F0FB6A26D}"/>
              </a:ext>
            </a:extLst>
          </p:cNvPr>
          <p:cNvCxnSpPr>
            <a:cxnSpLocks/>
          </p:cNvCxnSpPr>
          <p:nvPr/>
        </p:nvCxnSpPr>
        <p:spPr>
          <a:xfrm flipV="1">
            <a:off x="1963914" y="1332122"/>
            <a:ext cx="0" cy="4492829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DEF899DD-F184-4133-BA7D-FA14C6F2C8D0}"/>
              </a:ext>
            </a:extLst>
          </p:cNvPr>
          <p:cNvCxnSpPr>
            <a:cxnSpLocks/>
          </p:cNvCxnSpPr>
          <p:nvPr/>
        </p:nvCxnSpPr>
        <p:spPr>
          <a:xfrm flipV="1">
            <a:off x="11428596" y="1332122"/>
            <a:ext cx="0" cy="4492829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BB15B705-8C29-493C-A8E0-D4B2C09F693B}"/>
              </a:ext>
            </a:extLst>
          </p:cNvPr>
          <p:cNvCxnSpPr>
            <a:cxnSpLocks/>
          </p:cNvCxnSpPr>
          <p:nvPr/>
        </p:nvCxnSpPr>
        <p:spPr>
          <a:xfrm flipV="1">
            <a:off x="10081340" y="1332122"/>
            <a:ext cx="0" cy="449282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0F0DBBB9-2990-43BC-8770-D9D8041B9667}"/>
              </a:ext>
            </a:extLst>
          </p:cNvPr>
          <p:cNvCxnSpPr>
            <a:cxnSpLocks/>
          </p:cNvCxnSpPr>
          <p:nvPr/>
        </p:nvCxnSpPr>
        <p:spPr>
          <a:xfrm flipV="1">
            <a:off x="3345055" y="1332122"/>
            <a:ext cx="0" cy="449282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04177606-D78B-4D06-BCEB-7A4A16E63B62}"/>
              </a:ext>
            </a:extLst>
          </p:cNvPr>
          <p:cNvCxnSpPr>
            <a:cxnSpLocks/>
          </p:cNvCxnSpPr>
          <p:nvPr/>
        </p:nvCxnSpPr>
        <p:spPr>
          <a:xfrm flipV="1">
            <a:off x="7379244" y="1332122"/>
            <a:ext cx="0" cy="449282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269C264B-6979-439C-A4F4-CB0ECA986515}"/>
              </a:ext>
            </a:extLst>
          </p:cNvPr>
          <p:cNvCxnSpPr>
            <a:cxnSpLocks/>
          </p:cNvCxnSpPr>
          <p:nvPr/>
        </p:nvCxnSpPr>
        <p:spPr>
          <a:xfrm flipV="1">
            <a:off x="6039569" y="1332122"/>
            <a:ext cx="0" cy="449282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55C47334-2B08-4A94-BA3C-D17BB26AC157}"/>
              </a:ext>
            </a:extLst>
          </p:cNvPr>
          <p:cNvCxnSpPr>
            <a:cxnSpLocks/>
          </p:cNvCxnSpPr>
          <p:nvPr/>
        </p:nvCxnSpPr>
        <p:spPr>
          <a:xfrm flipV="1">
            <a:off x="4684730" y="1332122"/>
            <a:ext cx="0" cy="4492829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/>
          <p:cNvCxnSpPr>
            <a:cxnSpLocks/>
          </p:cNvCxnSpPr>
          <p:nvPr/>
        </p:nvCxnSpPr>
        <p:spPr>
          <a:xfrm>
            <a:off x="157164" y="4598662"/>
            <a:ext cx="11271432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86EEF4B1-1A9B-4EB9-BD40-E41319E2189C}"/>
              </a:ext>
            </a:extLst>
          </p:cNvPr>
          <p:cNvCxnSpPr>
            <a:cxnSpLocks/>
          </p:cNvCxnSpPr>
          <p:nvPr/>
        </p:nvCxnSpPr>
        <p:spPr>
          <a:xfrm>
            <a:off x="157164" y="4091962"/>
            <a:ext cx="11271432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/>
          <p:cNvCxnSpPr>
            <a:cxnSpLocks/>
          </p:cNvCxnSpPr>
          <p:nvPr/>
        </p:nvCxnSpPr>
        <p:spPr>
          <a:xfrm>
            <a:off x="157164" y="5103595"/>
            <a:ext cx="11271432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/>
          <p:cNvCxnSpPr>
            <a:cxnSpLocks/>
          </p:cNvCxnSpPr>
          <p:nvPr/>
        </p:nvCxnSpPr>
        <p:spPr>
          <a:xfrm>
            <a:off x="157164" y="1817386"/>
            <a:ext cx="11271432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701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8759" y="230190"/>
            <a:ext cx="1149189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 technologies exist and are ready to be deployed</a:t>
            </a:r>
            <a:endParaRPr lang="de-DE" dirty="0"/>
          </a:p>
        </p:txBody>
      </p:sp>
      <p:sp>
        <p:nvSpPr>
          <p:cNvPr id="164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Hydrogen Council</a:t>
            </a:r>
          </a:p>
        </p:txBody>
      </p:sp>
      <p:sp>
        <p:nvSpPr>
          <p:cNvPr id="136" name="TextBox 135"/>
          <p:cNvSpPr txBox="1">
            <a:spLocks/>
          </p:cNvSpPr>
          <p:nvPr/>
        </p:nvSpPr>
        <p:spPr>
          <a:xfrm>
            <a:off x="771243" y="1933039"/>
            <a:ext cx="987707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>
                <a:solidFill>
                  <a:schemeClr val="tx2"/>
                </a:solidFill>
              </a:rPr>
              <a:t>Trans-</a:t>
            </a:r>
            <a:br>
              <a:rPr lang="en-US" b="1">
                <a:solidFill>
                  <a:schemeClr val="tx2"/>
                </a:solidFill>
              </a:rPr>
            </a:br>
            <a:r>
              <a:rPr lang="en-US" b="1" dirty="0" err="1">
                <a:solidFill>
                  <a:schemeClr val="tx2"/>
                </a:solidFill>
              </a:rPr>
              <a:t>portation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31" name="TextBox 230"/>
          <p:cNvSpPr txBox="1">
            <a:spLocks/>
          </p:cNvSpPr>
          <p:nvPr/>
        </p:nvSpPr>
        <p:spPr>
          <a:xfrm>
            <a:off x="771243" y="1344391"/>
            <a:ext cx="987707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2"/>
                </a:solidFill>
              </a:rPr>
              <a:t>Power generation</a:t>
            </a:r>
          </a:p>
        </p:txBody>
      </p:sp>
      <p:sp>
        <p:nvSpPr>
          <p:cNvPr id="171" name="TextBox 170"/>
          <p:cNvSpPr txBox="1">
            <a:spLocks/>
          </p:cNvSpPr>
          <p:nvPr/>
        </p:nvSpPr>
        <p:spPr>
          <a:xfrm>
            <a:off x="771243" y="4114424"/>
            <a:ext cx="987707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Industrial energy</a:t>
            </a: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771243" y="4643995"/>
            <a:ext cx="1598053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spc="-30" dirty="0">
                <a:solidFill>
                  <a:srgbClr val="EE9D44"/>
                </a:solidFill>
              </a:rPr>
              <a:t>Building heat</a:t>
            </a:r>
            <a:br>
              <a:rPr lang="en-US" b="1" spc="-30" dirty="0">
                <a:solidFill>
                  <a:srgbClr val="EE9D44"/>
                </a:solidFill>
              </a:rPr>
            </a:br>
            <a:r>
              <a:rPr lang="en-US" b="1" spc="-30" dirty="0">
                <a:solidFill>
                  <a:srgbClr val="EE9D44"/>
                </a:solidFill>
              </a:rPr>
              <a:t>and power</a:t>
            </a:r>
          </a:p>
        </p:txBody>
      </p:sp>
      <p:sp>
        <p:nvSpPr>
          <p:cNvPr id="165" name="TextBox 164"/>
          <p:cNvSpPr txBox="1">
            <a:spLocks/>
          </p:cNvSpPr>
          <p:nvPr/>
        </p:nvSpPr>
        <p:spPr>
          <a:xfrm>
            <a:off x="771243" y="5132355"/>
            <a:ext cx="987707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Industry feedstock</a:t>
            </a:r>
          </a:p>
        </p:txBody>
      </p: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292F4BDC-346F-4C2B-8F22-BFBA601CA47F}"/>
              </a:ext>
            </a:extLst>
          </p:cNvPr>
          <p:cNvCxnSpPr>
            <a:cxnSpLocks/>
          </p:cNvCxnSpPr>
          <p:nvPr/>
        </p:nvCxnSpPr>
        <p:spPr>
          <a:xfrm>
            <a:off x="157164" y="1287042"/>
            <a:ext cx="11271432" cy="0"/>
          </a:xfrm>
          <a:prstGeom prst="line">
            <a:avLst/>
          </a:prstGeom>
          <a:ln w="635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219A529C-077F-434B-8341-F5A16F8020EF}"/>
              </a:ext>
            </a:extLst>
          </p:cNvPr>
          <p:cNvCxnSpPr>
            <a:cxnSpLocks/>
          </p:cNvCxnSpPr>
          <p:nvPr/>
        </p:nvCxnSpPr>
        <p:spPr>
          <a:xfrm>
            <a:off x="1997798" y="5869242"/>
            <a:ext cx="9422402" cy="0"/>
          </a:xfrm>
          <a:prstGeom prst="line">
            <a:avLst/>
          </a:prstGeom>
          <a:ln w="6350"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FB61FBE5-6101-405E-A208-581ED59C4E61}"/>
              </a:ext>
            </a:extLst>
          </p:cNvPr>
          <p:cNvSpPr txBox="1"/>
          <p:nvPr/>
        </p:nvSpPr>
        <p:spPr>
          <a:xfrm>
            <a:off x="1758950" y="5950597"/>
            <a:ext cx="4609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200" b="1" dirty="0"/>
              <a:t>Today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55F9A42-98E3-4C9E-959E-91E5DD7944C7}"/>
              </a:ext>
            </a:extLst>
          </p:cNvPr>
          <p:cNvCxnSpPr/>
          <p:nvPr/>
        </p:nvCxnSpPr>
        <p:spPr>
          <a:xfrm flipV="1">
            <a:off x="1997798" y="5824952"/>
            <a:ext cx="0" cy="49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TextBox 325">
            <a:extLst>
              <a:ext uri="{FF2B5EF4-FFF2-40B4-BE49-F238E27FC236}">
                <a16:creationId xmlns:a16="http://schemas.microsoft.com/office/drawing/2014/main" id="{3A7B7CE9-7B20-4427-ADA2-0151320418A9}"/>
              </a:ext>
            </a:extLst>
          </p:cNvPr>
          <p:cNvSpPr txBox="1"/>
          <p:nvPr/>
        </p:nvSpPr>
        <p:spPr>
          <a:xfrm>
            <a:off x="3106207" y="5950597"/>
            <a:ext cx="4609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200" b="1" dirty="0"/>
              <a:t>2020</a:t>
            </a:r>
          </a:p>
        </p:txBody>
      </p: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5859B3B7-34D7-44EC-985D-BBECC0F49431}"/>
              </a:ext>
            </a:extLst>
          </p:cNvPr>
          <p:cNvCxnSpPr/>
          <p:nvPr/>
        </p:nvCxnSpPr>
        <p:spPr>
          <a:xfrm flipV="1">
            <a:off x="3345055" y="5824952"/>
            <a:ext cx="0" cy="49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TextBox 329">
            <a:extLst>
              <a:ext uri="{FF2B5EF4-FFF2-40B4-BE49-F238E27FC236}">
                <a16:creationId xmlns:a16="http://schemas.microsoft.com/office/drawing/2014/main" id="{A3ABE4BF-D9D5-4F21-B470-0FF9D1C7A058}"/>
              </a:ext>
            </a:extLst>
          </p:cNvPr>
          <p:cNvSpPr txBox="1"/>
          <p:nvPr/>
        </p:nvSpPr>
        <p:spPr>
          <a:xfrm>
            <a:off x="4453464" y="5950597"/>
            <a:ext cx="4609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200" b="1" dirty="0"/>
              <a:t>25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1A8E7F23-0114-4F98-866D-F4467B8A40F9}"/>
              </a:ext>
            </a:extLst>
          </p:cNvPr>
          <p:cNvSpPr txBox="1"/>
          <p:nvPr/>
        </p:nvSpPr>
        <p:spPr>
          <a:xfrm>
            <a:off x="5800721" y="5950597"/>
            <a:ext cx="4609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200" b="1" dirty="0"/>
              <a:t>30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EBEBE323-0C69-458F-AC72-6DD4C154F8D8}"/>
              </a:ext>
            </a:extLst>
          </p:cNvPr>
          <p:cNvSpPr txBox="1"/>
          <p:nvPr/>
        </p:nvSpPr>
        <p:spPr>
          <a:xfrm>
            <a:off x="7147978" y="5950597"/>
            <a:ext cx="4609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200" b="1" dirty="0"/>
              <a:t>35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2706868D-EEC7-418E-9AEC-DC8A49AA7343}"/>
              </a:ext>
            </a:extLst>
          </p:cNvPr>
          <p:cNvSpPr txBox="1"/>
          <p:nvPr/>
        </p:nvSpPr>
        <p:spPr>
          <a:xfrm>
            <a:off x="8495235" y="5950597"/>
            <a:ext cx="4609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200" b="1" dirty="0"/>
              <a:t>40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3EDF03FF-5491-4810-BE94-ECE9D47F4B7C}"/>
              </a:ext>
            </a:extLst>
          </p:cNvPr>
          <p:cNvSpPr txBox="1"/>
          <p:nvPr/>
        </p:nvSpPr>
        <p:spPr>
          <a:xfrm>
            <a:off x="9842492" y="5950597"/>
            <a:ext cx="46090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de-DE" sz="1200" b="1" dirty="0"/>
              <a:t>2045</a:t>
            </a:r>
          </a:p>
        </p:txBody>
      </p: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4B81E2FD-3EFA-408B-9D33-1188F54CD568}"/>
              </a:ext>
            </a:extLst>
          </p:cNvPr>
          <p:cNvCxnSpPr>
            <a:cxnSpLocks/>
          </p:cNvCxnSpPr>
          <p:nvPr/>
        </p:nvCxnSpPr>
        <p:spPr>
          <a:xfrm flipV="1">
            <a:off x="10081340" y="5824952"/>
            <a:ext cx="0" cy="49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4. Footnote">
            <a:extLst>
              <a:ext uri="{FF2B5EF4-FFF2-40B4-BE49-F238E27FC236}">
                <a16:creationId xmlns:a16="http://schemas.microsoft.com/office/drawing/2014/main" id="{17E8C100-3CAB-4B3B-9E52-AE09B32EB72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8758" y="6183549"/>
            <a:ext cx="113987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tabLst>
                <a:tab pos="5651500" algn="l"/>
              </a:tabLst>
            </a:pPr>
            <a:r>
              <a:rPr lang="en-US" dirty="0"/>
              <a:t>1 Mass market acceptability defined as sales &gt;1% within segment in priority markets	2 Market share refers to the amount of production that uses hydrogen and captured carbon to replace feedstock</a:t>
            </a:r>
          </a:p>
          <a:p>
            <a:pPr>
              <a:tabLst>
                <a:tab pos="5651500" algn="l"/>
              </a:tabLst>
            </a:pPr>
            <a:r>
              <a:rPr lang="en-US" dirty="0"/>
              <a:t>3 </a:t>
            </a:r>
            <a:r>
              <a:rPr lang="en-US" dirty="0" err="1"/>
              <a:t>DRI</a:t>
            </a:r>
            <a:r>
              <a:rPr lang="en-US" dirty="0"/>
              <a:t> with green H</a:t>
            </a:r>
            <a:r>
              <a:rPr lang="en-US" baseline="-25000" dirty="0"/>
              <a:t>2</a:t>
            </a:r>
            <a:r>
              <a:rPr lang="en-US" dirty="0"/>
              <a:t>, iron reduction in blast furnaces and other low-carbon steel making processes using H2	4 Market share refers to the amount of feedstock that is produced from low-carbon sources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FA3D5318-4B69-4B57-A716-92ABC875EC3D}"/>
              </a:ext>
            </a:extLst>
          </p:cNvPr>
          <p:cNvSpPr txBox="1"/>
          <p:nvPr/>
        </p:nvSpPr>
        <p:spPr>
          <a:xfrm>
            <a:off x="8823403" y="803297"/>
            <a:ext cx="1109472" cy="307777"/>
          </a:xfrm>
          <a:prstGeom prst="rect">
            <a:avLst/>
          </a:prstGeom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en-US" sz="1000" dirty="0"/>
              <a:t>Start of commercialization</a:t>
            </a:r>
          </a:p>
        </p:txBody>
      </p: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84DA3F4B-827F-48EF-93FA-EE8FCBB022AF}"/>
              </a:ext>
            </a:extLst>
          </p:cNvPr>
          <p:cNvGrpSpPr/>
          <p:nvPr/>
        </p:nvGrpSpPr>
        <p:grpSpPr>
          <a:xfrm>
            <a:off x="9937408" y="936984"/>
            <a:ext cx="790465" cy="140655"/>
            <a:chOff x="10049169" y="968542"/>
            <a:chExt cx="790465" cy="118294"/>
          </a:xfrm>
        </p:grpSpPr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C17B0639-FC81-4DED-95D1-43B5B6B513C0}"/>
                </a:ext>
              </a:extLst>
            </p:cNvPr>
            <p:cNvCxnSpPr/>
            <p:nvPr/>
          </p:nvCxnSpPr>
          <p:spPr>
            <a:xfrm>
              <a:off x="10049169" y="968542"/>
              <a:ext cx="0" cy="118294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C8CD2D6A-BE75-4994-84E7-0685DF3CB13A}"/>
                </a:ext>
              </a:extLst>
            </p:cNvPr>
            <p:cNvCxnSpPr/>
            <p:nvPr/>
          </p:nvCxnSpPr>
          <p:spPr>
            <a:xfrm>
              <a:off x="10839634" y="968542"/>
              <a:ext cx="0" cy="118294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0CDF6CAB-2E5C-4D9B-B7FF-271F78297342}"/>
              </a:ext>
            </a:extLst>
          </p:cNvPr>
          <p:cNvCxnSpPr/>
          <p:nvPr/>
        </p:nvCxnSpPr>
        <p:spPr>
          <a:xfrm flipH="1">
            <a:off x="9951163" y="1126925"/>
            <a:ext cx="754649" cy="0"/>
          </a:xfrm>
          <a:prstGeom prst="line">
            <a:avLst/>
          </a:prstGeom>
          <a:ln w="1238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TextBox 209">
            <a:extLst>
              <a:ext uri="{FF2B5EF4-FFF2-40B4-BE49-F238E27FC236}">
                <a16:creationId xmlns:a16="http://schemas.microsoft.com/office/drawing/2014/main" id="{71A2C116-9CD3-44E7-8244-FCE353595257}"/>
              </a:ext>
            </a:extLst>
          </p:cNvPr>
          <p:cNvSpPr txBox="1"/>
          <p:nvPr/>
        </p:nvSpPr>
        <p:spPr>
          <a:xfrm>
            <a:off x="10801822" y="803297"/>
            <a:ext cx="1046323" cy="307777"/>
          </a:xfrm>
          <a:prstGeom prst="rect">
            <a:avLst/>
          </a:prstGeom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000" dirty="0"/>
              <a:t>Mass market acceptability</a:t>
            </a:r>
            <a:r>
              <a:rPr lang="en-US" sz="1000" baseline="30000" dirty="0"/>
              <a:t>1</a:t>
            </a:r>
            <a:r>
              <a:rPr lang="en-US" sz="1000" dirty="0"/>
              <a:t> </a:t>
            </a:r>
          </a:p>
        </p:txBody>
      </p:sp>
      <p:sp>
        <p:nvSpPr>
          <p:cNvPr id="214" name="Isosceles Triangle 213">
            <a:extLst>
              <a:ext uri="{FF2B5EF4-FFF2-40B4-BE49-F238E27FC236}">
                <a16:creationId xmlns:a16="http://schemas.microsoft.com/office/drawing/2014/main" id="{2BEFD572-BBA8-4DDE-BBE7-1AC6EABD7BC2}"/>
              </a:ext>
            </a:extLst>
          </p:cNvPr>
          <p:cNvSpPr/>
          <p:nvPr/>
        </p:nvSpPr>
        <p:spPr>
          <a:xfrm>
            <a:off x="10646289" y="1028492"/>
            <a:ext cx="163168" cy="160290"/>
          </a:xfrm>
          <a:prstGeom prst="triangl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9071085E-4BCE-48B7-8924-26AD9EE48F00}"/>
              </a:ext>
            </a:extLst>
          </p:cNvPr>
          <p:cNvSpPr txBox="1"/>
          <p:nvPr/>
        </p:nvSpPr>
        <p:spPr>
          <a:xfrm>
            <a:off x="8545948" y="1363756"/>
            <a:ext cx="3383924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In renewables-constrained countries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3F4E892D-8C0F-4DE2-BFBC-BEB95803CCFE}"/>
              </a:ext>
            </a:extLst>
          </p:cNvPr>
          <p:cNvSpPr txBox="1"/>
          <p:nvPr/>
        </p:nvSpPr>
        <p:spPr>
          <a:xfrm>
            <a:off x="9833168" y="1583933"/>
            <a:ext cx="1186222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In other countries</a:t>
            </a:r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A13140F6-88AF-4E7B-AFBC-A724FCFDC7A9}"/>
              </a:ext>
            </a:extLst>
          </p:cNvPr>
          <p:cNvCxnSpPr>
            <a:cxnSpLocks/>
          </p:cNvCxnSpPr>
          <p:nvPr/>
        </p:nvCxnSpPr>
        <p:spPr>
          <a:xfrm flipV="1">
            <a:off x="4692312" y="5824952"/>
            <a:ext cx="0" cy="49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D8A4DEE7-327D-4735-87E3-E931CFB41DA6}"/>
              </a:ext>
            </a:extLst>
          </p:cNvPr>
          <p:cNvCxnSpPr>
            <a:cxnSpLocks/>
          </p:cNvCxnSpPr>
          <p:nvPr/>
        </p:nvCxnSpPr>
        <p:spPr>
          <a:xfrm flipV="1">
            <a:off x="6039569" y="5824952"/>
            <a:ext cx="0" cy="49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242C4FB0-59B5-4A32-AE71-9AF2CAA0DD10}"/>
              </a:ext>
            </a:extLst>
          </p:cNvPr>
          <p:cNvCxnSpPr>
            <a:cxnSpLocks/>
          </p:cNvCxnSpPr>
          <p:nvPr/>
        </p:nvCxnSpPr>
        <p:spPr>
          <a:xfrm flipV="1">
            <a:off x="7386825" y="5824952"/>
            <a:ext cx="0" cy="49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9E0672-4C14-4B35-8439-7075BAF33183}"/>
              </a:ext>
            </a:extLst>
          </p:cNvPr>
          <p:cNvGrpSpPr/>
          <p:nvPr/>
        </p:nvGrpSpPr>
        <p:grpSpPr>
          <a:xfrm>
            <a:off x="4684730" y="1610661"/>
            <a:ext cx="4964095" cy="121799"/>
            <a:chOff x="4684730" y="1839114"/>
            <a:chExt cx="4964095" cy="121799"/>
          </a:xfrm>
        </p:grpSpPr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40307D4B-C163-459D-A296-8434D299BB1E}"/>
                </a:ext>
              </a:extLst>
            </p:cNvPr>
            <p:cNvSpPr/>
            <p:nvPr/>
          </p:nvSpPr>
          <p:spPr>
            <a:xfrm>
              <a:off x="4684730" y="1839114"/>
              <a:ext cx="4897420" cy="11950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1" name="Isosceles Triangle 220">
              <a:extLst>
                <a:ext uri="{FF2B5EF4-FFF2-40B4-BE49-F238E27FC236}">
                  <a16:creationId xmlns:a16="http://schemas.microsoft.com/office/drawing/2014/main" id="{8112E0EA-A804-4046-9E08-894B13260A6A}"/>
                </a:ext>
              </a:extLst>
            </p:cNvPr>
            <p:cNvSpPr/>
            <p:nvPr/>
          </p:nvSpPr>
          <p:spPr>
            <a:xfrm>
              <a:off x="9511879" y="1841411"/>
              <a:ext cx="136946" cy="119502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14107A8-BAD3-4827-A9ED-390E853F9279}"/>
              </a:ext>
            </a:extLst>
          </p:cNvPr>
          <p:cNvGrpSpPr/>
          <p:nvPr/>
        </p:nvGrpSpPr>
        <p:grpSpPr>
          <a:xfrm>
            <a:off x="4684730" y="1394236"/>
            <a:ext cx="3811238" cy="119502"/>
            <a:chOff x="4684730" y="1592209"/>
            <a:chExt cx="3811238" cy="11950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22A0E6A-EF30-41E4-9838-CE1CCB2264A3}"/>
                </a:ext>
              </a:extLst>
            </p:cNvPr>
            <p:cNvSpPr/>
            <p:nvPr/>
          </p:nvSpPr>
          <p:spPr>
            <a:xfrm>
              <a:off x="4684730" y="1592209"/>
              <a:ext cx="3737751" cy="11950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2" name="Isosceles Triangle 221">
              <a:extLst>
                <a:ext uri="{FF2B5EF4-FFF2-40B4-BE49-F238E27FC236}">
                  <a16:creationId xmlns:a16="http://schemas.microsoft.com/office/drawing/2014/main" id="{2A090FC1-BBDE-4140-A97E-981976EAA1B7}"/>
                </a:ext>
              </a:extLst>
            </p:cNvPr>
            <p:cNvSpPr/>
            <p:nvPr/>
          </p:nvSpPr>
          <p:spPr>
            <a:xfrm>
              <a:off x="8359022" y="1592209"/>
              <a:ext cx="136946" cy="119502"/>
            </a:xfrm>
            <a:prstGeom prst="triangl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4D36109-610A-4ABD-822D-A1BF5C2ACB52}"/>
              </a:ext>
            </a:extLst>
          </p:cNvPr>
          <p:cNvGrpSpPr/>
          <p:nvPr/>
        </p:nvGrpSpPr>
        <p:grpSpPr>
          <a:xfrm>
            <a:off x="1963915" y="2087248"/>
            <a:ext cx="2079973" cy="119502"/>
            <a:chOff x="4684731" y="2376661"/>
            <a:chExt cx="2079973" cy="119502"/>
          </a:xfrm>
        </p:grpSpPr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CD75848D-9924-4564-B4E4-8D34199CCFA1}"/>
                </a:ext>
              </a:extLst>
            </p:cNvPr>
            <p:cNvSpPr/>
            <p:nvPr/>
          </p:nvSpPr>
          <p:spPr>
            <a:xfrm>
              <a:off x="4684731" y="2376661"/>
              <a:ext cx="2005630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29" name="Isosceles Triangle 228">
              <a:extLst>
                <a:ext uri="{FF2B5EF4-FFF2-40B4-BE49-F238E27FC236}">
                  <a16:creationId xmlns:a16="http://schemas.microsoft.com/office/drawing/2014/main" id="{0AA92562-803D-4E7E-AE52-2FBDA4A32CAC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A3E125E1-67D3-4928-9521-162FC5E31AD9}"/>
              </a:ext>
            </a:extLst>
          </p:cNvPr>
          <p:cNvCxnSpPr>
            <a:cxnSpLocks/>
          </p:cNvCxnSpPr>
          <p:nvPr/>
        </p:nvCxnSpPr>
        <p:spPr>
          <a:xfrm flipV="1">
            <a:off x="8729850" y="5824952"/>
            <a:ext cx="0" cy="49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Isosceles Triangle 259">
            <a:extLst>
              <a:ext uri="{FF2B5EF4-FFF2-40B4-BE49-F238E27FC236}">
                <a16:creationId xmlns:a16="http://schemas.microsoft.com/office/drawing/2014/main" id="{01F3DBF0-5689-4F79-AE6B-D5BF829B526C}"/>
              </a:ext>
            </a:extLst>
          </p:cNvPr>
          <p:cNvSpPr/>
          <p:nvPr/>
        </p:nvSpPr>
        <p:spPr>
          <a:xfrm>
            <a:off x="1895441" y="1886080"/>
            <a:ext cx="136946" cy="119502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3CECA89E-F787-4DB9-8FF3-F7DFDFBA8A25}"/>
              </a:ext>
            </a:extLst>
          </p:cNvPr>
          <p:cNvGrpSpPr/>
          <p:nvPr/>
        </p:nvGrpSpPr>
        <p:grpSpPr>
          <a:xfrm>
            <a:off x="1413302" y="1817386"/>
            <a:ext cx="414531" cy="231531"/>
            <a:chOff x="-5148263" y="1858963"/>
            <a:chExt cx="1257300" cy="873125"/>
          </a:xfrm>
          <a:solidFill>
            <a:schemeClr val="accent4"/>
          </a:solidFill>
        </p:grpSpPr>
        <p:sp>
          <p:nvSpPr>
            <p:cNvPr id="274" name="Freeform 14">
              <a:extLst>
                <a:ext uri="{FF2B5EF4-FFF2-40B4-BE49-F238E27FC236}">
                  <a16:creationId xmlns:a16="http://schemas.microsoft.com/office/drawing/2014/main" id="{8EB7B8FC-CBC9-47C2-BD20-6121990F0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648201" y="2576513"/>
              <a:ext cx="155575" cy="155575"/>
            </a:xfrm>
            <a:custGeom>
              <a:avLst/>
              <a:gdLst>
                <a:gd name="T0" fmla="*/ 246 w 493"/>
                <a:gd name="T1" fmla="*/ 0 h 492"/>
                <a:gd name="T2" fmla="*/ 287 w 493"/>
                <a:gd name="T3" fmla="*/ 2 h 492"/>
                <a:gd name="T4" fmla="*/ 324 w 493"/>
                <a:gd name="T5" fmla="*/ 12 h 492"/>
                <a:gd name="T6" fmla="*/ 360 w 493"/>
                <a:gd name="T7" fmla="*/ 26 h 492"/>
                <a:gd name="T8" fmla="*/ 393 w 493"/>
                <a:gd name="T9" fmla="*/ 46 h 492"/>
                <a:gd name="T10" fmla="*/ 421 w 493"/>
                <a:gd name="T11" fmla="*/ 72 h 492"/>
                <a:gd name="T12" fmla="*/ 445 w 493"/>
                <a:gd name="T13" fmla="*/ 100 h 492"/>
                <a:gd name="T14" fmla="*/ 466 w 493"/>
                <a:gd name="T15" fmla="*/ 133 h 492"/>
                <a:gd name="T16" fmla="*/ 480 w 493"/>
                <a:gd name="T17" fmla="*/ 167 h 492"/>
                <a:gd name="T18" fmla="*/ 490 w 493"/>
                <a:gd name="T19" fmla="*/ 206 h 492"/>
                <a:gd name="T20" fmla="*/ 493 w 493"/>
                <a:gd name="T21" fmla="*/ 245 h 492"/>
                <a:gd name="T22" fmla="*/ 490 w 493"/>
                <a:gd name="T23" fmla="*/ 286 h 492"/>
                <a:gd name="T24" fmla="*/ 480 w 493"/>
                <a:gd name="T25" fmla="*/ 323 h 492"/>
                <a:gd name="T26" fmla="*/ 466 w 493"/>
                <a:gd name="T27" fmla="*/ 359 h 492"/>
                <a:gd name="T28" fmla="*/ 445 w 493"/>
                <a:gd name="T29" fmla="*/ 392 h 492"/>
                <a:gd name="T30" fmla="*/ 421 w 493"/>
                <a:gd name="T31" fmla="*/ 420 h 492"/>
                <a:gd name="T32" fmla="*/ 393 w 493"/>
                <a:gd name="T33" fmla="*/ 444 h 492"/>
                <a:gd name="T34" fmla="*/ 360 w 493"/>
                <a:gd name="T35" fmla="*/ 465 h 492"/>
                <a:gd name="T36" fmla="*/ 324 w 493"/>
                <a:gd name="T37" fmla="*/ 479 h 492"/>
                <a:gd name="T38" fmla="*/ 287 w 493"/>
                <a:gd name="T39" fmla="*/ 489 h 492"/>
                <a:gd name="T40" fmla="*/ 246 w 493"/>
                <a:gd name="T41" fmla="*/ 492 h 492"/>
                <a:gd name="T42" fmla="*/ 207 w 493"/>
                <a:gd name="T43" fmla="*/ 489 h 492"/>
                <a:gd name="T44" fmla="*/ 168 w 493"/>
                <a:gd name="T45" fmla="*/ 479 h 492"/>
                <a:gd name="T46" fmla="*/ 133 w 493"/>
                <a:gd name="T47" fmla="*/ 465 h 492"/>
                <a:gd name="T48" fmla="*/ 101 w 493"/>
                <a:gd name="T49" fmla="*/ 444 h 492"/>
                <a:gd name="T50" fmla="*/ 72 w 493"/>
                <a:gd name="T51" fmla="*/ 420 h 492"/>
                <a:gd name="T52" fmla="*/ 47 w 493"/>
                <a:gd name="T53" fmla="*/ 392 h 492"/>
                <a:gd name="T54" fmla="*/ 27 w 493"/>
                <a:gd name="T55" fmla="*/ 359 h 492"/>
                <a:gd name="T56" fmla="*/ 12 w 493"/>
                <a:gd name="T57" fmla="*/ 323 h 492"/>
                <a:gd name="T58" fmla="*/ 3 w 493"/>
                <a:gd name="T59" fmla="*/ 286 h 492"/>
                <a:gd name="T60" fmla="*/ 0 w 493"/>
                <a:gd name="T61" fmla="*/ 245 h 492"/>
                <a:gd name="T62" fmla="*/ 3 w 493"/>
                <a:gd name="T63" fmla="*/ 206 h 492"/>
                <a:gd name="T64" fmla="*/ 12 w 493"/>
                <a:gd name="T65" fmla="*/ 167 h 492"/>
                <a:gd name="T66" fmla="*/ 27 w 493"/>
                <a:gd name="T67" fmla="*/ 133 h 492"/>
                <a:gd name="T68" fmla="*/ 47 w 493"/>
                <a:gd name="T69" fmla="*/ 100 h 492"/>
                <a:gd name="T70" fmla="*/ 72 w 493"/>
                <a:gd name="T71" fmla="*/ 72 h 492"/>
                <a:gd name="T72" fmla="*/ 101 w 493"/>
                <a:gd name="T73" fmla="*/ 46 h 492"/>
                <a:gd name="T74" fmla="*/ 133 w 493"/>
                <a:gd name="T75" fmla="*/ 26 h 492"/>
                <a:gd name="T76" fmla="*/ 168 w 493"/>
                <a:gd name="T77" fmla="*/ 12 h 492"/>
                <a:gd name="T78" fmla="*/ 207 w 493"/>
                <a:gd name="T79" fmla="*/ 2 h 492"/>
                <a:gd name="T80" fmla="*/ 246 w 493"/>
                <a:gd name="T81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3" h="492">
                  <a:moveTo>
                    <a:pt x="246" y="0"/>
                  </a:moveTo>
                  <a:lnTo>
                    <a:pt x="287" y="2"/>
                  </a:lnTo>
                  <a:lnTo>
                    <a:pt x="324" y="12"/>
                  </a:lnTo>
                  <a:lnTo>
                    <a:pt x="360" y="26"/>
                  </a:lnTo>
                  <a:lnTo>
                    <a:pt x="393" y="46"/>
                  </a:lnTo>
                  <a:lnTo>
                    <a:pt x="421" y="72"/>
                  </a:lnTo>
                  <a:lnTo>
                    <a:pt x="445" y="100"/>
                  </a:lnTo>
                  <a:lnTo>
                    <a:pt x="466" y="133"/>
                  </a:lnTo>
                  <a:lnTo>
                    <a:pt x="480" y="167"/>
                  </a:lnTo>
                  <a:lnTo>
                    <a:pt x="490" y="206"/>
                  </a:lnTo>
                  <a:lnTo>
                    <a:pt x="493" y="245"/>
                  </a:lnTo>
                  <a:lnTo>
                    <a:pt x="490" y="286"/>
                  </a:lnTo>
                  <a:lnTo>
                    <a:pt x="480" y="323"/>
                  </a:lnTo>
                  <a:lnTo>
                    <a:pt x="466" y="359"/>
                  </a:lnTo>
                  <a:lnTo>
                    <a:pt x="445" y="392"/>
                  </a:lnTo>
                  <a:lnTo>
                    <a:pt x="421" y="420"/>
                  </a:lnTo>
                  <a:lnTo>
                    <a:pt x="393" y="444"/>
                  </a:lnTo>
                  <a:lnTo>
                    <a:pt x="360" y="465"/>
                  </a:lnTo>
                  <a:lnTo>
                    <a:pt x="324" y="479"/>
                  </a:lnTo>
                  <a:lnTo>
                    <a:pt x="287" y="489"/>
                  </a:lnTo>
                  <a:lnTo>
                    <a:pt x="246" y="492"/>
                  </a:lnTo>
                  <a:lnTo>
                    <a:pt x="207" y="489"/>
                  </a:lnTo>
                  <a:lnTo>
                    <a:pt x="168" y="479"/>
                  </a:lnTo>
                  <a:lnTo>
                    <a:pt x="133" y="465"/>
                  </a:lnTo>
                  <a:lnTo>
                    <a:pt x="101" y="444"/>
                  </a:lnTo>
                  <a:lnTo>
                    <a:pt x="72" y="420"/>
                  </a:lnTo>
                  <a:lnTo>
                    <a:pt x="47" y="392"/>
                  </a:lnTo>
                  <a:lnTo>
                    <a:pt x="27" y="359"/>
                  </a:lnTo>
                  <a:lnTo>
                    <a:pt x="12" y="323"/>
                  </a:lnTo>
                  <a:lnTo>
                    <a:pt x="3" y="286"/>
                  </a:lnTo>
                  <a:lnTo>
                    <a:pt x="0" y="245"/>
                  </a:lnTo>
                  <a:lnTo>
                    <a:pt x="3" y="206"/>
                  </a:lnTo>
                  <a:lnTo>
                    <a:pt x="12" y="167"/>
                  </a:lnTo>
                  <a:lnTo>
                    <a:pt x="27" y="133"/>
                  </a:lnTo>
                  <a:lnTo>
                    <a:pt x="47" y="100"/>
                  </a:lnTo>
                  <a:lnTo>
                    <a:pt x="72" y="72"/>
                  </a:lnTo>
                  <a:lnTo>
                    <a:pt x="101" y="46"/>
                  </a:lnTo>
                  <a:lnTo>
                    <a:pt x="133" y="26"/>
                  </a:lnTo>
                  <a:lnTo>
                    <a:pt x="168" y="12"/>
                  </a:lnTo>
                  <a:lnTo>
                    <a:pt x="207" y="2"/>
                  </a:lnTo>
                  <a:lnTo>
                    <a:pt x="24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5" name="Freeform 15">
              <a:extLst>
                <a:ext uri="{FF2B5EF4-FFF2-40B4-BE49-F238E27FC236}">
                  <a16:creationId xmlns:a16="http://schemas.microsoft.com/office/drawing/2014/main" id="{3467097B-B83A-434E-BC2C-10CF73A49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8088" y="2576513"/>
              <a:ext cx="157163" cy="155575"/>
            </a:xfrm>
            <a:custGeom>
              <a:avLst/>
              <a:gdLst>
                <a:gd name="T0" fmla="*/ 248 w 495"/>
                <a:gd name="T1" fmla="*/ 0 h 492"/>
                <a:gd name="T2" fmla="*/ 287 w 495"/>
                <a:gd name="T3" fmla="*/ 2 h 492"/>
                <a:gd name="T4" fmla="*/ 326 w 495"/>
                <a:gd name="T5" fmla="*/ 12 h 492"/>
                <a:gd name="T6" fmla="*/ 360 w 495"/>
                <a:gd name="T7" fmla="*/ 26 h 492"/>
                <a:gd name="T8" fmla="*/ 393 w 495"/>
                <a:gd name="T9" fmla="*/ 46 h 492"/>
                <a:gd name="T10" fmla="*/ 422 w 495"/>
                <a:gd name="T11" fmla="*/ 72 h 492"/>
                <a:gd name="T12" fmla="*/ 447 w 495"/>
                <a:gd name="T13" fmla="*/ 100 h 492"/>
                <a:gd name="T14" fmla="*/ 467 w 495"/>
                <a:gd name="T15" fmla="*/ 133 h 492"/>
                <a:gd name="T16" fmla="*/ 482 w 495"/>
                <a:gd name="T17" fmla="*/ 167 h 492"/>
                <a:gd name="T18" fmla="*/ 491 w 495"/>
                <a:gd name="T19" fmla="*/ 206 h 492"/>
                <a:gd name="T20" fmla="*/ 495 w 495"/>
                <a:gd name="T21" fmla="*/ 245 h 492"/>
                <a:gd name="T22" fmla="*/ 491 w 495"/>
                <a:gd name="T23" fmla="*/ 286 h 492"/>
                <a:gd name="T24" fmla="*/ 482 w 495"/>
                <a:gd name="T25" fmla="*/ 323 h 492"/>
                <a:gd name="T26" fmla="*/ 467 w 495"/>
                <a:gd name="T27" fmla="*/ 359 h 492"/>
                <a:gd name="T28" fmla="*/ 447 w 495"/>
                <a:gd name="T29" fmla="*/ 392 h 492"/>
                <a:gd name="T30" fmla="*/ 422 w 495"/>
                <a:gd name="T31" fmla="*/ 420 h 492"/>
                <a:gd name="T32" fmla="*/ 393 w 495"/>
                <a:gd name="T33" fmla="*/ 444 h 492"/>
                <a:gd name="T34" fmla="*/ 360 w 495"/>
                <a:gd name="T35" fmla="*/ 465 h 492"/>
                <a:gd name="T36" fmla="*/ 326 w 495"/>
                <a:gd name="T37" fmla="*/ 479 h 492"/>
                <a:gd name="T38" fmla="*/ 287 w 495"/>
                <a:gd name="T39" fmla="*/ 489 h 492"/>
                <a:gd name="T40" fmla="*/ 248 w 495"/>
                <a:gd name="T41" fmla="*/ 492 h 492"/>
                <a:gd name="T42" fmla="*/ 208 w 495"/>
                <a:gd name="T43" fmla="*/ 489 h 492"/>
                <a:gd name="T44" fmla="*/ 170 w 495"/>
                <a:gd name="T45" fmla="*/ 479 h 492"/>
                <a:gd name="T46" fmla="*/ 134 w 495"/>
                <a:gd name="T47" fmla="*/ 465 h 492"/>
                <a:gd name="T48" fmla="*/ 101 w 495"/>
                <a:gd name="T49" fmla="*/ 444 h 492"/>
                <a:gd name="T50" fmla="*/ 72 w 495"/>
                <a:gd name="T51" fmla="*/ 420 h 492"/>
                <a:gd name="T52" fmla="*/ 48 w 495"/>
                <a:gd name="T53" fmla="*/ 392 h 492"/>
                <a:gd name="T54" fmla="*/ 28 w 495"/>
                <a:gd name="T55" fmla="*/ 359 h 492"/>
                <a:gd name="T56" fmla="*/ 14 w 495"/>
                <a:gd name="T57" fmla="*/ 323 h 492"/>
                <a:gd name="T58" fmla="*/ 4 w 495"/>
                <a:gd name="T59" fmla="*/ 286 h 492"/>
                <a:gd name="T60" fmla="*/ 0 w 495"/>
                <a:gd name="T61" fmla="*/ 245 h 492"/>
                <a:gd name="T62" fmla="*/ 4 w 495"/>
                <a:gd name="T63" fmla="*/ 206 h 492"/>
                <a:gd name="T64" fmla="*/ 14 w 495"/>
                <a:gd name="T65" fmla="*/ 167 h 492"/>
                <a:gd name="T66" fmla="*/ 28 w 495"/>
                <a:gd name="T67" fmla="*/ 133 h 492"/>
                <a:gd name="T68" fmla="*/ 48 w 495"/>
                <a:gd name="T69" fmla="*/ 100 h 492"/>
                <a:gd name="T70" fmla="*/ 72 w 495"/>
                <a:gd name="T71" fmla="*/ 72 h 492"/>
                <a:gd name="T72" fmla="*/ 101 w 495"/>
                <a:gd name="T73" fmla="*/ 46 h 492"/>
                <a:gd name="T74" fmla="*/ 134 w 495"/>
                <a:gd name="T75" fmla="*/ 26 h 492"/>
                <a:gd name="T76" fmla="*/ 170 w 495"/>
                <a:gd name="T77" fmla="*/ 12 h 492"/>
                <a:gd name="T78" fmla="*/ 208 w 495"/>
                <a:gd name="T79" fmla="*/ 2 h 492"/>
                <a:gd name="T80" fmla="*/ 248 w 495"/>
                <a:gd name="T81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92">
                  <a:moveTo>
                    <a:pt x="248" y="0"/>
                  </a:moveTo>
                  <a:lnTo>
                    <a:pt x="287" y="2"/>
                  </a:lnTo>
                  <a:lnTo>
                    <a:pt x="326" y="12"/>
                  </a:lnTo>
                  <a:lnTo>
                    <a:pt x="360" y="26"/>
                  </a:lnTo>
                  <a:lnTo>
                    <a:pt x="393" y="46"/>
                  </a:lnTo>
                  <a:lnTo>
                    <a:pt x="422" y="72"/>
                  </a:lnTo>
                  <a:lnTo>
                    <a:pt x="447" y="100"/>
                  </a:lnTo>
                  <a:lnTo>
                    <a:pt x="467" y="133"/>
                  </a:lnTo>
                  <a:lnTo>
                    <a:pt x="482" y="167"/>
                  </a:lnTo>
                  <a:lnTo>
                    <a:pt x="491" y="206"/>
                  </a:lnTo>
                  <a:lnTo>
                    <a:pt x="495" y="245"/>
                  </a:lnTo>
                  <a:lnTo>
                    <a:pt x="491" y="286"/>
                  </a:lnTo>
                  <a:lnTo>
                    <a:pt x="482" y="323"/>
                  </a:lnTo>
                  <a:lnTo>
                    <a:pt x="467" y="359"/>
                  </a:lnTo>
                  <a:lnTo>
                    <a:pt x="447" y="392"/>
                  </a:lnTo>
                  <a:lnTo>
                    <a:pt x="422" y="420"/>
                  </a:lnTo>
                  <a:lnTo>
                    <a:pt x="393" y="444"/>
                  </a:lnTo>
                  <a:lnTo>
                    <a:pt x="360" y="465"/>
                  </a:lnTo>
                  <a:lnTo>
                    <a:pt x="326" y="479"/>
                  </a:lnTo>
                  <a:lnTo>
                    <a:pt x="287" y="489"/>
                  </a:lnTo>
                  <a:lnTo>
                    <a:pt x="248" y="492"/>
                  </a:lnTo>
                  <a:lnTo>
                    <a:pt x="208" y="489"/>
                  </a:lnTo>
                  <a:lnTo>
                    <a:pt x="170" y="479"/>
                  </a:lnTo>
                  <a:lnTo>
                    <a:pt x="134" y="465"/>
                  </a:lnTo>
                  <a:lnTo>
                    <a:pt x="101" y="444"/>
                  </a:lnTo>
                  <a:lnTo>
                    <a:pt x="72" y="420"/>
                  </a:lnTo>
                  <a:lnTo>
                    <a:pt x="48" y="392"/>
                  </a:lnTo>
                  <a:lnTo>
                    <a:pt x="28" y="359"/>
                  </a:lnTo>
                  <a:lnTo>
                    <a:pt x="14" y="323"/>
                  </a:lnTo>
                  <a:lnTo>
                    <a:pt x="4" y="286"/>
                  </a:lnTo>
                  <a:lnTo>
                    <a:pt x="0" y="245"/>
                  </a:lnTo>
                  <a:lnTo>
                    <a:pt x="4" y="206"/>
                  </a:lnTo>
                  <a:lnTo>
                    <a:pt x="14" y="167"/>
                  </a:lnTo>
                  <a:lnTo>
                    <a:pt x="28" y="133"/>
                  </a:lnTo>
                  <a:lnTo>
                    <a:pt x="48" y="100"/>
                  </a:lnTo>
                  <a:lnTo>
                    <a:pt x="72" y="72"/>
                  </a:lnTo>
                  <a:lnTo>
                    <a:pt x="101" y="46"/>
                  </a:lnTo>
                  <a:lnTo>
                    <a:pt x="134" y="26"/>
                  </a:lnTo>
                  <a:lnTo>
                    <a:pt x="170" y="12"/>
                  </a:lnTo>
                  <a:lnTo>
                    <a:pt x="208" y="2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6" name="Freeform 16">
              <a:extLst>
                <a:ext uri="{FF2B5EF4-FFF2-40B4-BE49-F238E27FC236}">
                  <a16:creationId xmlns:a16="http://schemas.microsoft.com/office/drawing/2014/main" id="{AC0EB65B-EC3D-40C3-9EAC-DE274E0C1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5138" y="1858963"/>
              <a:ext cx="384175" cy="800100"/>
            </a:xfrm>
            <a:custGeom>
              <a:avLst/>
              <a:gdLst>
                <a:gd name="T0" fmla="*/ 108 w 1212"/>
                <a:gd name="T1" fmla="*/ 0 h 2521"/>
                <a:gd name="T2" fmla="*/ 108 w 1212"/>
                <a:gd name="T3" fmla="*/ 0 h 2521"/>
                <a:gd name="T4" fmla="*/ 133 w 1212"/>
                <a:gd name="T5" fmla="*/ 2 h 2521"/>
                <a:gd name="T6" fmla="*/ 155 w 1212"/>
                <a:gd name="T7" fmla="*/ 10 h 2521"/>
                <a:gd name="T8" fmla="*/ 175 w 1212"/>
                <a:gd name="T9" fmla="*/ 22 h 2521"/>
                <a:gd name="T10" fmla="*/ 192 w 1212"/>
                <a:gd name="T11" fmla="*/ 39 h 2521"/>
                <a:gd name="T12" fmla="*/ 204 w 1212"/>
                <a:gd name="T13" fmla="*/ 60 h 2521"/>
                <a:gd name="T14" fmla="*/ 212 w 1212"/>
                <a:gd name="T15" fmla="*/ 82 h 2521"/>
                <a:gd name="T16" fmla="*/ 216 w 1212"/>
                <a:gd name="T17" fmla="*/ 106 h 2521"/>
                <a:gd name="T18" fmla="*/ 216 w 1212"/>
                <a:gd name="T19" fmla="*/ 2307 h 2521"/>
                <a:gd name="T20" fmla="*/ 1104 w 1212"/>
                <a:gd name="T21" fmla="*/ 2307 h 2521"/>
                <a:gd name="T22" fmla="*/ 1129 w 1212"/>
                <a:gd name="T23" fmla="*/ 2309 h 2521"/>
                <a:gd name="T24" fmla="*/ 1152 w 1212"/>
                <a:gd name="T25" fmla="*/ 2317 h 2521"/>
                <a:gd name="T26" fmla="*/ 1171 w 1212"/>
                <a:gd name="T27" fmla="*/ 2331 h 2521"/>
                <a:gd name="T28" fmla="*/ 1188 w 1212"/>
                <a:gd name="T29" fmla="*/ 2346 h 2521"/>
                <a:gd name="T30" fmla="*/ 1201 w 1212"/>
                <a:gd name="T31" fmla="*/ 2367 h 2521"/>
                <a:gd name="T32" fmla="*/ 1210 w 1212"/>
                <a:gd name="T33" fmla="*/ 2389 h 2521"/>
                <a:gd name="T34" fmla="*/ 1212 w 1212"/>
                <a:gd name="T35" fmla="*/ 2413 h 2521"/>
                <a:gd name="T36" fmla="*/ 1210 w 1212"/>
                <a:gd name="T37" fmla="*/ 2438 h 2521"/>
                <a:gd name="T38" fmla="*/ 1201 w 1212"/>
                <a:gd name="T39" fmla="*/ 2461 h 2521"/>
                <a:gd name="T40" fmla="*/ 1188 w 1212"/>
                <a:gd name="T41" fmla="*/ 2482 h 2521"/>
                <a:gd name="T42" fmla="*/ 1171 w 1212"/>
                <a:gd name="T43" fmla="*/ 2497 h 2521"/>
                <a:gd name="T44" fmla="*/ 1152 w 1212"/>
                <a:gd name="T45" fmla="*/ 2510 h 2521"/>
                <a:gd name="T46" fmla="*/ 1129 w 1212"/>
                <a:gd name="T47" fmla="*/ 2519 h 2521"/>
                <a:gd name="T48" fmla="*/ 1104 w 1212"/>
                <a:gd name="T49" fmla="*/ 2521 h 2521"/>
                <a:gd name="T50" fmla="*/ 108 w 1212"/>
                <a:gd name="T51" fmla="*/ 2521 h 2521"/>
                <a:gd name="T52" fmla="*/ 83 w 1212"/>
                <a:gd name="T53" fmla="*/ 2519 h 2521"/>
                <a:gd name="T54" fmla="*/ 61 w 1212"/>
                <a:gd name="T55" fmla="*/ 2510 h 2521"/>
                <a:gd name="T56" fmla="*/ 41 w 1212"/>
                <a:gd name="T57" fmla="*/ 2497 h 2521"/>
                <a:gd name="T58" fmla="*/ 24 w 1212"/>
                <a:gd name="T59" fmla="*/ 2482 h 2521"/>
                <a:gd name="T60" fmla="*/ 11 w 1212"/>
                <a:gd name="T61" fmla="*/ 2461 h 2521"/>
                <a:gd name="T62" fmla="*/ 4 w 1212"/>
                <a:gd name="T63" fmla="*/ 2438 h 2521"/>
                <a:gd name="T64" fmla="*/ 0 w 1212"/>
                <a:gd name="T65" fmla="*/ 2413 h 2521"/>
                <a:gd name="T66" fmla="*/ 0 w 1212"/>
                <a:gd name="T67" fmla="*/ 106 h 2521"/>
                <a:gd name="T68" fmla="*/ 4 w 1212"/>
                <a:gd name="T69" fmla="*/ 82 h 2521"/>
                <a:gd name="T70" fmla="*/ 11 w 1212"/>
                <a:gd name="T71" fmla="*/ 60 h 2521"/>
                <a:gd name="T72" fmla="*/ 24 w 1212"/>
                <a:gd name="T73" fmla="*/ 39 h 2521"/>
                <a:gd name="T74" fmla="*/ 41 w 1212"/>
                <a:gd name="T75" fmla="*/ 22 h 2521"/>
                <a:gd name="T76" fmla="*/ 61 w 1212"/>
                <a:gd name="T77" fmla="*/ 10 h 2521"/>
                <a:gd name="T78" fmla="*/ 83 w 1212"/>
                <a:gd name="T79" fmla="*/ 2 h 2521"/>
                <a:gd name="T80" fmla="*/ 108 w 1212"/>
                <a:gd name="T81" fmla="*/ 0 h 2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12" h="2521">
                  <a:moveTo>
                    <a:pt x="108" y="0"/>
                  </a:moveTo>
                  <a:lnTo>
                    <a:pt x="108" y="0"/>
                  </a:lnTo>
                  <a:lnTo>
                    <a:pt x="133" y="2"/>
                  </a:lnTo>
                  <a:lnTo>
                    <a:pt x="155" y="10"/>
                  </a:lnTo>
                  <a:lnTo>
                    <a:pt x="175" y="22"/>
                  </a:lnTo>
                  <a:lnTo>
                    <a:pt x="192" y="39"/>
                  </a:lnTo>
                  <a:lnTo>
                    <a:pt x="204" y="60"/>
                  </a:lnTo>
                  <a:lnTo>
                    <a:pt x="212" y="82"/>
                  </a:lnTo>
                  <a:lnTo>
                    <a:pt x="216" y="106"/>
                  </a:lnTo>
                  <a:lnTo>
                    <a:pt x="216" y="2307"/>
                  </a:lnTo>
                  <a:lnTo>
                    <a:pt x="1104" y="2307"/>
                  </a:lnTo>
                  <a:lnTo>
                    <a:pt x="1129" y="2309"/>
                  </a:lnTo>
                  <a:lnTo>
                    <a:pt x="1152" y="2317"/>
                  </a:lnTo>
                  <a:lnTo>
                    <a:pt x="1171" y="2331"/>
                  </a:lnTo>
                  <a:lnTo>
                    <a:pt x="1188" y="2346"/>
                  </a:lnTo>
                  <a:lnTo>
                    <a:pt x="1201" y="2367"/>
                  </a:lnTo>
                  <a:lnTo>
                    <a:pt x="1210" y="2389"/>
                  </a:lnTo>
                  <a:lnTo>
                    <a:pt x="1212" y="2413"/>
                  </a:lnTo>
                  <a:lnTo>
                    <a:pt x="1210" y="2438"/>
                  </a:lnTo>
                  <a:lnTo>
                    <a:pt x="1201" y="2461"/>
                  </a:lnTo>
                  <a:lnTo>
                    <a:pt x="1188" y="2482"/>
                  </a:lnTo>
                  <a:lnTo>
                    <a:pt x="1171" y="2497"/>
                  </a:lnTo>
                  <a:lnTo>
                    <a:pt x="1152" y="2510"/>
                  </a:lnTo>
                  <a:lnTo>
                    <a:pt x="1129" y="2519"/>
                  </a:lnTo>
                  <a:lnTo>
                    <a:pt x="1104" y="2521"/>
                  </a:lnTo>
                  <a:lnTo>
                    <a:pt x="108" y="2521"/>
                  </a:lnTo>
                  <a:lnTo>
                    <a:pt x="83" y="2519"/>
                  </a:lnTo>
                  <a:lnTo>
                    <a:pt x="61" y="2510"/>
                  </a:lnTo>
                  <a:lnTo>
                    <a:pt x="41" y="2497"/>
                  </a:lnTo>
                  <a:lnTo>
                    <a:pt x="24" y="2482"/>
                  </a:lnTo>
                  <a:lnTo>
                    <a:pt x="11" y="2461"/>
                  </a:lnTo>
                  <a:lnTo>
                    <a:pt x="4" y="2438"/>
                  </a:lnTo>
                  <a:lnTo>
                    <a:pt x="0" y="2413"/>
                  </a:lnTo>
                  <a:lnTo>
                    <a:pt x="0" y="106"/>
                  </a:lnTo>
                  <a:lnTo>
                    <a:pt x="4" y="82"/>
                  </a:lnTo>
                  <a:lnTo>
                    <a:pt x="11" y="60"/>
                  </a:lnTo>
                  <a:lnTo>
                    <a:pt x="24" y="39"/>
                  </a:lnTo>
                  <a:lnTo>
                    <a:pt x="41" y="22"/>
                  </a:lnTo>
                  <a:lnTo>
                    <a:pt x="61" y="10"/>
                  </a:lnTo>
                  <a:lnTo>
                    <a:pt x="83" y="2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7" name="Freeform 17">
              <a:extLst>
                <a:ext uri="{FF2B5EF4-FFF2-40B4-BE49-F238E27FC236}">
                  <a16:creationId xmlns:a16="http://schemas.microsoft.com/office/drawing/2014/main" id="{4ABB7558-F7D8-4A56-A7FD-81967EBE47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148263" y="1912938"/>
              <a:ext cx="785813" cy="749300"/>
            </a:xfrm>
            <a:custGeom>
              <a:avLst/>
              <a:gdLst>
                <a:gd name="T0" fmla="*/ 941 w 2477"/>
                <a:gd name="T1" fmla="*/ 1425 h 2364"/>
                <a:gd name="T2" fmla="*/ 950 w 2477"/>
                <a:gd name="T3" fmla="*/ 741 h 2364"/>
                <a:gd name="T4" fmla="*/ 989 w 2477"/>
                <a:gd name="T5" fmla="*/ 721 h 2364"/>
                <a:gd name="T6" fmla="*/ 1170 w 2477"/>
                <a:gd name="T7" fmla="*/ 731 h 2364"/>
                <a:gd name="T8" fmla="*/ 1189 w 2477"/>
                <a:gd name="T9" fmla="*/ 769 h 2364"/>
                <a:gd name="T10" fmla="*/ 1476 w 2477"/>
                <a:gd name="T11" fmla="*/ 1225 h 2364"/>
                <a:gd name="T12" fmla="*/ 1506 w 2477"/>
                <a:gd name="T13" fmla="*/ 1256 h 2364"/>
                <a:gd name="T14" fmla="*/ 2054 w 2477"/>
                <a:gd name="T15" fmla="*/ 1425 h 2364"/>
                <a:gd name="T16" fmla="*/ 547 w 2477"/>
                <a:gd name="T17" fmla="*/ 0 h 2364"/>
                <a:gd name="T18" fmla="*/ 1550 w 2477"/>
                <a:gd name="T19" fmla="*/ 9 h 2364"/>
                <a:gd name="T20" fmla="*/ 1620 w 2477"/>
                <a:gd name="T21" fmla="*/ 57 h 2364"/>
                <a:gd name="T22" fmla="*/ 1645 w 2477"/>
                <a:gd name="T23" fmla="*/ 93 h 2364"/>
                <a:gd name="T24" fmla="*/ 1679 w 2477"/>
                <a:gd name="T25" fmla="*/ 150 h 2364"/>
                <a:gd name="T26" fmla="*/ 1735 w 2477"/>
                <a:gd name="T27" fmla="*/ 244 h 2364"/>
                <a:gd name="T28" fmla="*/ 1811 w 2477"/>
                <a:gd name="T29" fmla="*/ 368 h 2364"/>
                <a:gd name="T30" fmla="*/ 1898 w 2477"/>
                <a:gd name="T31" fmla="*/ 515 h 2364"/>
                <a:gd name="T32" fmla="*/ 1996 w 2477"/>
                <a:gd name="T33" fmla="*/ 676 h 2364"/>
                <a:gd name="T34" fmla="*/ 2096 w 2477"/>
                <a:gd name="T35" fmla="*/ 844 h 2364"/>
                <a:gd name="T36" fmla="*/ 2197 w 2477"/>
                <a:gd name="T37" fmla="*/ 1010 h 2364"/>
                <a:gd name="T38" fmla="*/ 2293 w 2477"/>
                <a:gd name="T39" fmla="*/ 1169 h 2364"/>
                <a:gd name="T40" fmla="*/ 2380 w 2477"/>
                <a:gd name="T41" fmla="*/ 1310 h 2364"/>
                <a:gd name="T42" fmla="*/ 2450 w 2477"/>
                <a:gd name="T43" fmla="*/ 1427 h 2364"/>
                <a:gd name="T44" fmla="*/ 2474 w 2477"/>
                <a:gd name="T45" fmla="*/ 1480 h 2364"/>
                <a:gd name="T46" fmla="*/ 2474 w 2477"/>
                <a:gd name="T47" fmla="*/ 2245 h 2364"/>
                <a:gd name="T48" fmla="*/ 2434 w 2477"/>
                <a:gd name="T49" fmla="*/ 2320 h 2364"/>
                <a:gd name="T50" fmla="*/ 2358 w 2477"/>
                <a:gd name="T51" fmla="*/ 2361 h 2364"/>
                <a:gd name="T52" fmla="*/ 2231 w 2477"/>
                <a:gd name="T53" fmla="*/ 2362 h 2364"/>
                <a:gd name="T54" fmla="*/ 2214 w 2477"/>
                <a:gd name="T55" fmla="*/ 2335 h 2364"/>
                <a:gd name="T56" fmla="*/ 2183 w 2477"/>
                <a:gd name="T57" fmla="*/ 2182 h 2364"/>
                <a:gd name="T58" fmla="*/ 2099 w 2477"/>
                <a:gd name="T59" fmla="*/ 2057 h 2364"/>
                <a:gd name="T60" fmla="*/ 1973 w 2477"/>
                <a:gd name="T61" fmla="*/ 1972 h 2364"/>
                <a:gd name="T62" fmla="*/ 1819 w 2477"/>
                <a:gd name="T63" fmla="*/ 1941 h 2364"/>
                <a:gd name="T64" fmla="*/ 1666 w 2477"/>
                <a:gd name="T65" fmla="*/ 1972 h 2364"/>
                <a:gd name="T66" fmla="*/ 1541 w 2477"/>
                <a:gd name="T67" fmla="*/ 2057 h 2364"/>
                <a:gd name="T68" fmla="*/ 1456 w 2477"/>
                <a:gd name="T69" fmla="*/ 2182 h 2364"/>
                <a:gd name="T70" fmla="*/ 1424 w 2477"/>
                <a:gd name="T71" fmla="*/ 2335 h 2364"/>
                <a:gd name="T72" fmla="*/ 1408 w 2477"/>
                <a:gd name="T73" fmla="*/ 2362 h 2364"/>
                <a:gd name="T74" fmla="*/ 1069 w 2477"/>
                <a:gd name="T75" fmla="*/ 2362 h 2364"/>
                <a:gd name="T76" fmla="*/ 1052 w 2477"/>
                <a:gd name="T77" fmla="*/ 2335 h 2364"/>
                <a:gd name="T78" fmla="*/ 1021 w 2477"/>
                <a:gd name="T79" fmla="*/ 2182 h 2364"/>
                <a:gd name="T80" fmla="*/ 936 w 2477"/>
                <a:gd name="T81" fmla="*/ 2057 h 2364"/>
                <a:gd name="T82" fmla="*/ 811 w 2477"/>
                <a:gd name="T83" fmla="*/ 1972 h 2364"/>
                <a:gd name="T84" fmla="*/ 658 w 2477"/>
                <a:gd name="T85" fmla="*/ 1941 h 2364"/>
                <a:gd name="T86" fmla="*/ 504 w 2477"/>
                <a:gd name="T87" fmla="*/ 1972 h 2364"/>
                <a:gd name="T88" fmla="*/ 378 w 2477"/>
                <a:gd name="T89" fmla="*/ 2057 h 2364"/>
                <a:gd name="T90" fmla="*/ 294 w 2477"/>
                <a:gd name="T91" fmla="*/ 2182 h 2364"/>
                <a:gd name="T92" fmla="*/ 263 w 2477"/>
                <a:gd name="T93" fmla="*/ 2335 h 2364"/>
                <a:gd name="T94" fmla="*/ 246 w 2477"/>
                <a:gd name="T95" fmla="*/ 2362 h 2364"/>
                <a:gd name="T96" fmla="*/ 89 w 2477"/>
                <a:gd name="T97" fmla="*/ 2361 h 2364"/>
                <a:gd name="T98" fmla="*/ 25 w 2477"/>
                <a:gd name="T99" fmla="*/ 2321 h 2364"/>
                <a:gd name="T100" fmla="*/ 0 w 2477"/>
                <a:gd name="T101" fmla="*/ 2249 h 2364"/>
                <a:gd name="T102" fmla="*/ 12 w 2477"/>
                <a:gd name="T103" fmla="*/ 1142 h 2364"/>
                <a:gd name="T104" fmla="*/ 65 w 2477"/>
                <a:gd name="T105" fmla="*/ 1090 h 2364"/>
                <a:gd name="T106" fmla="*/ 382 w 2477"/>
                <a:gd name="T107" fmla="*/ 1078 h 2364"/>
                <a:gd name="T108" fmla="*/ 395 w 2477"/>
                <a:gd name="T109" fmla="*/ 100 h 2364"/>
                <a:gd name="T110" fmla="*/ 455 w 2477"/>
                <a:gd name="T111" fmla="*/ 28 h 2364"/>
                <a:gd name="T112" fmla="*/ 547 w 2477"/>
                <a:gd name="T113" fmla="*/ 0 h 2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77" h="2364">
                  <a:moveTo>
                    <a:pt x="713" y="331"/>
                  </a:moveTo>
                  <a:lnTo>
                    <a:pt x="713" y="1425"/>
                  </a:lnTo>
                  <a:lnTo>
                    <a:pt x="941" y="1425"/>
                  </a:lnTo>
                  <a:lnTo>
                    <a:pt x="941" y="769"/>
                  </a:lnTo>
                  <a:lnTo>
                    <a:pt x="943" y="754"/>
                  </a:lnTo>
                  <a:lnTo>
                    <a:pt x="950" y="741"/>
                  </a:lnTo>
                  <a:lnTo>
                    <a:pt x="961" y="731"/>
                  </a:lnTo>
                  <a:lnTo>
                    <a:pt x="974" y="724"/>
                  </a:lnTo>
                  <a:lnTo>
                    <a:pt x="989" y="721"/>
                  </a:lnTo>
                  <a:lnTo>
                    <a:pt x="1141" y="721"/>
                  </a:lnTo>
                  <a:lnTo>
                    <a:pt x="1157" y="724"/>
                  </a:lnTo>
                  <a:lnTo>
                    <a:pt x="1170" y="731"/>
                  </a:lnTo>
                  <a:lnTo>
                    <a:pt x="1180" y="741"/>
                  </a:lnTo>
                  <a:lnTo>
                    <a:pt x="1187" y="754"/>
                  </a:lnTo>
                  <a:lnTo>
                    <a:pt x="1189" y="769"/>
                  </a:lnTo>
                  <a:lnTo>
                    <a:pt x="1189" y="1223"/>
                  </a:lnTo>
                  <a:lnTo>
                    <a:pt x="1462" y="1223"/>
                  </a:lnTo>
                  <a:lnTo>
                    <a:pt x="1476" y="1225"/>
                  </a:lnTo>
                  <a:lnTo>
                    <a:pt x="1489" y="1232"/>
                  </a:lnTo>
                  <a:lnTo>
                    <a:pt x="1500" y="1243"/>
                  </a:lnTo>
                  <a:lnTo>
                    <a:pt x="1506" y="1256"/>
                  </a:lnTo>
                  <a:lnTo>
                    <a:pt x="1510" y="1271"/>
                  </a:lnTo>
                  <a:lnTo>
                    <a:pt x="1510" y="1425"/>
                  </a:lnTo>
                  <a:lnTo>
                    <a:pt x="2054" y="1425"/>
                  </a:lnTo>
                  <a:lnTo>
                    <a:pt x="1400" y="331"/>
                  </a:lnTo>
                  <a:lnTo>
                    <a:pt x="713" y="331"/>
                  </a:lnTo>
                  <a:close/>
                  <a:moveTo>
                    <a:pt x="547" y="0"/>
                  </a:moveTo>
                  <a:lnTo>
                    <a:pt x="1495" y="0"/>
                  </a:lnTo>
                  <a:lnTo>
                    <a:pt x="1524" y="2"/>
                  </a:lnTo>
                  <a:lnTo>
                    <a:pt x="1550" y="9"/>
                  </a:lnTo>
                  <a:lnTo>
                    <a:pt x="1577" y="21"/>
                  </a:lnTo>
                  <a:lnTo>
                    <a:pt x="1600" y="37"/>
                  </a:lnTo>
                  <a:lnTo>
                    <a:pt x="1620" y="57"/>
                  </a:lnTo>
                  <a:lnTo>
                    <a:pt x="1637" y="80"/>
                  </a:lnTo>
                  <a:lnTo>
                    <a:pt x="1639" y="84"/>
                  </a:lnTo>
                  <a:lnTo>
                    <a:pt x="1645" y="93"/>
                  </a:lnTo>
                  <a:lnTo>
                    <a:pt x="1654" y="108"/>
                  </a:lnTo>
                  <a:lnTo>
                    <a:pt x="1664" y="126"/>
                  </a:lnTo>
                  <a:lnTo>
                    <a:pt x="1679" y="150"/>
                  </a:lnTo>
                  <a:lnTo>
                    <a:pt x="1696" y="177"/>
                  </a:lnTo>
                  <a:lnTo>
                    <a:pt x="1715" y="208"/>
                  </a:lnTo>
                  <a:lnTo>
                    <a:pt x="1735" y="244"/>
                  </a:lnTo>
                  <a:lnTo>
                    <a:pt x="1759" y="283"/>
                  </a:lnTo>
                  <a:lnTo>
                    <a:pt x="1783" y="323"/>
                  </a:lnTo>
                  <a:lnTo>
                    <a:pt x="1811" y="368"/>
                  </a:lnTo>
                  <a:lnTo>
                    <a:pt x="1838" y="415"/>
                  </a:lnTo>
                  <a:lnTo>
                    <a:pt x="1868" y="464"/>
                  </a:lnTo>
                  <a:lnTo>
                    <a:pt x="1898" y="515"/>
                  </a:lnTo>
                  <a:lnTo>
                    <a:pt x="1930" y="567"/>
                  </a:lnTo>
                  <a:lnTo>
                    <a:pt x="1963" y="621"/>
                  </a:lnTo>
                  <a:lnTo>
                    <a:pt x="1996" y="676"/>
                  </a:lnTo>
                  <a:lnTo>
                    <a:pt x="2029" y="731"/>
                  </a:lnTo>
                  <a:lnTo>
                    <a:pt x="2063" y="787"/>
                  </a:lnTo>
                  <a:lnTo>
                    <a:pt x="2096" y="844"/>
                  </a:lnTo>
                  <a:lnTo>
                    <a:pt x="2131" y="900"/>
                  </a:lnTo>
                  <a:lnTo>
                    <a:pt x="2165" y="955"/>
                  </a:lnTo>
                  <a:lnTo>
                    <a:pt x="2197" y="1010"/>
                  </a:lnTo>
                  <a:lnTo>
                    <a:pt x="2231" y="1064"/>
                  </a:lnTo>
                  <a:lnTo>
                    <a:pt x="2262" y="1117"/>
                  </a:lnTo>
                  <a:lnTo>
                    <a:pt x="2293" y="1169"/>
                  </a:lnTo>
                  <a:lnTo>
                    <a:pt x="2323" y="1218"/>
                  </a:lnTo>
                  <a:lnTo>
                    <a:pt x="2352" y="1265"/>
                  </a:lnTo>
                  <a:lnTo>
                    <a:pt x="2380" y="1310"/>
                  </a:lnTo>
                  <a:lnTo>
                    <a:pt x="2405" y="1352"/>
                  </a:lnTo>
                  <a:lnTo>
                    <a:pt x="2429" y="1391"/>
                  </a:lnTo>
                  <a:lnTo>
                    <a:pt x="2450" y="1427"/>
                  </a:lnTo>
                  <a:lnTo>
                    <a:pt x="2460" y="1443"/>
                  </a:lnTo>
                  <a:lnTo>
                    <a:pt x="2468" y="1461"/>
                  </a:lnTo>
                  <a:lnTo>
                    <a:pt x="2474" y="1480"/>
                  </a:lnTo>
                  <a:lnTo>
                    <a:pt x="2477" y="1502"/>
                  </a:lnTo>
                  <a:lnTo>
                    <a:pt x="2477" y="2215"/>
                  </a:lnTo>
                  <a:lnTo>
                    <a:pt x="2474" y="2245"/>
                  </a:lnTo>
                  <a:lnTo>
                    <a:pt x="2465" y="2273"/>
                  </a:lnTo>
                  <a:lnTo>
                    <a:pt x="2452" y="2298"/>
                  </a:lnTo>
                  <a:lnTo>
                    <a:pt x="2434" y="2320"/>
                  </a:lnTo>
                  <a:lnTo>
                    <a:pt x="2411" y="2338"/>
                  </a:lnTo>
                  <a:lnTo>
                    <a:pt x="2386" y="2352"/>
                  </a:lnTo>
                  <a:lnTo>
                    <a:pt x="2358" y="2361"/>
                  </a:lnTo>
                  <a:lnTo>
                    <a:pt x="2328" y="2364"/>
                  </a:lnTo>
                  <a:lnTo>
                    <a:pt x="2243" y="2364"/>
                  </a:lnTo>
                  <a:lnTo>
                    <a:pt x="2231" y="2362"/>
                  </a:lnTo>
                  <a:lnTo>
                    <a:pt x="2222" y="2356"/>
                  </a:lnTo>
                  <a:lnTo>
                    <a:pt x="2216" y="2346"/>
                  </a:lnTo>
                  <a:lnTo>
                    <a:pt x="2214" y="2335"/>
                  </a:lnTo>
                  <a:lnTo>
                    <a:pt x="2210" y="2283"/>
                  </a:lnTo>
                  <a:lnTo>
                    <a:pt x="2200" y="2231"/>
                  </a:lnTo>
                  <a:lnTo>
                    <a:pt x="2183" y="2182"/>
                  </a:lnTo>
                  <a:lnTo>
                    <a:pt x="2160" y="2136"/>
                  </a:lnTo>
                  <a:lnTo>
                    <a:pt x="2131" y="2094"/>
                  </a:lnTo>
                  <a:lnTo>
                    <a:pt x="2099" y="2057"/>
                  </a:lnTo>
                  <a:lnTo>
                    <a:pt x="2060" y="2024"/>
                  </a:lnTo>
                  <a:lnTo>
                    <a:pt x="2018" y="1995"/>
                  </a:lnTo>
                  <a:lnTo>
                    <a:pt x="1973" y="1972"/>
                  </a:lnTo>
                  <a:lnTo>
                    <a:pt x="1925" y="1955"/>
                  </a:lnTo>
                  <a:lnTo>
                    <a:pt x="1873" y="1945"/>
                  </a:lnTo>
                  <a:lnTo>
                    <a:pt x="1819" y="1941"/>
                  </a:lnTo>
                  <a:lnTo>
                    <a:pt x="1766" y="1945"/>
                  </a:lnTo>
                  <a:lnTo>
                    <a:pt x="1715" y="1955"/>
                  </a:lnTo>
                  <a:lnTo>
                    <a:pt x="1666" y="1972"/>
                  </a:lnTo>
                  <a:lnTo>
                    <a:pt x="1620" y="1995"/>
                  </a:lnTo>
                  <a:lnTo>
                    <a:pt x="1578" y="2024"/>
                  </a:lnTo>
                  <a:lnTo>
                    <a:pt x="1541" y="2057"/>
                  </a:lnTo>
                  <a:lnTo>
                    <a:pt x="1507" y="2094"/>
                  </a:lnTo>
                  <a:lnTo>
                    <a:pt x="1478" y="2136"/>
                  </a:lnTo>
                  <a:lnTo>
                    <a:pt x="1456" y="2182"/>
                  </a:lnTo>
                  <a:lnTo>
                    <a:pt x="1439" y="2231"/>
                  </a:lnTo>
                  <a:lnTo>
                    <a:pt x="1428" y="2283"/>
                  </a:lnTo>
                  <a:lnTo>
                    <a:pt x="1424" y="2335"/>
                  </a:lnTo>
                  <a:lnTo>
                    <a:pt x="1423" y="2346"/>
                  </a:lnTo>
                  <a:lnTo>
                    <a:pt x="1417" y="2356"/>
                  </a:lnTo>
                  <a:lnTo>
                    <a:pt x="1408" y="2362"/>
                  </a:lnTo>
                  <a:lnTo>
                    <a:pt x="1397" y="2364"/>
                  </a:lnTo>
                  <a:lnTo>
                    <a:pt x="1080" y="2364"/>
                  </a:lnTo>
                  <a:lnTo>
                    <a:pt x="1069" y="2362"/>
                  </a:lnTo>
                  <a:lnTo>
                    <a:pt x="1061" y="2356"/>
                  </a:lnTo>
                  <a:lnTo>
                    <a:pt x="1055" y="2346"/>
                  </a:lnTo>
                  <a:lnTo>
                    <a:pt x="1052" y="2335"/>
                  </a:lnTo>
                  <a:lnTo>
                    <a:pt x="1049" y="2283"/>
                  </a:lnTo>
                  <a:lnTo>
                    <a:pt x="1038" y="2231"/>
                  </a:lnTo>
                  <a:lnTo>
                    <a:pt x="1021" y="2182"/>
                  </a:lnTo>
                  <a:lnTo>
                    <a:pt x="998" y="2136"/>
                  </a:lnTo>
                  <a:lnTo>
                    <a:pt x="970" y="2094"/>
                  </a:lnTo>
                  <a:lnTo>
                    <a:pt x="936" y="2057"/>
                  </a:lnTo>
                  <a:lnTo>
                    <a:pt x="899" y="2024"/>
                  </a:lnTo>
                  <a:lnTo>
                    <a:pt x="857" y="1995"/>
                  </a:lnTo>
                  <a:lnTo>
                    <a:pt x="811" y="1972"/>
                  </a:lnTo>
                  <a:lnTo>
                    <a:pt x="762" y="1955"/>
                  </a:lnTo>
                  <a:lnTo>
                    <a:pt x="710" y="1945"/>
                  </a:lnTo>
                  <a:lnTo>
                    <a:pt x="658" y="1941"/>
                  </a:lnTo>
                  <a:lnTo>
                    <a:pt x="604" y="1945"/>
                  </a:lnTo>
                  <a:lnTo>
                    <a:pt x="553" y="1955"/>
                  </a:lnTo>
                  <a:lnTo>
                    <a:pt x="504" y="1972"/>
                  </a:lnTo>
                  <a:lnTo>
                    <a:pt x="458" y="1995"/>
                  </a:lnTo>
                  <a:lnTo>
                    <a:pt x="416" y="2024"/>
                  </a:lnTo>
                  <a:lnTo>
                    <a:pt x="378" y="2057"/>
                  </a:lnTo>
                  <a:lnTo>
                    <a:pt x="346" y="2094"/>
                  </a:lnTo>
                  <a:lnTo>
                    <a:pt x="317" y="2136"/>
                  </a:lnTo>
                  <a:lnTo>
                    <a:pt x="294" y="2182"/>
                  </a:lnTo>
                  <a:lnTo>
                    <a:pt x="277" y="2231"/>
                  </a:lnTo>
                  <a:lnTo>
                    <a:pt x="266" y="2283"/>
                  </a:lnTo>
                  <a:lnTo>
                    <a:pt x="263" y="2335"/>
                  </a:lnTo>
                  <a:lnTo>
                    <a:pt x="260" y="2346"/>
                  </a:lnTo>
                  <a:lnTo>
                    <a:pt x="254" y="2356"/>
                  </a:lnTo>
                  <a:lnTo>
                    <a:pt x="246" y="2362"/>
                  </a:lnTo>
                  <a:lnTo>
                    <a:pt x="235" y="2364"/>
                  </a:lnTo>
                  <a:lnTo>
                    <a:pt x="115" y="2364"/>
                  </a:lnTo>
                  <a:lnTo>
                    <a:pt x="89" y="2361"/>
                  </a:lnTo>
                  <a:lnTo>
                    <a:pt x="65" y="2352"/>
                  </a:lnTo>
                  <a:lnTo>
                    <a:pt x="43" y="2339"/>
                  </a:lnTo>
                  <a:lnTo>
                    <a:pt x="25" y="2321"/>
                  </a:lnTo>
                  <a:lnTo>
                    <a:pt x="12" y="2299"/>
                  </a:lnTo>
                  <a:lnTo>
                    <a:pt x="4" y="2275"/>
                  </a:lnTo>
                  <a:lnTo>
                    <a:pt x="0" y="2249"/>
                  </a:lnTo>
                  <a:lnTo>
                    <a:pt x="0" y="1193"/>
                  </a:lnTo>
                  <a:lnTo>
                    <a:pt x="4" y="1166"/>
                  </a:lnTo>
                  <a:lnTo>
                    <a:pt x="12" y="1142"/>
                  </a:lnTo>
                  <a:lnTo>
                    <a:pt x="25" y="1121"/>
                  </a:lnTo>
                  <a:lnTo>
                    <a:pt x="43" y="1103"/>
                  </a:lnTo>
                  <a:lnTo>
                    <a:pt x="65" y="1090"/>
                  </a:lnTo>
                  <a:lnTo>
                    <a:pt x="89" y="1081"/>
                  </a:lnTo>
                  <a:lnTo>
                    <a:pt x="115" y="1078"/>
                  </a:lnTo>
                  <a:lnTo>
                    <a:pt x="382" y="1078"/>
                  </a:lnTo>
                  <a:lnTo>
                    <a:pt x="382" y="165"/>
                  </a:lnTo>
                  <a:lnTo>
                    <a:pt x="385" y="132"/>
                  </a:lnTo>
                  <a:lnTo>
                    <a:pt x="395" y="100"/>
                  </a:lnTo>
                  <a:lnTo>
                    <a:pt x="409" y="73"/>
                  </a:lnTo>
                  <a:lnTo>
                    <a:pt x="430" y="48"/>
                  </a:lnTo>
                  <a:lnTo>
                    <a:pt x="455" y="28"/>
                  </a:lnTo>
                  <a:lnTo>
                    <a:pt x="482" y="13"/>
                  </a:lnTo>
                  <a:lnTo>
                    <a:pt x="514" y="3"/>
                  </a:lnTo>
                  <a:lnTo>
                    <a:pt x="5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8" name="Freeform 18">
              <a:extLst>
                <a:ext uri="{FF2B5EF4-FFF2-40B4-BE49-F238E27FC236}">
                  <a16:creationId xmlns:a16="http://schemas.microsoft.com/office/drawing/2014/main" id="{3B936FFD-7418-4ADE-A513-B5F0FDB06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56076" y="2271713"/>
              <a:ext cx="265113" cy="265113"/>
            </a:xfrm>
            <a:custGeom>
              <a:avLst/>
              <a:gdLst>
                <a:gd name="T0" fmla="*/ 50 w 835"/>
                <a:gd name="T1" fmla="*/ 0 h 834"/>
                <a:gd name="T2" fmla="*/ 783 w 835"/>
                <a:gd name="T3" fmla="*/ 0 h 834"/>
                <a:gd name="T4" fmla="*/ 800 w 835"/>
                <a:gd name="T5" fmla="*/ 2 h 834"/>
                <a:gd name="T6" fmla="*/ 815 w 835"/>
                <a:gd name="T7" fmla="*/ 10 h 834"/>
                <a:gd name="T8" fmla="*/ 825 w 835"/>
                <a:gd name="T9" fmla="*/ 20 h 834"/>
                <a:gd name="T10" fmla="*/ 833 w 835"/>
                <a:gd name="T11" fmla="*/ 35 h 834"/>
                <a:gd name="T12" fmla="*/ 835 w 835"/>
                <a:gd name="T13" fmla="*/ 52 h 834"/>
                <a:gd name="T14" fmla="*/ 835 w 835"/>
                <a:gd name="T15" fmla="*/ 784 h 834"/>
                <a:gd name="T16" fmla="*/ 833 w 835"/>
                <a:gd name="T17" fmla="*/ 800 h 834"/>
                <a:gd name="T18" fmla="*/ 825 w 835"/>
                <a:gd name="T19" fmla="*/ 814 h 834"/>
                <a:gd name="T20" fmla="*/ 815 w 835"/>
                <a:gd name="T21" fmla="*/ 825 h 834"/>
                <a:gd name="T22" fmla="*/ 800 w 835"/>
                <a:gd name="T23" fmla="*/ 832 h 834"/>
                <a:gd name="T24" fmla="*/ 783 w 835"/>
                <a:gd name="T25" fmla="*/ 834 h 834"/>
                <a:gd name="T26" fmla="*/ 50 w 835"/>
                <a:gd name="T27" fmla="*/ 834 h 834"/>
                <a:gd name="T28" fmla="*/ 35 w 835"/>
                <a:gd name="T29" fmla="*/ 832 h 834"/>
                <a:gd name="T30" fmla="*/ 20 w 835"/>
                <a:gd name="T31" fmla="*/ 825 h 834"/>
                <a:gd name="T32" fmla="*/ 9 w 835"/>
                <a:gd name="T33" fmla="*/ 814 h 834"/>
                <a:gd name="T34" fmla="*/ 2 w 835"/>
                <a:gd name="T35" fmla="*/ 800 h 834"/>
                <a:gd name="T36" fmla="*/ 0 w 835"/>
                <a:gd name="T37" fmla="*/ 784 h 834"/>
                <a:gd name="T38" fmla="*/ 0 w 835"/>
                <a:gd name="T39" fmla="*/ 52 h 834"/>
                <a:gd name="T40" fmla="*/ 2 w 835"/>
                <a:gd name="T41" fmla="*/ 35 h 834"/>
                <a:gd name="T42" fmla="*/ 9 w 835"/>
                <a:gd name="T43" fmla="*/ 20 h 834"/>
                <a:gd name="T44" fmla="*/ 20 w 835"/>
                <a:gd name="T45" fmla="*/ 10 h 834"/>
                <a:gd name="T46" fmla="*/ 35 w 835"/>
                <a:gd name="T47" fmla="*/ 2 h 834"/>
                <a:gd name="T48" fmla="*/ 50 w 835"/>
                <a:gd name="T4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35" h="834">
                  <a:moveTo>
                    <a:pt x="50" y="0"/>
                  </a:moveTo>
                  <a:lnTo>
                    <a:pt x="783" y="0"/>
                  </a:lnTo>
                  <a:lnTo>
                    <a:pt x="800" y="2"/>
                  </a:lnTo>
                  <a:lnTo>
                    <a:pt x="815" y="10"/>
                  </a:lnTo>
                  <a:lnTo>
                    <a:pt x="825" y="20"/>
                  </a:lnTo>
                  <a:lnTo>
                    <a:pt x="833" y="35"/>
                  </a:lnTo>
                  <a:lnTo>
                    <a:pt x="835" y="52"/>
                  </a:lnTo>
                  <a:lnTo>
                    <a:pt x="835" y="784"/>
                  </a:lnTo>
                  <a:lnTo>
                    <a:pt x="833" y="800"/>
                  </a:lnTo>
                  <a:lnTo>
                    <a:pt x="825" y="814"/>
                  </a:lnTo>
                  <a:lnTo>
                    <a:pt x="815" y="825"/>
                  </a:lnTo>
                  <a:lnTo>
                    <a:pt x="800" y="832"/>
                  </a:lnTo>
                  <a:lnTo>
                    <a:pt x="783" y="834"/>
                  </a:lnTo>
                  <a:lnTo>
                    <a:pt x="50" y="834"/>
                  </a:lnTo>
                  <a:lnTo>
                    <a:pt x="35" y="832"/>
                  </a:lnTo>
                  <a:lnTo>
                    <a:pt x="20" y="825"/>
                  </a:lnTo>
                  <a:lnTo>
                    <a:pt x="9" y="814"/>
                  </a:lnTo>
                  <a:lnTo>
                    <a:pt x="2" y="800"/>
                  </a:lnTo>
                  <a:lnTo>
                    <a:pt x="0" y="784"/>
                  </a:lnTo>
                  <a:lnTo>
                    <a:pt x="0" y="52"/>
                  </a:lnTo>
                  <a:lnTo>
                    <a:pt x="2" y="35"/>
                  </a:lnTo>
                  <a:lnTo>
                    <a:pt x="9" y="20"/>
                  </a:lnTo>
                  <a:lnTo>
                    <a:pt x="20" y="10"/>
                  </a:lnTo>
                  <a:lnTo>
                    <a:pt x="35" y="2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79" name="Freeform 19">
              <a:extLst>
                <a:ext uri="{FF2B5EF4-FFF2-40B4-BE49-F238E27FC236}">
                  <a16:creationId xmlns:a16="http://schemas.microsoft.com/office/drawing/2014/main" id="{78A1A543-EAEB-422E-BB95-151B4B36F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56076" y="1941513"/>
              <a:ext cx="265113" cy="263525"/>
            </a:xfrm>
            <a:custGeom>
              <a:avLst/>
              <a:gdLst>
                <a:gd name="T0" fmla="*/ 50 w 835"/>
                <a:gd name="T1" fmla="*/ 0 h 834"/>
                <a:gd name="T2" fmla="*/ 783 w 835"/>
                <a:gd name="T3" fmla="*/ 0 h 834"/>
                <a:gd name="T4" fmla="*/ 800 w 835"/>
                <a:gd name="T5" fmla="*/ 2 h 834"/>
                <a:gd name="T6" fmla="*/ 815 w 835"/>
                <a:gd name="T7" fmla="*/ 9 h 834"/>
                <a:gd name="T8" fmla="*/ 825 w 835"/>
                <a:gd name="T9" fmla="*/ 20 h 834"/>
                <a:gd name="T10" fmla="*/ 833 w 835"/>
                <a:gd name="T11" fmla="*/ 34 h 834"/>
                <a:gd name="T12" fmla="*/ 835 w 835"/>
                <a:gd name="T13" fmla="*/ 51 h 834"/>
                <a:gd name="T14" fmla="*/ 835 w 835"/>
                <a:gd name="T15" fmla="*/ 784 h 834"/>
                <a:gd name="T16" fmla="*/ 833 w 835"/>
                <a:gd name="T17" fmla="*/ 799 h 834"/>
                <a:gd name="T18" fmla="*/ 825 w 835"/>
                <a:gd name="T19" fmla="*/ 814 h 834"/>
                <a:gd name="T20" fmla="*/ 815 w 835"/>
                <a:gd name="T21" fmla="*/ 825 h 834"/>
                <a:gd name="T22" fmla="*/ 800 w 835"/>
                <a:gd name="T23" fmla="*/ 832 h 834"/>
                <a:gd name="T24" fmla="*/ 783 w 835"/>
                <a:gd name="T25" fmla="*/ 834 h 834"/>
                <a:gd name="T26" fmla="*/ 50 w 835"/>
                <a:gd name="T27" fmla="*/ 834 h 834"/>
                <a:gd name="T28" fmla="*/ 35 w 835"/>
                <a:gd name="T29" fmla="*/ 832 h 834"/>
                <a:gd name="T30" fmla="*/ 20 w 835"/>
                <a:gd name="T31" fmla="*/ 825 h 834"/>
                <a:gd name="T32" fmla="*/ 9 w 835"/>
                <a:gd name="T33" fmla="*/ 814 h 834"/>
                <a:gd name="T34" fmla="*/ 2 w 835"/>
                <a:gd name="T35" fmla="*/ 799 h 834"/>
                <a:gd name="T36" fmla="*/ 0 w 835"/>
                <a:gd name="T37" fmla="*/ 784 h 834"/>
                <a:gd name="T38" fmla="*/ 0 w 835"/>
                <a:gd name="T39" fmla="*/ 51 h 834"/>
                <a:gd name="T40" fmla="*/ 2 w 835"/>
                <a:gd name="T41" fmla="*/ 34 h 834"/>
                <a:gd name="T42" fmla="*/ 9 w 835"/>
                <a:gd name="T43" fmla="*/ 20 h 834"/>
                <a:gd name="T44" fmla="*/ 20 w 835"/>
                <a:gd name="T45" fmla="*/ 9 h 834"/>
                <a:gd name="T46" fmla="*/ 35 w 835"/>
                <a:gd name="T47" fmla="*/ 2 h 834"/>
                <a:gd name="T48" fmla="*/ 50 w 835"/>
                <a:gd name="T49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35" h="834">
                  <a:moveTo>
                    <a:pt x="50" y="0"/>
                  </a:moveTo>
                  <a:lnTo>
                    <a:pt x="783" y="0"/>
                  </a:lnTo>
                  <a:lnTo>
                    <a:pt x="800" y="2"/>
                  </a:lnTo>
                  <a:lnTo>
                    <a:pt x="815" y="9"/>
                  </a:lnTo>
                  <a:lnTo>
                    <a:pt x="825" y="20"/>
                  </a:lnTo>
                  <a:lnTo>
                    <a:pt x="833" y="34"/>
                  </a:lnTo>
                  <a:lnTo>
                    <a:pt x="835" y="51"/>
                  </a:lnTo>
                  <a:lnTo>
                    <a:pt x="835" y="784"/>
                  </a:lnTo>
                  <a:lnTo>
                    <a:pt x="833" y="799"/>
                  </a:lnTo>
                  <a:lnTo>
                    <a:pt x="825" y="814"/>
                  </a:lnTo>
                  <a:lnTo>
                    <a:pt x="815" y="825"/>
                  </a:lnTo>
                  <a:lnTo>
                    <a:pt x="800" y="832"/>
                  </a:lnTo>
                  <a:lnTo>
                    <a:pt x="783" y="834"/>
                  </a:lnTo>
                  <a:lnTo>
                    <a:pt x="50" y="834"/>
                  </a:lnTo>
                  <a:lnTo>
                    <a:pt x="35" y="832"/>
                  </a:lnTo>
                  <a:lnTo>
                    <a:pt x="20" y="825"/>
                  </a:lnTo>
                  <a:lnTo>
                    <a:pt x="9" y="814"/>
                  </a:lnTo>
                  <a:lnTo>
                    <a:pt x="2" y="799"/>
                  </a:lnTo>
                  <a:lnTo>
                    <a:pt x="0" y="784"/>
                  </a:lnTo>
                  <a:lnTo>
                    <a:pt x="0" y="51"/>
                  </a:lnTo>
                  <a:lnTo>
                    <a:pt x="2" y="34"/>
                  </a:lnTo>
                  <a:lnTo>
                    <a:pt x="9" y="20"/>
                  </a:lnTo>
                  <a:lnTo>
                    <a:pt x="20" y="9"/>
                  </a:lnTo>
                  <a:lnTo>
                    <a:pt x="35" y="2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280" name="TextBox 279">
            <a:extLst>
              <a:ext uri="{FF2B5EF4-FFF2-40B4-BE49-F238E27FC236}">
                <a16:creationId xmlns:a16="http://schemas.microsoft.com/office/drawing/2014/main" id="{8E6366AE-19DB-4A71-95EA-73401C0621DA}"/>
              </a:ext>
            </a:extLst>
          </p:cNvPr>
          <p:cNvSpPr txBox="1"/>
          <p:nvPr/>
        </p:nvSpPr>
        <p:spPr>
          <a:xfrm>
            <a:off x="2083353" y="1860093"/>
            <a:ext cx="538609" cy="184666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Forklifts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FC45A5FC-4322-4D8A-B16D-502AD7F2078E}"/>
              </a:ext>
            </a:extLst>
          </p:cNvPr>
          <p:cNvSpPr txBox="1"/>
          <p:nvPr/>
        </p:nvSpPr>
        <p:spPr>
          <a:xfrm>
            <a:off x="4043888" y="2046049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 Medium and large cars</a:t>
            </a:r>
          </a:p>
        </p:txBody>
      </p: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D29B3ED8-7E59-462D-9E9E-BE6D31C33479}"/>
              </a:ext>
            </a:extLst>
          </p:cNvPr>
          <p:cNvGrpSpPr/>
          <p:nvPr/>
        </p:nvGrpSpPr>
        <p:grpSpPr>
          <a:xfrm>
            <a:off x="3162639" y="1996121"/>
            <a:ext cx="525016" cy="182253"/>
            <a:chOff x="235029" y="996483"/>
            <a:chExt cx="3781436" cy="1252448"/>
          </a:xfrm>
          <a:solidFill>
            <a:schemeClr val="accent4"/>
          </a:solidFill>
        </p:grpSpPr>
        <p:sp>
          <p:nvSpPr>
            <p:cNvPr id="286" name="Oval 22">
              <a:extLst>
                <a:ext uri="{FF2B5EF4-FFF2-40B4-BE49-F238E27FC236}">
                  <a16:creationId xmlns:a16="http://schemas.microsoft.com/office/drawing/2014/main" id="{59506B59-3E69-4C8E-90EB-00B9100C34F6}"/>
                </a:ext>
              </a:extLst>
            </p:cNvPr>
            <p:cNvSpPr>
              <a:spLocks/>
            </p:cNvSpPr>
            <p:nvPr/>
          </p:nvSpPr>
          <p:spPr>
            <a:xfrm>
              <a:off x="235029" y="1036681"/>
              <a:ext cx="3781436" cy="1212250"/>
            </a:xfrm>
            <a:custGeom>
              <a:avLst/>
              <a:gdLst>
                <a:gd name="connsiteX0" fmla="*/ 5116984 w 5941705"/>
                <a:gd name="connsiteY0" fmla="*/ 1546278 h 1904786"/>
                <a:gd name="connsiteX1" fmla="*/ 5120066 w 5941705"/>
                <a:gd name="connsiteY1" fmla="*/ 1777138 h 1904786"/>
                <a:gd name="connsiteX2" fmla="*/ 5282005 w 5941705"/>
                <a:gd name="connsiteY2" fmla="*/ 1709631 h 1904786"/>
                <a:gd name="connsiteX3" fmla="*/ 5116984 w 5941705"/>
                <a:gd name="connsiteY3" fmla="*/ 1546278 h 1904786"/>
                <a:gd name="connsiteX4" fmla="*/ 1390021 w 5941705"/>
                <a:gd name="connsiteY4" fmla="*/ 1546278 h 1904786"/>
                <a:gd name="connsiteX5" fmla="*/ 1393103 w 5941705"/>
                <a:gd name="connsiteY5" fmla="*/ 1777138 h 1904786"/>
                <a:gd name="connsiteX6" fmla="*/ 1555042 w 5941705"/>
                <a:gd name="connsiteY6" fmla="*/ 1709631 h 1904786"/>
                <a:gd name="connsiteX7" fmla="*/ 1390021 w 5941705"/>
                <a:gd name="connsiteY7" fmla="*/ 1546278 h 1904786"/>
                <a:gd name="connsiteX8" fmla="*/ 5046770 w 5941705"/>
                <a:gd name="connsiteY8" fmla="*/ 1545233 h 1904786"/>
                <a:gd name="connsiteX9" fmla="*/ 4882001 w 5941705"/>
                <a:gd name="connsiteY9" fmla="*/ 1711685 h 1904786"/>
                <a:gd name="connsiteX10" fmla="*/ 5049877 w 5941705"/>
                <a:gd name="connsiteY10" fmla="*/ 1777981 h 1904786"/>
                <a:gd name="connsiteX11" fmla="*/ 5046770 w 5941705"/>
                <a:gd name="connsiteY11" fmla="*/ 1545233 h 1904786"/>
                <a:gd name="connsiteX12" fmla="*/ 1319807 w 5941705"/>
                <a:gd name="connsiteY12" fmla="*/ 1545233 h 1904786"/>
                <a:gd name="connsiteX13" fmla="*/ 1155038 w 5941705"/>
                <a:gd name="connsiteY13" fmla="*/ 1711685 h 1904786"/>
                <a:gd name="connsiteX14" fmla="*/ 1322914 w 5941705"/>
                <a:gd name="connsiteY14" fmla="*/ 1777981 h 1904786"/>
                <a:gd name="connsiteX15" fmla="*/ 1319807 w 5941705"/>
                <a:gd name="connsiteY15" fmla="*/ 1545233 h 1904786"/>
                <a:gd name="connsiteX16" fmla="*/ 5166423 w 5941705"/>
                <a:gd name="connsiteY16" fmla="*/ 1496448 h 1904786"/>
                <a:gd name="connsiteX17" fmla="*/ 5331884 w 5941705"/>
                <a:gd name="connsiteY17" fmla="*/ 1660237 h 1904786"/>
                <a:gd name="connsiteX18" fmla="*/ 5400288 w 5941705"/>
                <a:gd name="connsiteY18" fmla="*/ 1497346 h 1904786"/>
                <a:gd name="connsiteX19" fmla="*/ 5166423 w 5941705"/>
                <a:gd name="connsiteY19" fmla="*/ 1496448 h 1904786"/>
                <a:gd name="connsiteX20" fmla="*/ 1439460 w 5941705"/>
                <a:gd name="connsiteY20" fmla="*/ 1496448 h 1904786"/>
                <a:gd name="connsiteX21" fmla="*/ 1604921 w 5941705"/>
                <a:gd name="connsiteY21" fmla="*/ 1660237 h 1904786"/>
                <a:gd name="connsiteX22" fmla="*/ 1673325 w 5941705"/>
                <a:gd name="connsiteY22" fmla="*/ 1497346 h 1904786"/>
                <a:gd name="connsiteX23" fmla="*/ 1439460 w 5941705"/>
                <a:gd name="connsiteY23" fmla="*/ 1496448 h 1904786"/>
                <a:gd name="connsiteX24" fmla="*/ 4760955 w 5941705"/>
                <a:gd name="connsiteY24" fmla="*/ 1494892 h 1904786"/>
                <a:gd name="connsiteX25" fmla="*/ 4831688 w 5941705"/>
                <a:gd name="connsiteY25" fmla="*/ 1662733 h 1904786"/>
                <a:gd name="connsiteX26" fmla="*/ 4996937 w 5941705"/>
                <a:gd name="connsiteY26" fmla="*/ 1495798 h 1904786"/>
                <a:gd name="connsiteX27" fmla="*/ 4760955 w 5941705"/>
                <a:gd name="connsiteY27" fmla="*/ 1494892 h 1904786"/>
                <a:gd name="connsiteX28" fmla="*/ 1033992 w 5941705"/>
                <a:gd name="connsiteY28" fmla="*/ 1494892 h 1904786"/>
                <a:gd name="connsiteX29" fmla="*/ 1104725 w 5941705"/>
                <a:gd name="connsiteY29" fmla="*/ 1662733 h 1904786"/>
                <a:gd name="connsiteX30" fmla="*/ 1269974 w 5941705"/>
                <a:gd name="connsiteY30" fmla="*/ 1495798 h 1904786"/>
                <a:gd name="connsiteX31" fmla="*/ 1033992 w 5941705"/>
                <a:gd name="connsiteY31" fmla="*/ 1494892 h 1904786"/>
                <a:gd name="connsiteX32" fmla="*/ 4829608 w 5941705"/>
                <a:gd name="connsiteY32" fmla="*/ 1261807 h 1904786"/>
                <a:gd name="connsiteX33" fmla="*/ 4761204 w 5941705"/>
                <a:gd name="connsiteY33" fmla="*/ 1424699 h 1904786"/>
                <a:gd name="connsiteX34" fmla="*/ 4995069 w 5941705"/>
                <a:gd name="connsiteY34" fmla="*/ 1425596 h 1904786"/>
                <a:gd name="connsiteX35" fmla="*/ 4829608 w 5941705"/>
                <a:gd name="connsiteY35" fmla="*/ 1261807 h 1904786"/>
                <a:gd name="connsiteX36" fmla="*/ 1102645 w 5941705"/>
                <a:gd name="connsiteY36" fmla="*/ 1261807 h 1904786"/>
                <a:gd name="connsiteX37" fmla="*/ 1034241 w 5941705"/>
                <a:gd name="connsiteY37" fmla="*/ 1424699 h 1904786"/>
                <a:gd name="connsiteX38" fmla="*/ 1268106 w 5941705"/>
                <a:gd name="connsiteY38" fmla="*/ 1425596 h 1904786"/>
                <a:gd name="connsiteX39" fmla="*/ 1102645 w 5941705"/>
                <a:gd name="connsiteY39" fmla="*/ 1261807 h 1904786"/>
                <a:gd name="connsiteX40" fmla="*/ 5329803 w 5941705"/>
                <a:gd name="connsiteY40" fmla="*/ 1259310 h 1904786"/>
                <a:gd name="connsiteX41" fmla="*/ 5164554 w 5941705"/>
                <a:gd name="connsiteY41" fmla="*/ 1426246 h 1904786"/>
                <a:gd name="connsiteX42" fmla="*/ 5400538 w 5941705"/>
                <a:gd name="connsiteY42" fmla="*/ 1427152 h 1904786"/>
                <a:gd name="connsiteX43" fmla="*/ 5329803 w 5941705"/>
                <a:gd name="connsiteY43" fmla="*/ 1259310 h 1904786"/>
                <a:gd name="connsiteX44" fmla="*/ 1602840 w 5941705"/>
                <a:gd name="connsiteY44" fmla="*/ 1259310 h 1904786"/>
                <a:gd name="connsiteX45" fmla="*/ 1437591 w 5941705"/>
                <a:gd name="connsiteY45" fmla="*/ 1426246 h 1904786"/>
                <a:gd name="connsiteX46" fmla="*/ 1673575 w 5941705"/>
                <a:gd name="connsiteY46" fmla="*/ 1427152 h 1904786"/>
                <a:gd name="connsiteX47" fmla="*/ 1602840 w 5941705"/>
                <a:gd name="connsiteY47" fmla="*/ 1259310 h 1904786"/>
                <a:gd name="connsiteX48" fmla="*/ 5041427 w 5941705"/>
                <a:gd name="connsiteY48" fmla="*/ 1144907 h 1904786"/>
                <a:gd name="connsiteX49" fmla="*/ 4879487 w 5941705"/>
                <a:gd name="connsiteY49" fmla="*/ 1212413 h 1904786"/>
                <a:gd name="connsiteX50" fmla="*/ 5044508 w 5941705"/>
                <a:gd name="connsiteY50" fmla="*/ 1375766 h 1904786"/>
                <a:gd name="connsiteX51" fmla="*/ 5041427 w 5941705"/>
                <a:gd name="connsiteY51" fmla="*/ 1144907 h 1904786"/>
                <a:gd name="connsiteX52" fmla="*/ 1314464 w 5941705"/>
                <a:gd name="connsiteY52" fmla="*/ 1144907 h 1904786"/>
                <a:gd name="connsiteX53" fmla="*/ 1152524 w 5941705"/>
                <a:gd name="connsiteY53" fmla="*/ 1212413 h 1904786"/>
                <a:gd name="connsiteX54" fmla="*/ 1317545 w 5941705"/>
                <a:gd name="connsiteY54" fmla="*/ 1375766 h 1904786"/>
                <a:gd name="connsiteX55" fmla="*/ 1314464 w 5941705"/>
                <a:gd name="connsiteY55" fmla="*/ 1144907 h 1904786"/>
                <a:gd name="connsiteX56" fmla="*/ 5111615 w 5941705"/>
                <a:gd name="connsiteY56" fmla="*/ 1144063 h 1904786"/>
                <a:gd name="connsiteX57" fmla="*/ 5114722 w 5941705"/>
                <a:gd name="connsiteY57" fmla="*/ 1376809 h 1904786"/>
                <a:gd name="connsiteX58" fmla="*/ 5279490 w 5941705"/>
                <a:gd name="connsiteY58" fmla="*/ 1210358 h 1904786"/>
                <a:gd name="connsiteX59" fmla="*/ 5111615 w 5941705"/>
                <a:gd name="connsiteY59" fmla="*/ 1144063 h 1904786"/>
                <a:gd name="connsiteX60" fmla="*/ 1384652 w 5941705"/>
                <a:gd name="connsiteY60" fmla="*/ 1144063 h 1904786"/>
                <a:gd name="connsiteX61" fmla="*/ 1387759 w 5941705"/>
                <a:gd name="connsiteY61" fmla="*/ 1376809 h 1904786"/>
                <a:gd name="connsiteX62" fmla="*/ 1552527 w 5941705"/>
                <a:gd name="connsiteY62" fmla="*/ 1210358 h 1904786"/>
                <a:gd name="connsiteX63" fmla="*/ 1384652 w 5941705"/>
                <a:gd name="connsiteY63" fmla="*/ 1144063 h 1904786"/>
                <a:gd name="connsiteX64" fmla="*/ 5080745 w 5941705"/>
                <a:gd name="connsiteY64" fmla="*/ 1017258 h 1904786"/>
                <a:gd name="connsiteX65" fmla="*/ 5239854 w 5941705"/>
                <a:gd name="connsiteY65" fmla="*/ 1048636 h 1904786"/>
                <a:gd name="connsiteX66" fmla="*/ 5281583 w 5941705"/>
                <a:gd name="connsiteY66" fmla="*/ 1067959 h 1904786"/>
                <a:gd name="connsiteX67" fmla="*/ 5297306 w 5941705"/>
                <a:gd name="connsiteY67" fmla="*/ 1076356 h 1904786"/>
                <a:gd name="connsiteX68" fmla="*/ 5397320 w 5941705"/>
                <a:gd name="connsiteY68" fmla="*/ 1150045 h 1904786"/>
                <a:gd name="connsiteX69" fmla="*/ 5474593 w 5941705"/>
                <a:gd name="connsiteY69" fmla="*/ 1262558 h 1904786"/>
                <a:gd name="connsiteX70" fmla="*/ 5490691 w 5941705"/>
                <a:gd name="connsiteY70" fmla="*/ 1293360 h 1904786"/>
                <a:gd name="connsiteX71" fmla="*/ 5491006 w 5941705"/>
                <a:gd name="connsiteY71" fmla="*/ 1293977 h 1904786"/>
                <a:gd name="connsiteX72" fmla="*/ 5497349 w 5941705"/>
                <a:gd name="connsiteY72" fmla="*/ 1314418 h 1904786"/>
                <a:gd name="connsiteX73" fmla="*/ 5497968 w 5941705"/>
                <a:gd name="connsiteY73" fmla="*/ 1316570 h 1904786"/>
                <a:gd name="connsiteX74" fmla="*/ 5516297 w 5941705"/>
                <a:gd name="connsiteY74" fmla="*/ 1380355 h 1904786"/>
                <a:gd name="connsiteX75" fmla="*/ 5524510 w 5941705"/>
                <a:gd name="connsiteY75" fmla="*/ 1461022 h 1904786"/>
                <a:gd name="connsiteX76" fmla="*/ 5516344 w 5941705"/>
                <a:gd name="connsiteY76" fmla="*/ 1541229 h 1904786"/>
                <a:gd name="connsiteX77" fmla="*/ 5495561 w 5941705"/>
                <a:gd name="connsiteY77" fmla="*/ 1613150 h 1904786"/>
                <a:gd name="connsiteX78" fmla="*/ 5490646 w 5941705"/>
                <a:gd name="connsiteY78" fmla="*/ 1628827 h 1904786"/>
                <a:gd name="connsiteX79" fmla="*/ 5490645 w 5941705"/>
                <a:gd name="connsiteY79" fmla="*/ 1628828 h 1904786"/>
                <a:gd name="connsiteX80" fmla="*/ 5479922 w 5941705"/>
                <a:gd name="connsiteY80" fmla="*/ 1649766 h 1904786"/>
                <a:gd name="connsiteX81" fmla="*/ 5397118 w 5941705"/>
                <a:gd name="connsiteY81" fmla="*/ 1772206 h 1904786"/>
                <a:gd name="connsiteX82" fmla="*/ 5262748 w 5941705"/>
                <a:gd name="connsiteY82" fmla="*/ 1863894 h 1904786"/>
                <a:gd name="connsiteX83" fmla="*/ 5241483 w 5941705"/>
                <a:gd name="connsiteY83" fmla="*/ 1873138 h 1904786"/>
                <a:gd name="connsiteX84" fmla="*/ 5200496 w 5941705"/>
                <a:gd name="connsiteY84" fmla="*/ 1885988 h 1904786"/>
                <a:gd name="connsiteX85" fmla="*/ 5080745 w 5941705"/>
                <a:gd name="connsiteY85" fmla="*/ 1904786 h 1904786"/>
                <a:gd name="connsiteX86" fmla="*/ 4921634 w 5941705"/>
                <a:gd name="connsiteY86" fmla="*/ 1873407 h 1904786"/>
                <a:gd name="connsiteX87" fmla="*/ 4879900 w 5941705"/>
                <a:gd name="connsiteY87" fmla="*/ 1854082 h 1904786"/>
                <a:gd name="connsiteX88" fmla="*/ 4864179 w 5941705"/>
                <a:gd name="connsiteY88" fmla="*/ 1845686 h 1904786"/>
                <a:gd name="connsiteX89" fmla="*/ 4764170 w 5941705"/>
                <a:gd name="connsiteY89" fmla="*/ 1771999 h 1904786"/>
                <a:gd name="connsiteX90" fmla="*/ 4686830 w 5941705"/>
                <a:gd name="connsiteY90" fmla="*/ 1659360 h 1904786"/>
                <a:gd name="connsiteX91" fmla="*/ 4670805 w 5941705"/>
                <a:gd name="connsiteY91" fmla="*/ 1628694 h 1904786"/>
                <a:gd name="connsiteX92" fmla="*/ 4670488 w 5941705"/>
                <a:gd name="connsiteY92" fmla="*/ 1628075 h 1904786"/>
                <a:gd name="connsiteX93" fmla="*/ 4664123 w 5941705"/>
                <a:gd name="connsiteY93" fmla="*/ 1607561 h 1904786"/>
                <a:gd name="connsiteX94" fmla="*/ 4663511 w 5941705"/>
                <a:gd name="connsiteY94" fmla="*/ 1605430 h 1904786"/>
                <a:gd name="connsiteX95" fmla="*/ 4645193 w 5941705"/>
                <a:gd name="connsiteY95" fmla="*/ 1541668 h 1904786"/>
                <a:gd name="connsiteX96" fmla="*/ 4636982 w 5941705"/>
                <a:gd name="connsiteY96" fmla="*/ 1461022 h 1904786"/>
                <a:gd name="connsiteX97" fmla="*/ 4645149 w 5941705"/>
                <a:gd name="connsiteY97" fmla="*/ 1380815 h 1904786"/>
                <a:gd name="connsiteX98" fmla="*/ 4681610 w 5941705"/>
                <a:gd name="connsiteY98" fmla="*/ 1272206 h 1904786"/>
                <a:gd name="connsiteX99" fmla="*/ 4764374 w 5941705"/>
                <a:gd name="connsiteY99" fmla="*/ 1149838 h 1904786"/>
                <a:gd name="connsiteX100" fmla="*/ 4909454 w 5941705"/>
                <a:gd name="connsiteY100" fmla="*/ 1052278 h 1904786"/>
                <a:gd name="connsiteX101" fmla="*/ 5080745 w 5941705"/>
                <a:gd name="connsiteY101" fmla="*/ 1017258 h 1904786"/>
                <a:gd name="connsiteX102" fmla="*/ 1353782 w 5941705"/>
                <a:gd name="connsiteY102" fmla="*/ 1017258 h 1904786"/>
                <a:gd name="connsiteX103" fmla="*/ 1512891 w 5941705"/>
                <a:gd name="connsiteY103" fmla="*/ 1048636 h 1904786"/>
                <a:gd name="connsiteX104" fmla="*/ 1554620 w 5941705"/>
                <a:gd name="connsiteY104" fmla="*/ 1067959 h 1904786"/>
                <a:gd name="connsiteX105" fmla="*/ 1570343 w 5941705"/>
                <a:gd name="connsiteY105" fmla="*/ 1076356 h 1904786"/>
                <a:gd name="connsiteX106" fmla="*/ 1670357 w 5941705"/>
                <a:gd name="connsiteY106" fmla="*/ 1150045 h 1904786"/>
                <a:gd name="connsiteX107" fmla="*/ 1747630 w 5941705"/>
                <a:gd name="connsiteY107" fmla="*/ 1262558 h 1904786"/>
                <a:gd name="connsiteX108" fmla="*/ 1763728 w 5941705"/>
                <a:gd name="connsiteY108" fmla="*/ 1293360 h 1904786"/>
                <a:gd name="connsiteX109" fmla="*/ 1764043 w 5941705"/>
                <a:gd name="connsiteY109" fmla="*/ 1293977 h 1904786"/>
                <a:gd name="connsiteX110" fmla="*/ 1770386 w 5941705"/>
                <a:gd name="connsiteY110" fmla="*/ 1314418 h 1904786"/>
                <a:gd name="connsiteX111" fmla="*/ 1771005 w 5941705"/>
                <a:gd name="connsiteY111" fmla="*/ 1316570 h 1904786"/>
                <a:gd name="connsiteX112" fmla="*/ 1789334 w 5941705"/>
                <a:gd name="connsiteY112" fmla="*/ 1380355 h 1904786"/>
                <a:gd name="connsiteX113" fmla="*/ 1797547 w 5941705"/>
                <a:gd name="connsiteY113" fmla="*/ 1461022 h 1904786"/>
                <a:gd name="connsiteX114" fmla="*/ 1789381 w 5941705"/>
                <a:gd name="connsiteY114" fmla="*/ 1541229 h 1904786"/>
                <a:gd name="connsiteX115" fmla="*/ 1768598 w 5941705"/>
                <a:gd name="connsiteY115" fmla="*/ 1613150 h 1904786"/>
                <a:gd name="connsiteX116" fmla="*/ 1763683 w 5941705"/>
                <a:gd name="connsiteY116" fmla="*/ 1628827 h 1904786"/>
                <a:gd name="connsiteX117" fmla="*/ 1763682 w 5941705"/>
                <a:gd name="connsiteY117" fmla="*/ 1628828 h 1904786"/>
                <a:gd name="connsiteX118" fmla="*/ 1752959 w 5941705"/>
                <a:gd name="connsiteY118" fmla="*/ 1649766 h 1904786"/>
                <a:gd name="connsiteX119" fmla="*/ 1670155 w 5941705"/>
                <a:gd name="connsiteY119" fmla="*/ 1772206 h 1904786"/>
                <a:gd name="connsiteX120" fmla="*/ 1535785 w 5941705"/>
                <a:gd name="connsiteY120" fmla="*/ 1863894 h 1904786"/>
                <a:gd name="connsiteX121" fmla="*/ 1514520 w 5941705"/>
                <a:gd name="connsiteY121" fmla="*/ 1873138 h 1904786"/>
                <a:gd name="connsiteX122" fmla="*/ 1473533 w 5941705"/>
                <a:gd name="connsiteY122" fmla="*/ 1885988 h 1904786"/>
                <a:gd name="connsiteX123" fmla="*/ 1353782 w 5941705"/>
                <a:gd name="connsiteY123" fmla="*/ 1904786 h 1904786"/>
                <a:gd name="connsiteX124" fmla="*/ 1194671 w 5941705"/>
                <a:gd name="connsiteY124" fmla="*/ 1873407 h 1904786"/>
                <a:gd name="connsiteX125" fmla="*/ 1152937 w 5941705"/>
                <a:gd name="connsiteY125" fmla="*/ 1854082 h 1904786"/>
                <a:gd name="connsiteX126" fmla="*/ 1137216 w 5941705"/>
                <a:gd name="connsiteY126" fmla="*/ 1845686 h 1904786"/>
                <a:gd name="connsiteX127" fmla="*/ 1037207 w 5941705"/>
                <a:gd name="connsiteY127" fmla="*/ 1771999 h 1904786"/>
                <a:gd name="connsiteX128" fmla="*/ 959867 w 5941705"/>
                <a:gd name="connsiteY128" fmla="*/ 1659360 h 1904786"/>
                <a:gd name="connsiteX129" fmla="*/ 943842 w 5941705"/>
                <a:gd name="connsiteY129" fmla="*/ 1628694 h 1904786"/>
                <a:gd name="connsiteX130" fmla="*/ 943525 w 5941705"/>
                <a:gd name="connsiteY130" fmla="*/ 1628075 h 1904786"/>
                <a:gd name="connsiteX131" fmla="*/ 937160 w 5941705"/>
                <a:gd name="connsiteY131" fmla="*/ 1607561 h 1904786"/>
                <a:gd name="connsiteX132" fmla="*/ 936548 w 5941705"/>
                <a:gd name="connsiteY132" fmla="*/ 1605430 h 1904786"/>
                <a:gd name="connsiteX133" fmla="*/ 918230 w 5941705"/>
                <a:gd name="connsiteY133" fmla="*/ 1541668 h 1904786"/>
                <a:gd name="connsiteX134" fmla="*/ 910019 w 5941705"/>
                <a:gd name="connsiteY134" fmla="*/ 1461022 h 1904786"/>
                <a:gd name="connsiteX135" fmla="*/ 918186 w 5941705"/>
                <a:gd name="connsiteY135" fmla="*/ 1380815 h 1904786"/>
                <a:gd name="connsiteX136" fmla="*/ 954647 w 5941705"/>
                <a:gd name="connsiteY136" fmla="*/ 1272206 h 1904786"/>
                <a:gd name="connsiteX137" fmla="*/ 1037411 w 5941705"/>
                <a:gd name="connsiteY137" fmla="*/ 1149838 h 1904786"/>
                <a:gd name="connsiteX138" fmla="*/ 1182491 w 5941705"/>
                <a:gd name="connsiteY138" fmla="*/ 1052278 h 1904786"/>
                <a:gd name="connsiteX139" fmla="*/ 1353782 w 5941705"/>
                <a:gd name="connsiteY139" fmla="*/ 1017258 h 1904786"/>
                <a:gd name="connsiteX140" fmla="*/ 2733685 w 5941705"/>
                <a:gd name="connsiteY140" fmla="*/ 100269 h 1904786"/>
                <a:gd name="connsiteX141" fmla="*/ 2886085 w 5941705"/>
                <a:gd name="connsiteY141" fmla="*/ 610809 h 1904786"/>
                <a:gd name="connsiteX142" fmla="*/ 3754765 w 5941705"/>
                <a:gd name="connsiteY142" fmla="*/ 626049 h 1904786"/>
                <a:gd name="connsiteX143" fmla="*/ 3792865 w 5941705"/>
                <a:gd name="connsiteY143" fmla="*/ 435549 h 1904786"/>
                <a:gd name="connsiteX144" fmla="*/ 3277086 w 5941705"/>
                <a:gd name="connsiteY144" fmla="*/ 147418 h 1904786"/>
                <a:gd name="connsiteX145" fmla="*/ 2733685 w 5941705"/>
                <a:gd name="connsiteY145" fmla="*/ 100269 h 1904786"/>
                <a:gd name="connsiteX146" fmla="*/ 2558424 w 5941705"/>
                <a:gd name="connsiteY146" fmla="*/ 92649 h 1904786"/>
                <a:gd name="connsiteX147" fmla="*/ 2036454 w 5941705"/>
                <a:gd name="connsiteY147" fmla="*/ 102174 h 1904786"/>
                <a:gd name="connsiteX148" fmla="*/ 1407804 w 5941705"/>
                <a:gd name="connsiteY148" fmla="*/ 336489 h 1904786"/>
                <a:gd name="connsiteX149" fmla="*/ 1506864 w 5941705"/>
                <a:gd name="connsiteY149" fmla="*/ 572709 h 1904786"/>
                <a:gd name="connsiteX150" fmla="*/ 2657484 w 5941705"/>
                <a:gd name="connsiteY150" fmla="*/ 572709 h 1904786"/>
                <a:gd name="connsiteX151" fmla="*/ 2558424 w 5941705"/>
                <a:gd name="connsiteY151" fmla="*/ 92649 h 1904786"/>
                <a:gd name="connsiteX152" fmla="*/ 2588905 w 5941705"/>
                <a:gd name="connsiteY152" fmla="*/ 1208 h 1904786"/>
                <a:gd name="connsiteX153" fmla="*/ 3282325 w 5941705"/>
                <a:gd name="connsiteY153" fmla="*/ 62168 h 1904786"/>
                <a:gd name="connsiteX154" fmla="*/ 4265305 w 5941705"/>
                <a:gd name="connsiteY154" fmla="*/ 580328 h 1904786"/>
                <a:gd name="connsiteX155" fmla="*/ 5133985 w 5941705"/>
                <a:gd name="connsiteY155" fmla="*/ 656528 h 1904786"/>
                <a:gd name="connsiteX156" fmla="*/ 5850265 w 5941705"/>
                <a:gd name="connsiteY156" fmla="*/ 831788 h 1904786"/>
                <a:gd name="connsiteX157" fmla="*/ 5941705 w 5941705"/>
                <a:gd name="connsiteY157" fmla="*/ 1068008 h 1904786"/>
                <a:gd name="connsiteX158" fmla="*/ 5888365 w 5941705"/>
                <a:gd name="connsiteY158" fmla="*/ 1327088 h 1904786"/>
                <a:gd name="connsiteX159" fmla="*/ 5918845 w 5941705"/>
                <a:gd name="connsiteY159" fmla="*/ 1509968 h 1904786"/>
                <a:gd name="connsiteX160" fmla="*/ 5842645 w 5941705"/>
                <a:gd name="connsiteY160" fmla="*/ 1586168 h 1904786"/>
                <a:gd name="connsiteX161" fmla="*/ 5583565 w 5941705"/>
                <a:gd name="connsiteY161" fmla="*/ 1593788 h 1904786"/>
                <a:gd name="connsiteX162" fmla="*/ 5556953 w 5941705"/>
                <a:gd name="connsiteY162" fmla="*/ 1593734 h 1904786"/>
                <a:gd name="connsiteX163" fmla="*/ 5578894 w 5941705"/>
                <a:gd name="connsiteY163" fmla="*/ 1456629 h 1904786"/>
                <a:gd name="connsiteX164" fmla="*/ 5080748 w 5941705"/>
                <a:gd name="connsiteY164" fmla="*/ 963415 h 1904786"/>
                <a:gd name="connsiteX165" fmla="*/ 4582602 w 5941705"/>
                <a:gd name="connsiteY165" fmla="*/ 1456629 h 1904786"/>
                <a:gd name="connsiteX166" fmla="*/ 4603930 w 5941705"/>
                <a:gd name="connsiteY166" fmla="*/ 1591777 h 1904786"/>
                <a:gd name="connsiteX167" fmla="*/ 1872625 w 5941705"/>
                <a:gd name="connsiteY167" fmla="*/ 1586168 h 1904786"/>
                <a:gd name="connsiteX168" fmla="*/ 1833037 w 5941705"/>
                <a:gd name="connsiteY168" fmla="*/ 1584014 h 1904786"/>
                <a:gd name="connsiteX169" fmla="*/ 1851931 w 5941705"/>
                <a:gd name="connsiteY169" fmla="*/ 1456629 h 1904786"/>
                <a:gd name="connsiteX170" fmla="*/ 1353785 w 5941705"/>
                <a:gd name="connsiteY170" fmla="*/ 963415 h 1904786"/>
                <a:gd name="connsiteX171" fmla="*/ 855639 w 5941705"/>
                <a:gd name="connsiteY171" fmla="*/ 1456629 h 1904786"/>
                <a:gd name="connsiteX172" fmla="*/ 863570 w 5941705"/>
                <a:gd name="connsiteY172" fmla="*/ 1534523 h 1904786"/>
                <a:gd name="connsiteX173" fmla="*/ 809613 w 5941705"/>
                <a:gd name="connsiteY173" fmla="*/ 1528317 h 1904786"/>
                <a:gd name="connsiteX174" fmla="*/ 752485 w 5941705"/>
                <a:gd name="connsiteY174" fmla="*/ 1525208 h 1904786"/>
                <a:gd name="connsiteX175" fmla="*/ 752461 w 5941705"/>
                <a:gd name="connsiteY175" fmla="*/ 1521743 h 1904786"/>
                <a:gd name="connsiteX176" fmla="*/ 333498 w 5941705"/>
                <a:gd name="connsiteY176" fmla="*/ 1473553 h 1904786"/>
                <a:gd name="connsiteX177" fmla="*/ 270349 w 5941705"/>
                <a:gd name="connsiteY177" fmla="*/ 1452900 h 1904786"/>
                <a:gd name="connsiteX178" fmla="*/ 236237 w 5941705"/>
                <a:gd name="connsiteY178" fmla="*/ 1439523 h 1904786"/>
                <a:gd name="connsiteX179" fmla="*/ 0 w 5941705"/>
                <a:gd name="connsiteY179" fmla="*/ 1120182 h 1904786"/>
                <a:gd name="connsiteX180" fmla="*/ 142886 w 5941705"/>
                <a:gd name="connsiteY180" fmla="*/ 845826 h 1904786"/>
                <a:gd name="connsiteX181" fmla="*/ 142886 w 5941705"/>
                <a:gd name="connsiteY181" fmla="*/ 628909 h 1904786"/>
                <a:gd name="connsiteX182" fmla="*/ 183452 w 5941705"/>
                <a:gd name="connsiteY182" fmla="*/ 523374 h 1904786"/>
                <a:gd name="connsiteX183" fmla="*/ 309027 w 5941705"/>
                <a:gd name="connsiteY183" fmla="*/ 450734 h 1904786"/>
                <a:gd name="connsiteX184" fmla="*/ 767423 w 5941705"/>
                <a:gd name="connsiteY184" fmla="*/ 426525 h 1904786"/>
                <a:gd name="connsiteX185" fmla="*/ 1697365 w 5941705"/>
                <a:gd name="connsiteY185" fmla="*/ 54548 h 1904786"/>
                <a:gd name="connsiteX186" fmla="*/ 1910725 w 5941705"/>
                <a:gd name="connsiteY186" fmla="*/ 24068 h 1904786"/>
                <a:gd name="connsiteX187" fmla="*/ 2588905 w 5941705"/>
                <a:gd name="connsiteY187" fmla="*/ 1208 h 1904786"/>
                <a:gd name="connsiteX0" fmla="*/ 5116984 w 5941705"/>
                <a:gd name="connsiteY0" fmla="*/ 1548814 h 1907322"/>
                <a:gd name="connsiteX1" fmla="*/ 5120066 w 5941705"/>
                <a:gd name="connsiteY1" fmla="*/ 1779674 h 1907322"/>
                <a:gd name="connsiteX2" fmla="*/ 5282005 w 5941705"/>
                <a:gd name="connsiteY2" fmla="*/ 1712167 h 1907322"/>
                <a:gd name="connsiteX3" fmla="*/ 5116984 w 5941705"/>
                <a:gd name="connsiteY3" fmla="*/ 1548814 h 1907322"/>
                <a:gd name="connsiteX4" fmla="*/ 1390021 w 5941705"/>
                <a:gd name="connsiteY4" fmla="*/ 1548814 h 1907322"/>
                <a:gd name="connsiteX5" fmla="*/ 1393103 w 5941705"/>
                <a:gd name="connsiteY5" fmla="*/ 1779674 h 1907322"/>
                <a:gd name="connsiteX6" fmla="*/ 1555042 w 5941705"/>
                <a:gd name="connsiteY6" fmla="*/ 1712167 h 1907322"/>
                <a:gd name="connsiteX7" fmla="*/ 1390021 w 5941705"/>
                <a:gd name="connsiteY7" fmla="*/ 1548814 h 1907322"/>
                <a:gd name="connsiteX8" fmla="*/ 5046770 w 5941705"/>
                <a:gd name="connsiteY8" fmla="*/ 1547769 h 1907322"/>
                <a:gd name="connsiteX9" fmla="*/ 4882001 w 5941705"/>
                <a:gd name="connsiteY9" fmla="*/ 1714221 h 1907322"/>
                <a:gd name="connsiteX10" fmla="*/ 5049877 w 5941705"/>
                <a:gd name="connsiteY10" fmla="*/ 1780517 h 1907322"/>
                <a:gd name="connsiteX11" fmla="*/ 5046770 w 5941705"/>
                <a:gd name="connsiteY11" fmla="*/ 1547769 h 1907322"/>
                <a:gd name="connsiteX12" fmla="*/ 1319807 w 5941705"/>
                <a:gd name="connsiteY12" fmla="*/ 1547769 h 1907322"/>
                <a:gd name="connsiteX13" fmla="*/ 1155038 w 5941705"/>
                <a:gd name="connsiteY13" fmla="*/ 1714221 h 1907322"/>
                <a:gd name="connsiteX14" fmla="*/ 1322914 w 5941705"/>
                <a:gd name="connsiteY14" fmla="*/ 1780517 h 1907322"/>
                <a:gd name="connsiteX15" fmla="*/ 1319807 w 5941705"/>
                <a:gd name="connsiteY15" fmla="*/ 1547769 h 1907322"/>
                <a:gd name="connsiteX16" fmla="*/ 5166423 w 5941705"/>
                <a:gd name="connsiteY16" fmla="*/ 1498984 h 1907322"/>
                <a:gd name="connsiteX17" fmla="*/ 5331884 w 5941705"/>
                <a:gd name="connsiteY17" fmla="*/ 1662773 h 1907322"/>
                <a:gd name="connsiteX18" fmla="*/ 5400288 w 5941705"/>
                <a:gd name="connsiteY18" fmla="*/ 1499882 h 1907322"/>
                <a:gd name="connsiteX19" fmla="*/ 5166423 w 5941705"/>
                <a:gd name="connsiteY19" fmla="*/ 1498984 h 1907322"/>
                <a:gd name="connsiteX20" fmla="*/ 1439460 w 5941705"/>
                <a:gd name="connsiteY20" fmla="*/ 1498984 h 1907322"/>
                <a:gd name="connsiteX21" fmla="*/ 1604921 w 5941705"/>
                <a:gd name="connsiteY21" fmla="*/ 1662773 h 1907322"/>
                <a:gd name="connsiteX22" fmla="*/ 1673325 w 5941705"/>
                <a:gd name="connsiteY22" fmla="*/ 1499882 h 1907322"/>
                <a:gd name="connsiteX23" fmla="*/ 1439460 w 5941705"/>
                <a:gd name="connsiteY23" fmla="*/ 1498984 h 1907322"/>
                <a:gd name="connsiteX24" fmla="*/ 4760955 w 5941705"/>
                <a:gd name="connsiteY24" fmla="*/ 1497428 h 1907322"/>
                <a:gd name="connsiteX25" fmla="*/ 4831688 w 5941705"/>
                <a:gd name="connsiteY25" fmla="*/ 1665269 h 1907322"/>
                <a:gd name="connsiteX26" fmla="*/ 4996937 w 5941705"/>
                <a:gd name="connsiteY26" fmla="*/ 1498334 h 1907322"/>
                <a:gd name="connsiteX27" fmla="*/ 4760955 w 5941705"/>
                <a:gd name="connsiteY27" fmla="*/ 1497428 h 1907322"/>
                <a:gd name="connsiteX28" fmla="*/ 1033992 w 5941705"/>
                <a:gd name="connsiteY28" fmla="*/ 1497428 h 1907322"/>
                <a:gd name="connsiteX29" fmla="*/ 1104725 w 5941705"/>
                <a:gd name="connsiteY29" fmla="*/ 1665269 h 1907322"/>
                <a:gd name="connsiteX30" fmla="*/ 1269974 w 5941705"/>
                <a:gd name="connsiteY30" fmla="*/ 1498334 h 1907322"/>
                <a:gd name="connsiteX31" fmla="*/ 1033992 w 5941705"/>
                <a:gd name="connsiteY31" fmla="*/ 1497428 h 1907322"/>
                <a:gd name="connsiteX32" fmla="*/ 4829608 w 5941705"/>
                <a:gd name="connsiteY32" fmla="*/ 1264343 h 1907322"/>
                <a:gd name="connsiteX33" fmla="*/ 4761204 w 5941705"/>
                <a:gd name="connsiteY33" fmla="*/ 1427235 h 1907322"/>
                <a:gd name="connsiteX34" fmla="*/ 4995069 w 5941705"/>
                <a:gd name="connsiteY34" fmla="*/ 1428132 h 1907322"/>
                <a:gd name="connsiteX35" fmla="*/ 4829608 w 5941705"/>
                <a:gd name="connsiteY35" fmla="*/ 1264343 h 1907322"/>
                <a:gd name="connsiteX36" fmla="*/ 1102645 w 5941705"/>
                <a:gd name="connsiteY36" fmla="*/ 1264343 h 1907322"/>
                <a:gd name="connsiteX37" fmla="*/ 1034241 w 5941705"/>
                <a:gd name="connsiteY37" fmla="*/ 1427235 h 1907322"/>
                <a:gd name="connsiteX38" fmla="*/ 1268106 w 5941705"/>
                <a:gd name="connsiteY38" fmla="*/ 1428132 h 1907322"/>
                <a:gd name="connsiteX39" fmla="*/ 1102645 w 5941705"/>
                <a:gd name="connsiteY39" fmla="*/ 1264343 h 1907322"/>
                <a:gd name="connsiteX40" fmla="*/ 5329803 w 5941705"/>
                <a:gd name="connsiteY40" fmla="*/ 1261846 h 1907322"/>
                <a:gd name="connsiteX41" fmla="*/ 5164554 w 5941705"/>
                <a:gd name="connsiteY41" fmla="*/ 1428782 h 1907322"/>
                <a:gd name="connsiteX42" fmla="*/ 5400538 w 5941705"/>
                <a:gd name="connsiteY42" fmla="*/ 1429688 h 1907322"/>
                <a:gd name="connsiteX43" fmla="*/ 5329803 w 5941705"/>
                <a:gd name="connsiteY43" fmla="*/ 1261846 h 1907322"/>
                <a:gd name="connsiteX44" fmla="*/ 1602840 w 5941705"/>
                <a:gd name="connsiteY44" fmla="*/ 1261846 h 1907322"/>
                <a:gd name="connsiteX45" fmla="*/ 1437591 w 5941705"/>
                <a:gd name="connsiteY45" fmla="*/ 1428782 h 1907322"/>
                <a:gd name="connsiteX46" fmla="*/ 1673575 w 5941705"/>
                <a:gd name="connsiteY46" fmla="*/ 1429688 h 1907322"/>
                <a:gd name="connsiteX47" fmla="*/ 1602840 w 5941705"/>
                <a:gd name="connsiteY47" fmla="*/ 1261846 h 1907322"/>
                <a:gd name="connsiteX48" fmla="*/ 5041427 w 5941705"/>
                <a:gd name="connsiteY48" fmla="*/ 1147443 h 1907322"/>
                <a:gd name="connsiteX49" fmla="*/ 4879487 w 5941705"/>
                <a:gd name="connsiteY49" fmla="*/ 1214949 h 1907322"/>
                <a:gd name="connsiteX50" fmla="*/ 5044508 w 5941705"/>
                <a:gd name="connsiteY50" fmla="*/ 1378302 h 1907322"/>
                <a:gd name="connsiteX51" fmla="*/ 5041427 w 5941705"/>
                <a:gd name="connsiteY51" fmla="*/ 1147443 h 1907322"/>
                <a:gd name="connsiteX52" fmla="*/ 1314464 w 5941705"/>
                <a:gd name="connsiteY52" fmla="*/ 1147443 h 1907322"/>
                <a:gd name="connsiteX53" fmla="*/ 1152524 w 5941705"/>
                <a:gd name="connsiteY53" fmla="*/ 1214949 h 1907322"/>
                <a:gd name="connsiteX54" fmla="*/ 1317545 w 5941705"/>
                <a:gd name="connsiteY54" fmla="*/ 1378302 h 1907322"/>
                <a:gd name="connsiteX55" fmla="*/ 1314464 w 5941705"/>
                <a:gd name="connsiteY55" fmla="*/ 1147443 h 1907322"/>
                <a:gd name="connsiteX56" fmla="*/ 5111615 w 5941705"/>
                <a:gd name="connsiteY56" fmla="*/ 1146599 h 1907322"/>
                <a:gd name="connsiteX57" fmla="*/ 5114722 w 5941705"/>
                <a:gd name="connsiteY57" fmla="*/ 1379345 h 1907322"/>
                <a:gd name="connsiteX58" fmla="*/ 5279490 w 5941705"/>
                <a:gd name="connsiteY58" fmla="*/ 1212894 h 1907322"/>
                <a:gd name="connsiteX59" fmla="*/ 5111615 w 5941705"/>
                <a:gd name="connsiteY59" fmla="*/ 1146599 h 1907322"/>
                <a:gd name="connsiteX60" fmla="*/ 1384652 w 5941705"/>
                <a:gd name="connsiteY60" fmla="*/ 1146599 h 1907322"/>
                <a:gd name="connsiteX61" fmla="*/ 1387759 w 5941705"/>
                <a:gd name="connsiteY61" fmla="*/ 1379345 h 1907322"/>
                <a:gd name="connsiteX62" fmla="*/ 1552527 w 5941705"/>
                <a:gd name="connsiteY62" fmla="*/ 1212894 h 1907322"/>
                <a:gd name="connsiteX63" fmla="*/ 1384652 w 5941705"/>
                <a:gd name="connsiteY63" fmla="*/ 1146599 h 1907322"/>
                <a:gd name="connsiteX64" fmla="*/ 5080745 w 5941705"/>
                <a:gd name="connsiteY64" fmla="*/ 1019794 h 1907322"/>
                <a:gd name="connsiteX65" fmla="*/ 5239854 w 5941705"/>
                <a:gd name="connsiteY65" fmla="*/ 1051172 h 1907322"/>
                <a:gd name="connsiteX66" fmla="*/ 5281583 w 5941705"/>
                <a:gd name="connsiteY66" fmla="*/ 1070495 h 1907322"/>
                <a:gd name="connsiteX67" fmla="*/ 5297306 w 5941705"/>
                <a:gd name="connsiteY67" fmla="*/ 1078892 h 1907322"/>
                <a:gd name="connsiteX68" fmla="*/ 5397320 w 5941705"/>
                <a:gd name="connsiteY68" fmla="*/ 1152581 h 1907322"/>
                <a:gd name="connsiteX69" fmla="*/ 5474593 w 5941705"/>
                <a:gd name="connsiteY69" fmla="*/ 1265094 h 1907322"/>
                <a:gd name="connsiteX70" fmla="*/ 5490691 w 5941705"/>
                <a:gd name="connsiteY70" fmla="*/ 1295896 h 1907322"/>
                <a:gd name="connsiteX71" fmla="*/ 5491006 w 5941705"/>
                <a:gd name="connsiteY71" fmla="*/ 1296513 h 1907322"/>
                <a:gd name="connsiteX72" fmla="*/ 5497349 w 5941705"/>
                <a:gd name="connsiteY72" fmla="*/ 1316954 h 1907322"/>
                <a:gd name="connsiteX73" fmla="*/ 5497968 w 5941705"/>
                <a:gd name="connsiteY73" fmla="*/ 1319106 h 1907322"/>
                <a:gd name="connsiteX74" fmla="*/ 5516297 w 5941705"/>
                <a:gd name="connsiteY74" fmla="*/ 1382891 h 1907322"/>
                <a:gd name="connsiteX75" fmla="*/ 5524510 w 5941705"/>
                <a:gd name="connsiteY75" fmla="*/ 1463558 h 1907322"/>
                <a:gd name="connsiteX76" fmla="*/ 5516344 w 5941705"/>
                <a:gd name="connsiteY76" fmla="*/ 1543765 h 1907322"/>
                <a:gd name="connsiteX77" fmla="*/ 5495561 w 5941705"/>
                <a:gd name="connsiteY77" fmla="*/ 1615686 h 1907322"/>
                <a:gd name="connsiteX78" fmla="*/ 5490646 w 5941705"/>
                <a:gd name="connsiteY78" fmla="*/ 1631363 h 1907322"/>
                <a:gd name="connsiteX79" fmla="*/ 5490645 w 5941705"/>
                <a:gd name="connsiteY79" fmla="*/ 1631364 h 1907322"/>
                <a:gd name="connsiteX80" fmla="*/ 5479922 w 5941705"/>
                <a:gd name="connsiteY80" fmla="*/ 1652302 h 1907322"/>
                <a:gd name="connsiteX81" fmla="*/ 5397118 w 5941705"/>
                <a:gd name="connsiteY81" fmla="*/ 1774742 h 1907322"/>
                <a:gd name="connsiteX82" fmla="*/ 5262748 w 5941705"/>
                <a:gd name="connsiteY82" fmla="*/ 1866430 h 1907322"/>
                <a:gd name="connsiteX83" fmla="*/ 5241483 w 5941705"/>
                <a:gd name="connsiteY83" fmla="*/ 1875674 h 1907322"/>
                <a:gd name="connsiteX84" fmla="*/ 5200496 w 5941705"/>
                <a:gd name="connsiteY84" fmla="*/ 1888524 h 1907322"/>
                <a:gd name="connsiteX85" fmla="*/ 5080745 w 5941705"/>
                <a:gd name="connsiteY85" fmla="*/ 1907322 h 1907322"/>
                <a:gd name="connsiteX86" fmla="*/ 4921634 w 5941705"/>
                <a:gd name="connsiteY86" fmla="*/ 1875943 h 1907322"/>
                <a:gd name="connsiteX87" fmla="*/ 4879900 w 5941705"/>
                <a:gd name="connsiteY87" fmla="*/ 1856618 h 1907322"/>
                <a:gd name="connsiteX88" fmla="*/ 4864179 w 5941705"/>
                <a:gd name="connsiteY88" fmla="*/ 1848222 h 1907322"/>
                <a:gd name="connsiteX89" fmla="*/ 4764170 w 5941705"/>
                <a:gd name="connsiteY89" fmla="*/ 1774535 h 1907322"/>
                <a:gd name="connsiteX90" fmla="*/ 4686830 w 5941705"/>
                <a:gd name="connsiteY90" fmla="*/ 1661896 h 1907322"/>
                <a:gd name="connsiteX91" fmla="*/ 4670805 w 5941705"/>
                <a:gd name="connsiteY91" fmla="*/ 1631230 h 1907322"/>
                <a:gd name="connsiteX92" fmla="*/ 4670488 w 5941705"/>
                <a:gd name="connsiteY92" fmla="*/ 1630611 h 1907322"/>
                <a:gd name="connsiteX93" fmla="*/ 4664123 w 5941705"/>
                <a:gd name="connsiteY93" fmla="*/ 1610097 h 1907322"/>
                <a:gd name="connsiteX94" fmla="*/ 4663511 w 5941705"/>
                <a:gd name="connsiteY94" fmla="*/ 1607966 h 1907322"/>
                <a:gd name="connsiteX95" fmla="*/ 4645193 w 5941705"/>
                <a:gd name="connsiteY95" fmla="*/ 1544204 h 1907322"/>
                <a:gd name="connsiteX96" fmla="*/ 4636982 w 5941705"/>
                <a:gd name="connsiteY96" fmla="*/ 1463558 h 1907322"/>
                <a:gd name="connsiteX97" fmla="*/ 4645149 w 5941705"/>
                <a:gd name="connsiteY97" fmla="*/ 1383351 h 1907322"/>
                <a:gd name="connsiteX98" fmla="*/ 4681610 w 5941705"/>
                <a:gd name="connsiteY98" fmla="*/ 1274742 h 1907322"/>
                <a:gd name="connsiteX99" fmla="*/ 4764374 w 5941705"/>
                <a:gd name="connsiteY99" fmla="*/ 1152374 h 1907322"/>
                <a:gd name="connsiteX100" fmla="*/ 4909454 w 5941705"/>
                <a:gd name="connsiteY100" fmla="*/ 1054814 h 1907322"/>
                <a:gd name="connsiteX101" fmla="*/ 5080745 w 5941705"/>
                <a:gd name="connsiteY101" fmla="*/ 1019794 h 1907322"/>
                <a:gd name="connsiteX102" fmla="*/ 1353782 w 5941705"/>
                <a:gd name="connsiteY102" fmla="*/ 1019794 h 1907322"/>
                <a:gd name="connsiteX103" fmla="*/ 1512891 w 5941705"/>
                <a:gd name="connsiteY103" fmla="*/ 1051172 h 1907322"/>
                <a:gd name="connsiteX104" fmla="*/ 1554620 w 5941705"/>
                <a:gd name="connsiteY104" fmla="*/ 1070495 h 1907322"/>
                <a:gd name="connsiteX105" fmla="*/ 1570343 w 5941705"/>
                <a:gd name="connsiteY105" fmla="*/ 1078892 h 1907322"/>
                <a:gd name="connsiteX106" fmla="*/ 1670357 w 5941705"/>
                <a:gd name="connsiteY106" fmla="*/ 1152581 h 1907322"/>
                <a:gd name="connsiteX107" fmla="*/ 1747630 w 5941705"/>
                <a:gd name="connsiteY107" fmla="*/ 1265094 h 1907322"/>
                <a:gd name="connsiteX108" fmla="*/ 1763728 w 5941705"/>
                <a:gd name="connsiteY108" fmla="*/ 1295896 h 1907322"/>
                <a:gd name="connsiteX109" fmla="*/ 1764043 w 5941705"/>
                <a:gd name="connsiteY109" fmla="*/ 1296513 h 1907322"/>
                <a:gd name="connsiteX110" fmla="*/ 1770386 w 5941705"/>
                <a:gd name="connsiteY110" fmla="*/ 1316954 h 1907322"/>
                <a:gd name="connsiteX111" fmla="*/ 1771005 w 5941705"/>
                <a:gd name="connsiteY111" fmla="*/ 1319106 h 1907322"/>
                <a:gd name="connsiteX112" fmla="*/ 1789334 w 5941705"/>
                <a:gd name="connsiteY112" fmla="*/ 1382891 h 1907322"/>
                <a:gd name="connsiteX113" fmla="*/ 1797547 w 5941705"/>
                <a:gd name="connsiteY113" fmla="*/ 1463558 h 1907322"/>
                <a:gd name="connsiteX114" fmla="*/ 1789381 w 5941705"/>
                <a:gd name="connsiteY114" fmla="*/ 1543765 h 1907322"/>
                <a:gd name="connsiteX115" fmla="*/ 1768598 w 5941705"/>
                <a:gd name="connsiteY115" fmla="*/ 1615686 h 1907322"/>
                <a:gd name="connsiteX116" fmla="*/ 1763683 w 5941705"/>
                <a:gd name="connsiteY116" fmla="*/ 1631363 h 1907322"/>
                <a:gd name="connsiteX117" fmla="*/ 1763682 w 5941705"/>
                <a:gd name="connsiteY117" fmla="*/ 1631364 h 1907322"/>
                <a:gd name="connsiteX118" fmla="*/ 1752959 w 5941705"/>
                <a:gd name="connsiteY118" fmla="*/ 1652302 h 1907322"/>
                <a:gd name="connsiteX119" fmla="*/ 1670155 w 5941705"/>
                <a:gd name="connsiteY119" fmla="*/ 1774742 h 1907322"/>
                <a:gd name="connsiteX120" fmla="*/ 1535785 w 5941705"/>
                <a:gd name="connsiteY120" fmla="*/ 1866430 h 1907322"/>
                <a:gd name="connsiteX121" fmla="*/ 1514520 w 5941705"/>
                <a:gd name="connsiteY121" fmla="*/ 1875674 h 1907322"/>
                <a:gd name="connsiteX122" fmla="*/ 1473533 w 5941705"/>
                <a:gd name="connsiteY122" fmla="*/ 1888524 h 1907322"/>
                <a:gd name="connsiteX123" fmla="*/ 1353782 w 5941705"/>
                <a:gd name="connsiteY123" fmla="*/ 1907322 h 1907322"/>
                <a:gd name="connsiteX124" fmla="*/ 1194671 w 5941705"/>
                <a:gd name="connsiteY124" fmla="*/ 1875943 h 1907322"/>
                <a:gd name="connsiteX125" fmla="*/ 1152937 w 5941705"/>
                <a:gd name="connsiteY125" fmla="*/ 1856618 h 1907322"/>
                <a:gd name="connsiteX126" fmla="*/ 1137216 w 5941705"/>
                <a:gd name="connsiteY126" fmla="*/ 1848222 h 1907322"/>
                <a:gd name="connsiteX127" fmla="*/ 1037207 w 5941705"/>
                <a:gd name="connsiteY127" fmla="*/ 1774535 h 1907322"/>
                <a:gd name="connsiteX128" fmla="*/ 959867 w 5941705"/>
                <a:gd name="connsiteY128" fmla="*/ 1661896 h 1907322"/>
                <a:gd name="connsiteX129" fmla="*/ 943842 w 5941705"/>
                <a:gd name="connsiteY129" fmla="*/ 1631230 h 1907322"/>
                <a:gd name="connsiteX130" fmla="*/ 943525 w 5941705"/>
                <a:gd name="connsiteY130" fmla="*/ 1630611 h 1907322"/>
                <a:gd name="connsiteX131" fmla="*/ 937160 w 5941705"/>
                <a:gd name="connsiteY131" fmla="*/ 1610097 h 1907322"/>
                <a:gd name="connsiteX132" fmla="*/ 936548 w 5941705"/>
                <a:gd name="connsiteY132" fmla="*/ 1607966 h 1907322"/>
                <a:gd name="connsiteX133" fmla="*/ 918230 w 5941705"/>
                <a:gd name="connsiteY133" fmla="*/ 1544204 h 1907322"/>
                <a:gd name="connsiteX134" fmla="*/ 910019 w 5941705"/>
                <a:gd name="connsiteY134" fmla="*/ 1463558 h 1907322"/>
                <a:gd name="connsiteX135" fmla="*/ 918186 w 5941705"/>
                <a:gd name="connsiteY135" fmla="*/ 1383351 h 1907322"/>
                <a:gd name="connsiteX136" fmla="*/ 954647 w 5941705"/>
                <a:gd name="connsiteY136" fmla="*/ 1274742 h 1907322"/>
                <a:gd name="connsiteX137" fmla="*/ 1037411 w 5941705"/>
                <a:gd name="connsiteY137" fmla="*/ 1152374 h 1907322"/>
                <a:gd name="connsiteX138" fmla="*/ 1182491 w 5941705"/>
                <a:gd name="connsiteY138" fmla="*/ 1054814 h 1907322"/>
                <a:gd name="connsiteX139" fmla="*/ 1353782 w 5941705"/>
                <a:gd name="connsiteY139" fmla="*/ 1019794 h 1907322"/>
                <a:gd name="connsiteX140" fmla="*/ 2733685 w 5941705"/>
                <a:gd name="connsiteY140" fmla="*/ 102805 h 1907322"/>
                <a:gd name="connsiteX141" fmla="*/ 2886085 w 5941705"/>
                <a:gd name="connsiteY141" fmla="*/ 613345 h 1907322"/>
                <a:gd name="connsiteX142" fmla="*/ 3754765 w 5941705"/>
                <a:gd name="connsiteY142" fmla="*/ 628585 h 1907322"/>
                <a:gd name="connsiteX143" fmla="*/ 3792865 w 5941705"/>
                <a:gd name="connsiteY143" fmla="*/ 438085 h 1907322"/>
                <a:gd name="connsiteX144" fmla="*/ 3277086 w 5941705"/>
                <a:gd name="connsiteY144" fmla="*/ 149954 h 1907322"/>
                <a:gd name="connsiteX145" fmla="*/ 2733685 w 5941705"/>
                <a:gd name="connsiteY145" fmla="*/ 102805 h 1907322"/>
                <a:gd name="connsiteX146" fmla="*/ 2558424 w 5941705"/>
                <a:gd name="connsiteY146" fmla="*/ 95185 h 1907322"/>
                <a:gd name="connsiteX147" fmla="*/ 2036454 w 5941705"/>
                <a:gd name="connsiteY147" fmla="*/ 104710 h 1907322"/>
                <a:gd name="connsiteX148" fmla="*/ 1407804 w 5941705"/>
                <a:gd name="connsiteY148" fmla="*/ 339025 h 1907322"/>
                <a:gd name="connsiteX149" fmla="*/ 1506864 w 5941705"/>
                <a:gd name="connsiteY149" fmla="*/ 575245 h 1907322"/>
                <a:gd name="connsiteX150" fmla="*/ 2657484 w 5941705"/>
                <a:gd name="connsiteY150" fmla="*/ 575245 h 1907322"/>
                <a:gd name="connsiteX151" fmla="*/ 2558424 w 5941705"/>
                <a:gd name="connsiteY151" fmla="*/ 95185 h 1907322"/>
                <a:gd name="connsiteX152" fmla="*/ 2588905 w 5941705"/>
                <a:gd name="connsiteY152" fmla="*/ 3744 h 1907322"/>
                <a:gd name="connsiteX153" fmla="*/ 3282325 w 5941705"/>
                <a:gd name="connsiteY153" fmla="*/ 64704 h 1907322"/>
                <a:gd name="connsiteX154" fmla="*/ 4265305 w 5941705"/>
                <a:gd name="connsiteY154" fmla="*/ 582864 h 1907322"/>
                <a:gd name="connsiteX155" fmla="*/ 5133985 w 5941705"/>
                <a:gd name="connsiteY155" fmla="*/ 659064 h 1907322"/>
                <a:gd name="connsiteX156" fmla="*/ 5850265 w 5941705"/>
                <a:gd name="connsiteY156" fmla="*/ 834324 h 1907322"/>
                <a:gd name="connsiteX157" fmla="*/ 5941705 w 5941705"/>
                <a:gd name="connsiteY157" fmla="*/ 1070544 h 1907322"/>
                <a:gd name="connsiteX158" fmla="*/ 5888365 w 5941705"/>
                <a:gd name="connsiteY158" fmla="*/ 1329624 h 1907322"/>
                <a:gd name="connsiteX159" fmla="*/ 5918845 w 5941705"/>
                <a:gd name="connsiteY159" fmla="*/ 1512504 h 1907322"/>
                <a:gd name="connsiteX160" fmla="*/ 5842645 w 5941705"/>
                <a:gd name="connsiteY160" fmla="*/ 1588704 h 1907322"/>
                <a:gd name="connsiteX161" fmla="*/ 5583565 w 5941705"/>
                <a:gd name="connsiteY161" fmla="*/ 1596324 h 1907322"/>
                <a:gd name="connsiteX162" fmla="*/ 5556953 w 5941705"/>
                <a:gd name="connsiteY162" fmla="*/ 1596270 h 1907322"/>
                <a:gd name="connsiteX163" fmla="*/ 5578894 w 5941705"/>
                <a:gd name="connsiteY163" fmla="*/ 1459165 h 1907322"/>
                <a:gd name="connsiteX164" fmla="*/ 5080748 w 5941705"/>
                <a:gd name="connsiteY164" fmla="*/ 965951 h 1907322"/>
                <a:gd name="connsiteX165" fmla="*/ 4582602 w 5941705"/>
                <a:gd name="connsiteY165" fmla="*/ 1459165 h 1907322"/>
                <a:gd name="connsiteX166" fmla="*/ 4603930 w 5941705"/>
                <a:gd name="connsiteY166" fmla="*/ 1594313 h 1907322"/>
                <a:gd name="connsiteX167" fmla="*/ 1872625 w 5941705"/>
                <a:gd name="connsiteY167" fmla="*/ 1588704 h 1907322"/>
                <a:gd name="connsiteX168" fmla="*/ 1833037 w 5941705"/>
                <a:gd name="connsiteY168" fmla="*/ 1586550 h 1907322"/>
                <a:gd name="connsiteX169" fmla="*/ 1851931 w 5941705"/>
                <a:gd name="connsiteY169" fmla="*/ 1459165 h 1907322"/>
                <a:gd name="connsiteX170" fmla="*/ 1353785 w 5941705"/>
                <a:gd name="connsiteY170" fmla="*/ 965951 h 1907322"/>
                <a:gd name="connsiteX171" fmla="*/ 855639 w 5941705"/>
                <a:gd name="connsiteY171" fmla="*/ 1459165 h 1907322"/>
                <a:gd name="connsiteX172" fmla="*/ 863570 w 5941705"/>
                <a:gd name="connsiteY172" fmla="*/ 1537059 h 1907322"/>
                <a:gd name="connsiteX173" fmla="*/ 809613 w 5941705"/>
                <a:gd name="connsiteY173" fmla="*/ 1530853 h 1907322"/>
                <a:gd name="connsiteX174" fmla="*/ 752485 w 5941705"/>
                <a:gd name="connsiteY174" fmla="*/ 1527744 h 1907322"/>
                <a:gd name="connsiteX175" fmla="*/ 752461 w 5941705"/>
                <a:gd name="connsiteY175" fmla="*/ 1524279 h 1907322"/>
                <a:gd name="connsiteX176" fmla="*/ 333498 w 5941705"/>
                <a:gd name="connsiteY176" fmla="*/ 1476089 h 1907322"/>
                <a:gd name="connsiteX177" fmla="*/ 270349 w 5941705"/>
                <a:gd name="connsiteY177" fmla="*/ 1455436 h 1907322"/>
                <a:gd name="connsiteX178" fmla="*/ 236237 w 5941705"/>
                <a:gd name="connsiteY178" fmla="*/ 1442059 h 1907322"/>
                <a:gd name="connsiteX179" fmla="*/ 0 w 5941705"/>
                <a:gd name="connsiteY179" fmla="*/ 1122718 h 1907322"/>
                <a:gd name="connsiteX180" fmla="*/ 142886 w 5941705"/>
                <a:gd name="connsiteY180" fmla="*/ 848362 h 1907322"/>
                <a:gd name="connsiteX181" fmla="*/ 142886 w 5941705"/>
                <a:gd name="connsiteY181" fmla="*/ 631445 h 1907322"/>
                <a:gd name="connsiteX182" fmla="*/ 183452 w 5941705"/>
                <a:gd name="connsiteY182" fmla="*/ 525910 h 1907322"/>
                <a:gd name="connsiteX183" fmla="*/ 309027 w 5941705"/>
                <a:gd name="connsiteY183" fmla="*/ 453270 h 1907322"/>
                <a:gd name="connsiteX184" fmla="*/ 767423 w 5941705"/>
                <a:gd name="connsiteY184" fmla="*/ 429061 h 1907322"/>
                <a:gd name="connsiteX185" fmla="*/ 1697365 w 5941705"/>
                <a:gd name="connsiteY185" fmla="*/ 57084 h 1907322"/>
                <a:gd name="connsiteX186" fmla="*/ 1910725 w 5941705"/>
                <a:gd name="connsiteY186" fmla="*/ 26604 h 1907322"/>
                <a:gd name="connsiteX187" fmla="*/ 2588905 w 5941705"/>
                <a:gd name="connsiteY187" fmla="*/ 3744 h 1907322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92865 w 5941705"/>
                <a:gd name="connsiteY143" fmla="*/ 435550 h 1904787"/>
                <a:gd name="connsiteX144" fmla="*/ 3277086 w 5941705"/>
                <a:gd name="connsiteY144" fmla="*/ 147419 h 1904787"/>
                <a:gd name="connsiteX145" fmla="*/ 2733685 w 5941705"/>
                <a:gd name="connsiteY145" fmla="*/ 100270 h 1904787"/>
                <a:gd name="connsiteX146" fmla="*/ 2558424 w 5941705"/>
                <a:gd name="connsiteY146" fmla="*/ 92650 h 1904787"/>
                <a:gd name="connsiteX147" fmla="*/ 2036454 w 5941705"/>
                <a:gd name="connsiteY147" fmla="*/ 102175 h 1904787"/>
                <a:gd name="connsiteX148" fmla="*/ 1407804 w 5941705"/>
                <a:gd name="connsiteY148" fmla="*/ 336490 h 1904787"/>
                <a:gd name="connsiteX149" fmla="*/ 1506864 w 5941705"/>
                <a:gd name="connsiteY149" fmla="*/ 572710 h 1904787"/>
                <a:gd name="connsiteX150" fmla="*/ 2657484 w 5941705"/>
                <a:gd name="connsiteY150" fmla="*/ 572710 h 1904787"/>
                <a:gd name="connsiteX151" fmla="*/ 2558424 w 5941705"/>
                <a:gd name="connsiteY151" fmla="*/ 92650 h 1904787"/>
                <a:gd name="connsiteX152" fmla="*/ 2588905 w 5941705"/>
                <a:gd name="connsiteY152" fmla="*/ 1209 h 1904787"/>
                <a:gd name="connsiteX153" fmla="*/ 3282325 w 5941705"/>
                <a:gd name="connsiteY153" fmla="*/ 62169 h 1904787"/>
                <a:gd name="connsiteX154" fmla="*/ 4265305 w 5941705"/>
                <a:gd name="connsiteY154" fmla="*/ 580329 h 1904787"/>
                <a:gd name="connsiteX155" fmla="*/ 5133985 w 5941705"/>
                <a:gd name="connsiteY155" fmla="*/ 656529 h 1904787"/>
                <a:gd name="connsiteX156" fmla="*/ 5850265 w 5941705"/>
                <a:gd name="connsiteY156" fmla="*/ 831789 h 1904787"/>
                <a:gd name="connsiteX157" fmla="*/ 5941705 w 5941705"/>
                <a:gd name="connsiteY157" fmla="*/ 1068009 h 1904787"/>
                <a:gd name="connsiteX158" fmla="*/ 5888365 w 5941705"/>
                <a:gd name="connsiteY158" fmla="*/ 1327089 h 1904787"/>
                <a:gd name="connsiteX159" fmla="*/ 5918845 w 5941705"/>
                <a:gd name="connsiteY159" fmla="*/ 1509969 h 1904787"/>
                <a:gd name="connsiteX160" fmla="*/ 5842645 w 5941705"/>
                <a:gd name="connsiteY160" fmla="*/ 1586169 h 1904787"/>
                <a:gd name="connsiteX161" fmla="*/ 5583565 w 5941705"/>
                <a:gd name="connsiteY161" fmla="*/ 1593789 h 1904787"/>
                <a:gd name="connsiteX162" fmla="*/ 5556953 w 5941705"/>
                <a:gd name="connsiteY162" fmla="*/ 1593735 h 1904787"/>
                <a:gd name="connsiteX163" fmla="*/ 5578894 w 5941705"/>
                <a:gd name="connsiteY163" fmla="*/ 1456630 h 1904787"/>
                <a:gd name="connsiteX164" fmla="*/ 5080748 w 5941705"/>
                <a:gd name="connsiteY164" fmla="*/ 963416 h 1904787"/>
                <a:gd name="connsiteX165" fmla="*/ 4582602 w 5941705"/>
                <a:gd name="connsiteY165" fmla="*/ 1456630 h 1904787"/>
                <a:gd name="connsiteX166" fmla="*/ 4603930 w 5941705"/>
                <a:gd name="connsiteY166" fmla="*/ 1591778 h 1904787"/>
                <a:gd name="connsiteX167" fmla="*/ 1872625 w 5941705"/>
                <a:gd name="connsiteY167" fmla="*/ 1586169 h 1904787"/>
                <a:gd name="connsiteX168" fmla="*/ 1833037 w 5941705"/>
                <a:gd name="connsiteY168" fmla="*/ 1584015 h 1904787"/>
                <a:gd name="connsiteX169" fmla="*/ 1851931 w 5941705"/>
                <a:gd name="connsiteY169" fmla="*/ 1456630 h 1904787"/>
                <a:gd name="connsiteX170" fmla="*/ 1353785 w 5941705"/>
                <a:gd name="connsiteY170" fmla="*/ 963416 h 1904787"/>
                <a:gd name="connsiteX171" fmla="*/ 855639 w 5941705"/>
                <a:gd name="connsiteY171" fmla="*/ 1456630 h 1904787"/>
                <a:gd name="connsiteX172" fmla="*/ 863570 w 5941705"/>
                <a:gd name="connsiteY172" fmla="*/ 1534524 h 1904787"/>
                <a:gd name="connsiteX173" fmla="*/ 809613 w 5941705"/>
                <a:gd name="connsiteY173" fmla="*/ 1528318 h 1904787"/>
                <a:gd name="connsiteX174" fmla="*/ 752485 w 5941705"/>
                <a:gd name="connsiteY174" fmla="*/ 1525209 h 1904787"/>
                <a:gd name="connsiteX175" fmla="*/ 752461 w 5941705"/>
                <a:gd name="connsiteY175" fmla="*/ 1521744 h 1904787"/>
                <a:gd name="connsiteX176" fmla="*/ 333498 w 5941705"/>
                <a:gd name="connsiteY176" fmla="*/ 1473554 h 1904787"/>
                <a:gd name="connsiteX177" fmla="*/ 270349 w 5941705"/>
                <a:gd name="connsiteY177" fmla="*/ 1452901 h 1904787"/>
                <a:gd name="connsiteX178" fmla="*/ 236237 w 5941705"/>
                <a:gd name="connsiteY178" fmla="*/ 1439524 h 1904787"/>
                <a:gd name="connsiteX179" fmla="*/ 0 w 5941705"/>
                <a:gd name="connsiteY179" fmla="*/ 1120183 h 1904787"/>
                <a:gd name="connsiteX180" fmla="*/ 142886 w 5941705"/>
                <a:gd name="connsiteY180" fmla="*/ 845827 h 1904787"/>
                <a:gd name="connsiteX181" fmla="*/ 142886 w 5941705"/>
                <a:gd name="connsiteY181" fmla="*/ 628910 h 1904787"/>
                <a:gd name="connsiteX182" fmla="*/ 183452 w 5941705"/>
                <a:gd name="connsiteY182" fmla="*/ 523375 h 1904787"/>
                <a:gd name="connsiteX183" fmla="*/ 309027 w 5941705"/>
                <a:gd name="connsiteY183" fmla="*/ 450735 h 1904787"/>
                <a:gd name="connsiteX184" fmla="*/ 767423 w 5941705"/>
                <a:gd name="connsiteY184" fmla="*/ 426526 h 1904787"/>
                <a:gd name="connsiteX185" fmla="*/ 1697365 w 5941705"/>
                <a:gd name="connsiteY185" fmla="*/ 54549 h 1904787"/>
                <a:gd name="connsiteX186" fmla="*/ 1910725 w 5941705"/>
                <a:gd name="connsiteY186" fmla="*/ 24069 h 1904787"/>
                <a:gd name="connsiteX187" fmla="*/ 2588905 w 5941705"/>
                <a:gd name="connsiteY187" fmla="*/ 1209 h 1904787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92865 w 5941705"/>
                <a:gd name="connsiteY143" fmla="*/ 435550 h 1904787"/>
                <a:gd name="connsiteX144" fmla="*/ 3277086 w 5941705"/>
                <a:gd name="connsiteY144" fmla="*/ 147419 h 1904787"/>
                <a:gd name="connsiteX145" fmla="*/ 2733685 w 5941705"/>
                <a:gd name="connsiteY145" fmla="*/ 100270 h 1904787"/>
                <a:gd name="connsiteX146" fmla="*/ 2558424 w 5941705"/>
                <a:gd name="connsiteY146" fmla="*/ 92650 h 1904787"/>
                <a:gd name="connsiteX147" fmla="*/ 2036454 w 5941705"/>
                <a:gd name="connsiteY147" fmla="*/ 102175 h 1904787"/>
                <a:gd name="connsiteX148" fmla="*/ 1407804 w 5941705"/>
                <a:gd name="connsiteY148" fmla="*/ 336490 h 1904787"/>
                <a:gd name="connsiteX149" fmla="*/ 1506864 w 5941705"/>
                <a:gd name="connsiteY149" fmla="*/ 572710 h 1904787"/>
                <a:gd name="connsiteX150" fmla="*/ 2657484 w 5941705"/>
                <a:gd name="connsiteY150" fmla="*/ 572710 h 1904787"/>
                <a:gd name="connsiteX151" fmla="*/ 2558424 w 5941705"/>
                <a:gd name="connsiteY151" fmla="*/ 92650 h 1904787"/>
                <a:gd name="connsiteX152" fmla="*/ 2588905 w 5941705"/>
                <a:gd name="connsiteY152" fmla="*/ 1209 h 1904787"/>
                <a:gd name="connsiteX153" fmla="*/ 3282325 w 5941705"/>
                <a:gd name="connsiteY153" fmla="*/ 62169 h 1904787"/>
                <a:gd name="connsiteX154" fmla="*/ 4265305 w 5941705"/>
                <a:gd name="connsiteY154" fmla="*/ 580329 h 1904787"/>
                <a:gd name="connsiteX155" fmla="*/ 5133985 w 5941705"/>
                <a:gd name="connsiteY155" fmla="*/ 656529 h 1904787"/>
                <a:gd name="connsiteX156" fmla="*/ 5850265 w 5941705"/>
                <a:gd name="connsiteY156" fmla="*/ 831789 h 1904787"/>
                <a:gd name="connsiteX157" fmla="*/ 5941705 w 5941705"/>
                <a:gd name="connsiteY157" fmla="*/ 1068009 h 1904787"/>
                <a:gd name="connsiteX158" fmla="*/ 5888365 w 5941705"/>
                <a:gd name="connsiteY158" fmla="*/ 1327089 h 1904787"/>
                <a:gd name="connsiteX159" fmla="*/ 5918845 w 5941705"/>
                <a:gd name="connsiteY159" fmla="*/ 1509969 h 1904787"/>
                <a:gd name="connsiteX160" fmla="*/ 5842645 w 5941705"/>
                <a:gd name="connsiteY160" fmla="*/ 1586169 h 1904787"/>
                <a:gd name="connsiteX161" fmla="*/ 5583565 w 5941705"/>
                <a:gd name="connsiteY161" fmla="*/ 1593789 h 1904787"/>
                <a:gd name="connsiteX162" fmla="*/ 5556953 w 5941705"/>
                <a:gd name="connsiteY162" fmla="*/ 1593735 h 1904787"/>
                <a:gd name="connsiteX163" fmla="*/ 5578894 w 5941705"/>
                <a:gd name="connsiteY163" fmla="*/ 1456630 h 1904787"/>
                <a:gd name="connsiteX164" fmla="*/ 5080748 w 5941705"/>
                <a:gd name="connsiteY164" fmla="*/ 963416 h 1904787"/>
                <a:gd name="connsiteX165" fmla="*/ 4582602 w 5941705"/>
                <a:gd name="connsiteY165" fmla="*/ 1456630 h 1904787"/>
                <a:gd name="connsiteX166" fmla="*/ 4603930 w 5941705"/>
                <a:gd name="connsiteY166" fmla="*/ 1591778 h 1904787"/>
                <a:gd name="connsiteX167" fmla="*/ 1872625 w 5941705"/>
                <a:gd name="connsiteY167" fmla="*/ 1586169 h 1904787"/>
                <a:gd name="connsiteX168" fmla="*/ 1833037 w 5941705"/>
                <a:gd name="connsiteY168" fmla="*/ 1584015 h 1904787"/>
                <a:gd name="connsiteX169" fmla="*/ 1851931 w 5941705"/>
                <a:gd name="connsiteY169" fmla="*/ 1456630 h 1904787"/>
                <a:gd name="connsiteX170" fmla="*/ 1353785 w 5941705"/>
                <a:gd name="connsiteY170" fmla="*/ 963416 h 1904787"/>
                <a:gd name="connsiteX171" fmla="*/ 855639 w 5941705"/>
                <a:gd name="connsiteY171" fmla="*/ 1456630 h 1904787"/>
                <a:gd name="connsiteX172" fmla="*/ 863570 w 5941705"/>
                <a:gd name="connsiteY172" fmla="*/ 1534524 h 1904787"/>
                <a:gd name="connsiteX173" fmla="*/ 809613 w 5941705"/>
                <a:gd name="connsiteY173" fmla="*/ 1528318 h 1904787"/>
                <a:gd name="connsiteX174" fmla="*/ 752485 w 5941705"/>
                <a:gd name="connsiteY174" fmla="*/ 1525209 h 1904787"/>
                <a:gd name="connsiteX175" fmla="*/ 752461 w 5941705"/>
                <a:gd name="connsiteY175" fmla="*/ 1521744 h 1904787"/>
                <a:gd name="connsiteX176" fmla="*/ 333498 w 5941705"/>
                <a:gd name="connsiteY176" fmla="*/ 1473554 h 1904787"/>
                <a:gd name="connsiteX177" fmla="*/ 270349 w 5941705"/>
                <a:gd name="connsiteY177" fmla="*/ 1452901 h 1904787"/>
                <a:gd name="connsiteX178" fmla="*/ 236237 w 5941705"/>
                <a:gd name="connsiteY178" fmla="*/ 1439524 h 1904787"/>
                <a:gd name="connsiteX179" fmla="*/ 0 w 5941705"/>
                <a:gd name="connsiteY179" fmla="*/ 1120183 h 1904787"/>
                <a:gd name="connsiteX180" fmla="*/ 142886 w 5941705"/>
                <a:gd name="connsiteY180" fmla="*/ 845827 h 1904787"/>
                <a:gd name="connsiteX181" fmla="*/ 142886 w 5941705"/>
                <a:gd name="connsiteY181" fmla="*/ 628910 h 1904787"/>
                <a:gd name="connsiteX182" fmla="*/ 183452 w 5941705"/>
                <a:gd name="connsiteY182" fmla="*/ 523375 h 1904787"/>
                <a:gd name="connsiteX183" fmla="*/ 309027 w 5941705"/>
                <a:gd name="connsiteY183" fmla="*/ 450735 h 1904787"/>
                <a:gd name="connsiteX184" fmla="*/ 767423 w 5941705"/>
                <a:gd name="connsiteY184" fmla="*/ 426526 h 1904787"/>
                <a:gd name="connsiteX185" fmla="*/ 1697365 w 5941705"/>
                <a:gd name="connsiteY185" fmla="*/ 54549 h 1904787"/>
                <a:gd name="connsiteX186" fmla="*/ 1910725 w 5941705"/>
                <a:gd name="connsiteY186" fmla="*/ 24069 h 1904787"/>
                <a:gd name="connsiteX187" fmla="*/ 2588905 w 5941705"/>
                <a:gd name="connsiteY187" fmla="*/ 1209 h 1904787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76415 w 5941705"/>
                <a:gd name="connsiteY143" fmla="*/ 522206 h 1904787"/>
                <a:gd name="connsiteX144" fmla="*/ 3792865 w 5941705"/>
                <a:gd name="connsiteY144" fmla="*/ 435550 h 1904787"/>
                <a:gd name="connsiteX145" fmla="*/ 3277086 w 5941705"/>
                <a:gd name="connsiteY145" fmla="*/ 147419 h 1904787"/>
                <a:gd name="connsiteX146" fmla="*/ 2733685 w 5941705"/>
                <a:gd name="connsiteY146" fmla="*/ 100270 h 1904787"/>
                <a:gd name="connsiteX147" fmla="*/ 2558424 w 5941705"/>
                <a:gd name="connsiteY147" fmla="*/ 92650 h 1904787"/>
                <a:gd name="connsiteX148" fmla="*/ 2036454 w 5941705"/>
                <a:gd name="connsiteY148" fmla="*/ 102175 h 1904787"/>
                <a:gd name="connsiteX149" fmla="*/ 1407804 w 5941705"/>
                <a:gd name="connsiteY149" fmla="*/ 336490 h 1904787"/>
                <a:gd name="connsiteX150" fmla="*/ 1506864 w 5941705"/>
                <a:gd name="connsiteY150" fmla="*/ 572710 h 1904787"/>
                <a:gd name="connsiteX151" fmla="*/ 2657484 w 5941705"/>
                <a:gd name="connsiteY151" fmla="*/ 572710 h 1904787"/>
                <a:gd name="connsiteX152" fmla="*/ 2558424 w 5941705"/>
                <a:gd name="connsiteY152" fmla="*/ 92650 h 1904787"/>
                <a:gd name="connsiteX153" fmla="*/ 2588905 w 5941705"/>
                <a:gd name="connsiteY153" fmla="*/ 1209 h 1904787"/>
                <a:gd name="connsiteX154" fmla="*/ 3282325 w 5941705"/>
                <a:gd name="connsiteY154" fmla="*/ 62169 h 1904787"/>
                <a:gd name="connsiteX155" fmla="*/ 4265305 w 5941705"/>
                <a:gd name="connsiteY155" fmla="*/ 580329 h 1904787"/>
                <a:gd name="connsiteX156" fmla="*/ 5133985 w 5941705"/>
                <a:gd name="connsiteY156" fmla="*/ 656529 h 1904787"/>
                <a:gd name="connsiteX157" fmla="*/ 5850265 w 5941705"/>
                <a:gd name="connsiteY157" fmla="*/ 831789 h 1904787"/>
                <a:gd name="connsiteX158" fmla="*/ 5941705 w 5941705"/>
                <a:gd name="connsiteY158" fmla="*/ 1068009 h 1904787"/>
                <a:gd name="connsiteX159" fmla="*/ 5888365 w 5941705"/>
                <a:gd name="connsiteY159" fmla="*/ 1327089 h 1904787"/>
                <a:gd name="connsiteX160" fmla="*/ 5918845 w 5941705"/>
                <a:gd name="connsiteY160" fmla="*/ 1509969 h 1904787"/>
                <a:gd name="connsiteX161" fmla="*/ 5842645 w 5941705"/>
                <a:gd name="connsiteY161" fmla="*/ 1586169 h 1904787"/>
                <a:gd name="connsiteX162" fmla="*/ 5583565 w 5941705"/>
                <a:gd name="connsiteY162" fmla="*/ 1593789 h 1904787"/>
                <a:gd name="connsiteX163" fmla="*/ 5556953 w 5941705"/>
                <a:gd name="connsiteY163" fmla="*/ 1593735 h 1904787"/>
                <a:gd name="connsiteX164" fmla="*/ 5578894 w 5941705"/>
                <a:gd name="connsiteY164" fmla="*/ 1456630 h 1904787"/>
                <a:gd name="connsiteX165" fmla="*/ 5080748 w 5941705"/>
                <a:gd name="connsiteY165" fmla="*/ 963416 h 1904787"/>
                <a:gd name="connsiteX166" fmla="*/ 4582602 w 5941705"/>
                <a:gd name="connsiteY166" fmla="*/ 1456630 h 1904787"/>
                <a:gd name="connsiteX167" fmla="*/ 4603930 w 5941705"/>
                <a:gd name="connsiteY167" fmla="*/ 1591778 h 1904787"/>
                <a:gd name="connsiteX168" fmla="*/ 1872625 w 5941705"/>
                <a:gd name="connsiteY168" fmla="*/ 1586169 h 1904787"/>
                <a:gd name="connsiteX169" fmla="*/ 1833037 w 5941705"/>
                <a:gd name="connsiteY169" fmla="*/ 1584015 h 1904787"/>
                <a:gd name="connsiteX170" fmla="*/ 1851931 w 5941705"/>
                <a:gd name="connsiteY170" fmla="*/ 1456630 h 1904787"/>
                <a:gd name="connsiteX171" fmla="*/ 1353785 w 5941705"/>
                <a:gd name="connsiteY171" fmla="*/ 963416 h 1904787"/>
                <a:gd name="connsiteX172" fmla="*/ 855639 w 5941705"/>
                <a:gd name="connsiteY172" fmla="*/ 1456630 h 1904787"/>
                <a:gd name="connsiteX173" fmla="*/ 863570 w 5941705"/>
                <a:gd name="connsiteY173" fmla="*/ 1534524 h 1904787"/>
                <a:gd name="connsiteX174" fmla="*/ 809613 w 5941705"/>
                <a:gd name="connsiteY174" fmla="*/ 1528318 h 1904787"/>
                <a:gd name="connsiteX175" fmla="*/ 752485 w 5941705"/>
                <a:gd name="connsiteY175" fmla="*/ 1525209 h 1904787"/>
                <a:gd name="connsiteX176" fmla="*/ 752461 w 5941705"/>
                <a:gd name="connsiteY176" fmla="*/ 1521744 h 1904787"/>
                <a:gd name="connsiteX177" fmla="*/ 333498 w 5941705"/>
                <a:gd name="connsiteY177" fmla="*/ 1473554 h 1904787"/>
                <a:gd name="connsiteX178" fmla="*/ 270349 w 5941705"/>
                <a:gd name="connsiteY178" fmla="*/ 1452901 h 1904787"/>
                <a:gd name="connsiteX179" fmla="*/ 236237 w 5941705"/>
                <a:gd name="connsiteY179" fmla="*/ 1439524 h 1904787"/>
                <a:gd name="connsiteX180" fmla="*/ 0 w 5941705"/>
                <a:gd name="connsiteY180" fmla="*/ 1120183 h 1904787"/>
                <a:gd name="connsiteX181" fmla="*/ 142886 w 5941705"/>
                <a:gd name="connsiteY181" fmla="*/ 845827 h 1904787"/>
                <a:gd name="connsiteX182" fmla="*/ 142886 w 5941705"/>
                <a:gd name="connsiteY182" fmla="*/ 628910 h 1904787"/>
                <a:gd name="connsiteX183" fmla="*/ 183452 w 5941705"/>
                <a:gd name="connsiteY183" fmla="*/ 523375 h 1904787"/>
                <a:gd name="connsiteX184" fmla="*/ 309027 w 5941705"/>
                <a:gd name="connsiteY184" fmla="*/ 450735 h 1904787"/>
                <a:gd name="connsiteX185" fmla="*/ 767423 w 5941705"/>
                <a:gd name="connsiteY185" fmla="*/ 426526 h 1904787"/>
                <a:gd name="connsiteX186" fmla="*/ 1697365 w 5941705"/>
                <a:gd name="connsiteY186" fmla="*/ 54549 h 1904787"/>
                <a:gd name="connsiteX187" fmla="*/ 1910725 w 5941705"/>
                <a:gd name="connsiteY187" fmla="*/ 24069 h 1904787"/>
                <a:gd name="connsiteX188" fmla="*/ 2588905 w 5941705"/>
                <a:gd name="connsiteY188" fmla="*/ 1209 h 1904787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76415 w 5941705"/>
                <a:gd name="connsiteY143" fmla="*/ 522206 h 1904787"/>
                <a:gd name="connsiteX144" fmla="*/ 3792865 w 5941705"/>
                <a:gd name="connsiteY144" fmla="*/ 435550 h 1904787"/>
                <a:gd name="connsiteX145" fmla="*/ 3277086 w 5941705"/>
                <a:gd name="connsiteY145" fmla="*/ 147419 h 1904787"/>
                <a:gd name="connsiteX146" fmla="*/ 2733685 w 5941705"/>
                <a:gd name="connsiteY146" fmla="*/ 100270 h 1904787"/>
                <a:gd name="connsiteX147" fmla="*/ 2558424 w 5941705"/>
                <a:gd name="connsiteY147" fmla="*/ 92650 h 1904787"/>
                <a:gd name="connsiteX148" fmla="*/ 2036454 w 5941705"/>
                <a:gd name="connsiteY148" fmla="*/ 102175 h 1904787"/>
                <a:gd name="connsiteX149" fmla="*/ 1407804 w 5941705"/>
                <a:gd name="connsiteY149" fmla="*/ 336490 h 1904787"/>
                <a:gd name="connsiteX150" fmla="*/ 1506864 w 5941705"/>
                <a:gd name="connsiteY150" fmla="*/ 572710 h 1904787"/>
                <a:gd name="connsiteX151" fmla="*/ 2676191 w 5941705"/>
                <a:gd name="connsiteY151" fmla="*/ 613869 h 1904787"/>
                <a:gd name="connsiteX152" fmla="*/ 2558424 w 5941705"/>
                <a:gd name="connsiteY152" fmla="*/ 92650 h 1904787"/>
                <a:gd name="connsiteX153" fmla="*/ 2588905 w 5941705"/>
                <a:gd name="connsiteY153" fmla="*/ 1209 h 1904787"/>
                <a:gd name="connsiteX154" fmla="*/ 3282325 w 5941705"/>
                <a:gd name="connsiteY154" fmla="*/ 62169 h 1904787"/>
                <a:gd name="connsiteX155" fmla="*/ 4265305 w 5941705"/>
                <a:gd name="connsiteY155" fmla="*/ 580329 h 1904787"/>
                <a:gd name="connsiteX156" fmla="*/ 5133985 w 5941705"/>
                <a:gd name="connsiteY156" fmla="*/ 656529 h 1904787"/>
                <a:gd name="connsiteX157" fmla="*/ 5850265 w 5941705"/>
                <a:gd name="connsiteY157" fmla="*/ 831789 h 1904787"/>
                <a:gd name="connsiteX158" fmla="*/ 5941705 w 5941705"/>
                <a:gd name="connsiteY158" fmla="*/ 1068009 h 1904787"/>
                <a:gd name="connsiteX159" fmla="*/ 5888365 w 5941705"/>
                <a:gd name="connsiteY159" fmla="*/ 1327089 h 1904787"/>
                <a:gd name="connsiteX160" fmla="*/ 5918845 w 5941705"/>
                <a:gd name="connsiteY160" fmla="*/ 1509969 h 1904787"/>
                <a:gd name="connsiteX161" fmla="*/ 5842645 w 5941705"/>
                <a:gd name="connsiteY161" fmla="*/ 1586169 h 1904787"/>
                <a:gd name="connsiteX162" fmla="*/ 5583565 w 5941705"/>
                <a:gd name="connsiteY162" fmla="*/ 1593789 h 1904787"/>
                <a:gd name="connsiteX163" fmla="*/ 5556953 w 5941705"/>
                <a:gd name="connsiteY163" fmla="*/ 1593735 h 1904787"/>
                <a:gd name="connsiteX164" fmla="*/ 5578894 w 5941705"/>
                <a:gd name="connsiteY164" fmla="*/ 1456630 h 1904787"/>
                <a:gd name="connsiteX165" fmla="*/ 5080748 w 5941705"/>
                <a:gd name="connsiteY165" fmla="*/ 963416 h 1904787"/>
                <a:gd name="connsiteX166" fmla="*/ 4582602 w 5941705"/>
                <a:gd name="connsiteY166" fmla="*/ 1456630 h 1904787"/>
                <a:gd name="connsiteX167" fmla="*/ 4603930 w 5941705"/>
                <a:gd name="connsiteY167" fmla="*/ 1591778 h 1904787"/>
                <a:gd name="connsiteX168" fmla="*/ 1872625 w 5941705"/>
                <a:gd name="connsiteY168" fmla="*/ 1586169 h 1904787"/>
                <a:gd name="connsiteX169" fmla="*/ 1833037 w 5941705"/>
                <a:gd name="connsiteY169" fmla="*/ 1584015 h 1904787"/>
                <a:gd name="connsiteX170" fmla="*/ 1851931 w 5941705"/>
                <a:gd name="connsiteY170" fmla="*/ 1456630 h 1904787"/>
                <a:gd name="connsiteX171" fmla="*/ 1353785 w 5941705"/>
                <a:gd name="connsiteY171" fmla="*/ 963416 h 1904787"/>
                <a:gd name="connsiteX172" fmla="*/ 855639 w 5941705"/>
                <a:gd name="connsiteY172" fmla="*/ 1456630 h 1904787"/>
                <a:gd name="connsiteX173" fmla="*/ 863570 w 5941705"/>
                <a:gd name="connsiteY173" fmla="*/ 1534524 h 1904787"/>
                <a:gd name="connsiteX174" fmla="*/ 809613 w 5941705"/>
                <a:gd name="connsiteY174" fmla="*/ 1528318 h 1904787"/>
                <a:gd name="connsiteX175" fmla="*/ 752485 w 5941705"/>
                <a:gd name="connsiteY175" fmla="*/ 1525209 h 1904787"/>
                <a:gd name="connsiteX176" fmla="*/ 752461 w 5941705"/>
                <a:gd name="connsiteY176" fmla="*/ 1521744 h 1904787"/>
                <a:gd name="connsiteX177" fmla="*/ 333498 w 5941705"/>
                <a:gd name="connsiteY177" fmla="*/ 1473554 h 1904787"/>
                <a:gd name="connsiteX178" fmla="*/ 270349 w 5941705"/>
                <a:gd name="connsiteY178" fmla="*/ 1452901 h 1904787"/>
                <a:gd name="connsiteX179" fmla="*/ 236237 w 5941705"/>
                <a:gd name="connsiteY179" fmla="*/ 1439524 h 1904787"/>
                <a:gd name="connsiteX180" fmla="*/ 0 w 5941705"/>
                <a:gd name="connsiteY180" fmla="*/ 1120183 h 1904787"/>
                <a:gd name="connsiteX181" fmla="*/ 142886 w 5941705"/>
                <a:gd name="connsiteY181" fmla="*/ 845827 h 1904787"/>
                <a:gd name="connsiteX182" fmla="*/ 142886 w 5941705"/>
                <a:gd name="connsiteY182" fmla="*/ 628910 h 1904787"/>
                <a:gd name="connsiteX183" fmla="*/ 183452 w 5941705"/>
                <a:gd name="connsiteY183" fmla="*/ 523375 h 1904787"/>
                <a:gd name="connsiteX184" fmla="*/ 309027 w 5941705"/>
                <a:gd name="connsiteY184" fmla="*/ 450735 h 1904787"/>
                <a:gd name="connsiteX185" fmla="*/ 767423 w 5941705"/>
                <a:gd name="connsiteY185" fmla="*/ 426526 h 1904787"/>
                <a:gd name="connsiteX186" fmla="*/ 1697365 w 5941705"/>
                <a:gd name="connsiteY186" fmla="*/ 54549 h 1904787"/>
                <a:gd name="connsiteX187" fmla="*/ 1910725 w 5941705"/>
                <a:gd name="connsiteY187" fmla="*/ 24069 h 1904787"/>
                <a:gd name="connsiteX188" fmla="*/ 2588905 w 5941705"/>
                <a:gd name="connsiteY188" fmla="*/ 1209 h 190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5941705" h="1904787">
                  <a:moveTo>
                    <a:pt x="5116984" y="1546279"/>
                  </a:moveTo>
                  <a:cubicBezTo>
                    <a:pt x="5118011" y="1623232"/>
                    <a:pt x="5119039" y="1700186"/>
                    <a:pt x="5120066" y="1777139"/>
                  </a:cubicBezTo>
                  <a:cubicBezTo>
                    <a:pt x="5181372" y="1771322"/>
                    <a:pt x="5237223" y="1747059"/>
                    <a:pt x="5282005" y="1709632"/>
                  </a:cubicBezTo>
                  <a:lnTo>
                    <a:pt x="5116984" y="1546279"/>
                  </a:lnTo>
                  <a:close/>
                  <a:moveTo>
                    <a:pt x="1390021" y="1546279"/>
                  </a:moveTo>
                  <a:cubicBezTo>
                    <a:pt x="1391048" y="1623232"/>
                    <a:pt x="1392076" y="1700186"/>
                    <a:pt x="1393103" y="1777139"/>
                  </a:cubicBezTo>
                  <a:cubicBezTo>
                    <a:pt x="1454409" y="1771322"/>
                    <a:pt x="1510260" y="1747059"/>
                    <a:pt x="1555042" y="1709632"/>
                  </a:cubicBezTo>
                  <a:lnTo>
                    <a:pt x="1390021" y="1546279"/>
                  </a:lnTo>
                  <a:close/>
                  <a:moveTo>
                    <a:pt x="5046770" y="1545234"/>
                  </a:moveTo>
                  <a:lnTo>
                    <a:pt x="4882001" y="1711686"/>
                  </a:lnTo>
                  <a:cubicBezTo>
                    <a:pt x="4928474" y="1749610"/>
                    <a:pt x="4986439" y="1773642"/>
                    <a:pt x="5049877" y="1777982"/>
                  </a:cubicBezTo>
                  <a:cubicBezTo>
                    <a:pt x="5048841" y="1700399"/>
                    <a:pt x="5047806" y="1622817"/>
                    <a:pt x="5046770" y="1545234"/>
                  </a:cubicBezTo>
                  <a:close/>
                  <a:moveTo>
                    <a:pt x="1319807" y="1545234"/>
                  </a:moveTo>
                  <a:lnTo>
                    <a:pt x="1155038" y="1711686"/>
                  </a:lnTo>
                  <a:cubicBezTo>
                    <a:pt x="1201511" y="1749610"/>
                    <a:pt x="1259476" y="1773642"/>
                    <a:pt x="1322914" y="1777982"/>
                  </a:cubicBezTo>
                  <a:cubicBezTo>
                    <a:pt x="1321878" y="1700399"/>
                    <a:pt x="1320843" y="1622817"/>
                    <a:pt x="1319807" y="1545234"/>
                  </a:cubicBezTo>
                  <a:close/>
                  <a:moveTo>
                    <a:pt x="5166423" y="1496449"/>
                  </a:moveTo>
                  <a:lnTo>
                    <a:pt x="5331884" y="1660238"/>
                  </a:lnTo>
                  <a:cubicBezTo>
                    <a:pt x="5370179" y="1615277"/>
                    <a:pt x="5394850" y="1559050"/>
                    <a:pt x="5400288" y="1497347"/>
                  </a:cubicBezTo>
                  <a:lnTo>
                    <a:pt x="5166423" y="1496449"/>
                  </a:lnTo>
                  <a:close/>
                  <a:moveTo>
                    <a:pt x="1439460" y="1496449"/>
                  </a:moveTo>
                  <a:lnTo>
                    <a:pt x="1604921" y="1660238"/>
                  </a:lnTo>
                  <a:cubicBezTo>
                    <a:pt x="1643216" y="1615277"/>
                    <a:pt x="1667887" y="1559050"/>
                    <a:pt x="1673325" y="1497347"/>
                  </a:cubicBezTo>
                  <a:lnTo>
                    <a:pt x="1439460" y="1496449"/>
                  </a:lnTo>
                  <a:close/>
                  <a:moveTo>
                    <a:pt x="4760955" y="1494893"/>
                  </a:moveTo>
                  <a:cubicBezTo>
                    <a:pt x="4766108" y="1558685"/>
                    <a:pt x="4791727" y="1616741"/>
                    <a:pt x="4831688" y="1662734"/>
                  </a:cubicBezTo>
                  <a:lnTo>
                    <a:pt x="4996937" y="1495799"/>
                  </a:lnTo>
                  <a:lnTo>
                    <a:pt x="4760955" y="1494893"/>
                  </a:lnTo>
                  <a:close/>
                  <a:moveTo>
                    <a:pt x="1033992" y="1494893"/>
                  </a:moveTo>
                  <a:cubicBezTo>
                    <a:pt x="1039145" y="1558685"/>
                    <a:pt x="1064764" y="1616741"/>
                    <a:pt x="1104725" y="1662734"/>
                  </a:cubicBezTo>
                  <a:lnTo>
                    <a:pt x="1269974" y="1495799"/>
                  </a:lnTo>
                  <a:lnTo>
                    <a:pt x="1033992" y="1494893"/>
                  </a:lnTo>
                  <a:close/>
                  <a:moveTo>
                    <a:pt x="4829608" y="1261808"/>
                  </a:moveTo>
                  <a:cubicBezTo>
                    <a:pt x="4791313" y="1306769"/>
                    <a:pt x="4766642" y="1362997"/>
                    <a:pt x="4761204" y="1424700"/>
                  </a:cubicBezTo>
                  <a:lnTo>
                    <a:pt x="4995069" y="1425597"/>
                  </a:lnTo>
                  <a:lnTo>
                    <a:pt x="4829608" y="1261808"/>
                  </a:lnTo>
                  <a:close/>
                  <a:moveTo>
                    <a:pt x="1102645" y="1261808"/>
                  </a:moveTo>
                  <a:cubicBezTo>
                    <a:pt x="1064350" y="1306769"/>
                    <a:pt x="1039679" y="1362997"/>
                    <a:pt x="1034241" y="1424700"/>
                  </a:cubicBezTo>
                  <a:lnTo>
                    <a:pt x="1268106" y="1425597"/>
                  </a:lnTo>
                  <a:lnTo>
                    <a:pt x="1102645" y="1261808"/>
                  </a:lnTo>
                  <a:close/>
                  <a:moveTo>
                    <a:pt x="5329803" y="1259311"/>
                  </a:moveTo>
                  <a:lnTo>
                    <a:pt x="5164554" y="1426247"/>
                  </a:lnTo>
                  <a:lnTo>
                    <a:pt x="5400538" y="1427153"/>
                  </a:lnTo>
                  <a:cubicBezTo>
                    <a:pt x="5395385" y="1363361"/>
                    <a:pt x="5369765" y="1305304"/>
                    <a:pt x="5329803" y="1259311"/>
                  </a:cubicBezTo>
                  <a:close/>
                  <a:moveTo>
                    <a:pt x="1602840" y="1259311"/>
                  </a:moveTo>
                  <a:lnTo>
                    <a:pt x="1437591" y="1426247"/>
                  </a:lnTo>
                  <a:lnTo>
                    <a:pt x="1673575" y="1427153"/>
                  </a:lnTo>
                  <a:cubicBezTo>
                    <a:pt x="1668422" y="1363361"/>
                    <a:pt x="1642802" y="1305304"/>
                    <a:pt x="1602840" y="1259311"/>
                  </a:cubicBezTo>
                  <a:close/>
                  <a:moveTo>
                    <a:pt x="5041427" y="1144908"/>
                  </a:moveTo>
                  <a:cubicBezTo>
                    <a:pt x="4980121" y="1150724"/>
                    <a:pt x="4924269" y="1174987"/>
                    <a:pt x="4879487" y="1212414"/>
                  </a:cubicBezTo>
                  <a:lnTo>
                    <a:pt x="5044508" y="1375767"/>
                  </a:lnTo>
                  <a:lnTo>
                    <a:pt x="5041427" y="1144908"/>
                  </a:lnTo>
                  <a:close/>
                  <a:moveTo>
                    <a:pt x="1314464" y="1144908"/>
                  </a:moveTo>
                  <a:cubicBezTo>
                    <a:pt x="1253158" y="1150724"/>
                    <a:pt x="1197306" y="1174987"/>
                    <a:pt x="1152524" y="1212414"/>
                  </a:cubicBezTo>
                  <a:lnTo>
                    <a:pt x="1317545" y="1375767"/>
                  </a:lnTo>
                  <a:lnTo>
                    <a:pt x="1314464" y="1144908"/>
                  </a:lnTo>
                  <a:close/>
                  <a:moveTo>
                    <a:pt x="5111615" y="1144064"/>
                  </a:moveTo>
                  <a:cubicBezTo>
                    <a:pt x="5112651" y="1221646"/>
                    <a:pt x="5113686" y="1299228"/>
                    <a:pt x="5114722" y="1376810"/>
                  </a:cubicBezTo>
                  <a:lnTo>
                    <a:pt x="5279490" y="1210359"/>
                  </a:lnTo>
                  <a:cubicBezTo>
                    <a:pt x="5233017" y="1172436"/>
                    <a:pt x="5175053" y="1148404"/>
                    <a:pt x="5111615" y="1144064"/>
                  </a:cubicBezTo>
                  <a:close/>
                  <a:moveTo>
                    <a:pt x="1384652" y="1144064"/>
                  </a:moveTo>
                  <a:cubicBezTo>
                    <a:pt x="1385688" y="1221646"/>
                    <a:pt x="1386723" y="1299228"/>
                    <a:pt x="1387759" y="1376810"/>
                  </a:cubicBezTo>
                  <a:lnTo>
                    <a:pt x="1552527" y="1210359"/>
                  </a:lnTo>
                  <a:cubicBezTo>
                    <a:pt x="1506054" y="1172436"/>
                    <a:pt x="1448090" y="1148404"/>
                    <a:pt x="1384652" y="1144064"/>
                  </a:cubicBezTo>
                  <a:close/>
                  <a:moveTo>
                    <a:pt x="5080745" y="1017259"/>
                  </a:moveTo>
                  <a:cubicBezTo>
                    <a:pt x="5137074" y="1017259"/>
                    <a:pt x="5190927" y="1027965"/>
                    <a:pt x="5239854" y="1048637"/>
                  </a:cubicBezTo>
                  <a:cubicBezTo>
                    <a:pt x="5254582" y="1053010"/>
                    <a:pt x="5268690" y="1059187"/>
                    <a:pt x="5281583" y="1067960"/>
                  </a:cubicBezTo>
                  <a:cubicBezTo>
                    <a:pt x="5287242" y="1070008"/>
                    <a:pt x="5292427" y="1072928"/>
                    <a:pt x="5297306" y="1076357"/>
                  </a:cubicBezTo>
                  <a:cubicBezTo>
                    <a:pt x="5333947" y="1094347"/>
                    <a:pt x="5367336" y="1119522"/>
                    <a:pt x="5397320" y="1150046"/>
                  </a:cubicBezTo>
                  <a:cubicBezTo>
                    <a:pt x="5430388" y="1183710"/>
                    <a:pt x="5456879" y="1221399"/>
                    <a:pt x="5474593" y="1262559"/>
                  </a:cubicBezTo>
                  <a:cubicBezTo>
                    <a:pt x="5481612" y="1271965"/>
                    <a:pt x="5486516" y="1282491"/>
                    <a:pt x="5490691" y="1293361"/>
                  </a:cubicBezTo>
                  <a:cubicBezTo>
                    <a:pt x="5490845" y="1293548"/>
                    <a:pt x="5490926" y="1293763"/>
                    <a:pt x="5491006" y="1293978"/>
                  </a:cubicBezTo>
                  <a:cubicBezTo>
                    <a:pt x="5493906" y="1300521"/>
                    <a:pt x="5496384" y="1307217"/>
                    <a:pt x="5497349" y="1314419"/>
                  </a:cubicBezTo>
                  <a:lnTo>
                    <a:pt x="5497968" y="1316571"/>
                  </a:lnTo>
                  <a:cubicBezTo>
                    <a:pt x="5507080" y="1336702"/>
                    <a:pt x="5512882" y="1358172"/>
                    <a:pt x="5516297" y="1380356"/>
                  </a:cubicBezTo>
                  <a:cubicBezTo>
                    <a:pt x="5521936" y="1406376"/>
                    <a:pt x="5524510" y="1433402"/>
                    <a:pt x="5524510" y="1461023"/>
                  </a:cubicBezTo>
                  <a:cubicBezTo>
                    <a:pt x="5524510" y="1488484"/>
                    <a:pt x="5521966" y="1515356"/>
                    <a:pt x="5516344" y="1541230"/>
                  </a:cubicBezTo>
                  <a:cubicBezTo>
                    <a:pt x="5512458" y="1566277"/>
                    <a:pt x="5505689" y="1590445"/>
                    <a:pt x="5495561" y="1613151"/>
                  </a:cubicBezTo>
                  <a:cubicBezTo>
                    <a:pt x="5494919" y="1618675"/>
                    <a:pt x="5492906" y="1623797"/>
                    <a:pt x="5490646" y="1628828"/>
                  </a:cubicBezTo>
                  <a:lnTo>
                    <a:pt x="5490645" y="1628829"/>
                  </a:lnTo>
                  <a:cubicBezTo>
                    <a:pt x="5487910" y="1636210"/>
                    <a:pt x="5484686" y="1643368"/>
                    <a:pt x="5479922" y="1649767"/>
                  </a:cubicBezTo>
                  <a:cubicBezTo>
                    <a:pt x="5461155" y="1694502"/>
                    <a:pt x="5433002" y="1735724"/>
                    <a:pt x="5397118" y="1772207"/>
                  </a:cubicBezTo>
                  <a:cubicBezTo>
                    <a:pt x="5357516" y="1812469"/>
                    <a:pt x="5311988" y="1843410"/>
                    <a:pt x="5262748" y="1863895"/>
                  </a:cubicBezTo>
                  <a:cubicBezTo>
                    <a:pt x="5256165" y="1868082"/>
                    <a:pt x="5249045" y="1871142"/>
                    <a:pt x="5241483" y="1873139"/>
                  </a:cubicBezTo>
                  <a:cubicBezTo>
                    <a:pt x="5228294" y="1878964"/>
                    <a:pt x="5214627" y="1883395"/>
                    <a:pt x="5200496" y="1885989"/>
                  </a:cubicBezTo>
                  <a:cubicBezTo>
                    <a:pt x="5162822" y="1898915"/>
                    <a:pt x="5122462" y="1904787"/>
                    <a:pt x="5080745" y="1904787"/>
                  </a:cubicBezTo>
                  <a:cubicBezTo>
                    <a:pt x="5024415" y="1904787"/>
                    <a:pt x="4970561" y="1894081"/>
                    <a:pt x="4921634" y="1873408"/>
                  </a:cubicBezTo>
                  <a:cubicBezTo>
                    <a:pt x="4906904" y="1869034"/>
                    <a:pt x="4892795" y="1862857"/>
                    <a:pt x="4879900" y="1854083"/>
                  </a:cubicBezTo>
                  <a:cubicBezTo>
                    <a:pt x="4874242" y="1852035"/>
                    <a:pt x="4869057" y="1849115"/>
                    <a:pt x="4864179" y="1845687"/>
                  </a:cubicBezTo>
                  <a:cubicBezTo>
                    <a:pt x="4827541" y="1827697"/>
                    <a:pt x="4794153" y="1802523"/>
                    <a:pt x="4764170" y="1772000"/>
                  </a:cubicBezTo>
                  <a:cubicBezTo>
                    <a:pt x="4731066" y="1738300"/>
                    <a:pt x="4704554" y="1700566"/>
                    <a:pt x="4686830" y="1659361"/>
                  </a:cubicBezTo>
                  <a:cubicBezTo>
                    <a:pt x="4679841" y="1649996"/>
                    <a:pt x="4674961" y="1639517"/>
                    <a:pt x="4670805" y="1628695"/>
                  </a:cubicBezTo>
                  <a:cubicBezTo>
                    <a:pt x="4670650" y="1628508"/>
                    <a:pt x="4670569" y="1628292"/>
                    <a:pt x="4670488" y="1628076"/>
                  </a:cubicBezTo>
                  <a:cubicBezTo>
                    <a:pt x="4667578" y="1621510"/>
                    <a:pt x="4665091" y="1614790"/>
                    <a:pt x="4664123" y="1607562"/>
                  </a:cubicBezTo>
                  <a:lnTo>
                    <a:pt x="4663511" y="1605431"/>
                  </a:lnTo>
                  <a:cubicBezTo>
                    <a:pt x="4654402" y="1585308"/>
                    <a:pt x="4648603" y="1563846"/>
                    <a:pt x="4645193" y="1541669"/>
                  </a:cubicBezTo>
                  <a:cubicBezTo>
                    <a:pt x="4639555" y="1515655"/>
                    <a:pt x="4636982" y="1488637"/>
                    <a:pt x="4636982" y="1461023"/>
                  </a:cubicBezTo>
                  <a:cubicBezTo>
                    <a:pt x="4636982" y="1433562"/>
                    <a:pt x="4639527" y="1406690"/>
                    <a:pt x="4645149" y="1380816"/>
                  </a:cubicBezTo>
                  <a:cubicBezTo>
                    <a:pt x="4651544" y="1342320"/>
                    <a:pt x="4663734" y="1305714"/>
                    <a:pt x="4681610" y="1272207"/>
                  </a:cubicBezTo>
                  <a:cubicBezTo>
                    <a:pt x="4700369" y="1227499"/>
                    <a:pt x="4728510" y="1186302"/>
                    <a:pt x="4764374" y="1149839"/>
                  </a:cubicBezTo>
                  <a:cubicBezTo>
                    <a:pt x="4806989" y="1106514"/>
                    <a:pt x="4856467" y="1073981"/>
                    <a:pt x="4909454" y="1052279"/>
                  </a:cubicBezTo>
                  <a:cubicBezTo>
                    <a:pt x="4962082" y="1029721"/>
                    <a:pt x="5019973" y="1017259"/>
                    <a:pt x="5080745" y="1017259"/>
                  </a:cubicBezTo>
                  <a:close/>
                  <a:moveTo>
                    <a:pt x="1353782" y="1017259"/>
                  </a:moveTo>
                  <a:cubicBezTo>
                    <a:pt x="1410111" y="1017259"/>
                    <a:pt x="1463964" y="1027965"/>
                    <a:pt x="1512891" y="1048637"/>
                  </a:cubicBezTo>
                  <a:cubicBezTo>
                    <a:pt x="1527619" y="1053010"/>
                    <a:pt x="1541727" y="1059187"/>
                    <a:pt x="1554620" y="1067960"/>
                  </a:cubicBezTo>
                  <a:cubicBezTo>
                    <a:pt x="1560279" y="1070008"/>
                    <a:pt x="1565464" y="1072928"/>
                    <a:pt x="1570343" y="1076357"/>
                  </a:cubicBezTo>
                  <a:cubicBezTo>
                    <a:pt x="1606984" y="1094347"/>
                    <a:pt x="1640373" y="1119522"/>
                    <a:pt x="1670357" y="1150046"/>
                  </a:cubicBezTo>
                  <a:cubicBezTo>
                    <a:pt x="1703425" y="1183710"/>
                    <a:pt x="1729916" y="1221399"/>
                    <a:pt x="1747630" y="1262559"/>
                  </a:cubicBezTo>
                  <a:cubicBezTo>
                    <a:pt x="1754649" y="1271965"/>
                    <a:pt x="1759553" y="1282491"/>
                    <a:pt x="1763728" y="1293361"/>
                  </a:cubicBezTo>
                  <a:cubicBezTo>
                    <a:pt x="1763882" y="1293548"/>
                    <a:pt x="1763963" y="1293763"/>
                    <a:pt x="1764043" y="1293978"/>
                  </a:cubicBezTo>
                  <a:cubicBezTo>
                    <a:pt x="1766943" y="1300521"/>
                    <a:pt x="1769421" y="1307217"/>
                    <a:pt x="1770386" y="1314419"/>
                  </a:cubicBezTo>
                  <a:lnTo>
                    <a:pt x="1771005" y="1316571"/>
                  </a:lnTo>
                  <a:cubicBezTo>
                    <a:pt x="1780117" y="1336702"/>
                    <a:pt x="1785919" y="1358172"/>
                    <a:pt x="1789334" y="1380356"/>
                  </a:cubicBezTo>
                  <a:cubicBezTo>
                    <a:pt x="1794973" y="1406376"/>
                    <a:pt x="1797547" y="1433402"/>
                    <a:pt x="1797547" y="1461023"/>
                  </a:cubicBezTo>
                  <a:cubicBezTo>
                    <a:pt x="1797547" y="1488484"/>
                    <a:pt x="1795003" y="1515356"/>
                    <a:pt x="1789381" y="1541230"/>
                  </a:cubicBezTo>
                  <a:cubicBezTo>
                    <a:pt x="1785495" y="1566277"/>
                    <a:pt x="1778726" y="1590445"/>
                    <a:pt x="1768598" y="1613151"/>
                  </a:cubicBezTo>
                  <a:cubicBezTo>
                    <a:pt x="1767956" y="1618675"/>
                    <a:pt x="1765943" y="1623797"/>
                    <a:pt x="1763683" y="1628828"/>
                  </a:cubicBezTo>
                  <a:lnTo>
                    <a:pt x="1763682" y="1628829"/>
                  </a:lnTo>
                  <a:cubicBezTo>
                    <a:pt x="1760947" y="1636210"/>
                    <a:pt x="1757723" y="1643368"/>
                    <a:pt x="1752959" y="1649767"/>
                  </a:cubicBezTo>
                  <a:cubicBezTo>
                    <a:pt x="1734192" y="1694502"/>
                    <a:pt x="1706039" y="1735724"/>
                    <a:pt x="1670155" y="1772207"/>
                  </a:cubicBezTo>
                  <a:cubicBezTo>
                    <a:pt x="1630553" y="1812469"/>
                    <a:pt x="1585025" y="1843410"/>
                    <a:pt x="1535785" y="1863895"/>
                  </a:cubicBezTo>
                  <a:cubicBezTo>
                    <a:pt x="1529202" y="1868082"/>
                    <a:pt x="1522082" y="1871142"/>
                    <a:pt x="1514520" y="1873139"/>
                  </a:cubicBezTo>
                  <a:cubicBezTo>
                    <a:pt x="1501331" y="1878964"/>
                    <a:pt x="1487664" y="1883395"/>
                    <a:pt x="1473533" y="1885989"/>
                  </a:cubicBezTo>
                  <a:cubicBezTo>
                    <a:pt x="1435859" y="1898915"/>
                    <a:pt x="1395499" y="1904787"/>
                    <a:pt x="1353782" y="1904787"/>
                  </a:cubicBezTo>
                  <a:cubicBezTo>
                    <a:pt x="1297452" y="1904787"/>
                    <a:pt x="1243598" y="1894081"/>
                    <a:pt x="1194671" y="1873408"/>
                  </a:cubicBezTo>
                  <a:cubicBezTo>
                    <a:pt x="1179941" y="1869034"/>
                    <a:pt x="1165832" y="1862857"/>
                    <a:pt x="1152937" y="1854083"/>
                  </a:cubicBezTo>
                  <a:cubicBezTo>
                    <a:pt x="1147279" y="1852035"/>
                    <a:pt x="1142094" y="1849115"/>
                    <a:pt x="1137216" y="1845687"/>
                  </a:cubicBezTo>
                  <a:cubicBezTo>
                    <a:pt x="1100578" y="1827697"/>
                    <a:pt x="1067190" y="1802523"/>
                    <a:pt x="1037207" y="1772000"/>
                  </a:cubicBezTo>
                  <a:cubicBezTo>
                    <a:pt x="1004103" y="1738300"/>
                    <a:pt x="977591" y="1700566"/>
                    <a:pt x="959867" y="1659361"/>
                  </a:cubicBezTo>
                  <a:cubicBezTo>
                    <a:pt x="952878" y="1649996"/>
                    <a:pt x="947998" y="1639517"/>
                    <a:pt x="943842" y="1628695"/>
                  </a:cubicBezTo>
                  <a:cubicBezTo>
                    <a:pt x="943687" y="1628508"/>
                    <a:pt x="943606" y="1628292"/>
                    <a:pt x="943525" y="1628076"/>
                  </a:cubicBezTo>
                  <a:cubicBezTo>
                    <a:pt x="940615" y="1621510"/>
                    <a:pt x="938128" y="1614790"/>
                    <a:pt x="937160" y="1607562"/>
                  </a:cubicBezTo>
                  <a:lnTo>
                    <a:pt x="936548" y="1605431"/>
                  </a:lnTo>
                  <a:cubicBezTo>
                    <a:pt x="927439" y="1585308"/>
                    <a:pt x="921640" y="1563846"/>
                    <a:pt x="918230" y="1541669"/>
                  </a:cubicBezTo>
                  <a:cubicBezTo>
                    <a:pt x="912592" y="1515655"/>
                    <a:pt x="910019" y="1488637"/>
                    <a:pt x="910019" y="1461023"/>
                  </a:cubicBezTo>
                  <a:cubicBezTo>
                    <a:pt x="910019" y="1433562"/>
                    <a:pt x="912564" y="1406690"/>
                    <a:pt x="918186" y="1380816"/>
                  </a:cubicBezTo>
                  <a:cubicBezTo>
                    <a:pt x="924581" y="1342320"/>
                    <a:pt x="936771" y="1305714"/>
                    <a:pt x="954647" y="1272207"/>
                  </a:cubicBezTo>
                  <a:cubicBezTo>
                    <a:pt x="973406" y="1227499"/>
                    <a:pt x="1001547" y="1186302"/>
                    <a:pt x="1037411" y="1149839"/>
                  </a:cubicBezTo>
                  <a:cubicBezTo>
                    <a:pt x="1080026" y="1106514"/>
                    <a:pt x="1129504" y="1073981"/>
                    <a:pt x="1182491" y="1052279"/>
                  </a:cubicBezTo>
                  <a:cubicBezTo>
                    <a:pt x="1235119" y="1029721"/>
                    <a:pt x="1293010" y="1017259"/>
                    <a:pt x="1353782" y="1017259"/>
                  </a:cubicBezTo>
                  <a:close/>
                  <a:moveTo>
                    <a:pt x="2733685" y="100270"/>
                  </a:moveTo>
                  <a:lnTo>
                    <a:pt x="2886085" y="610810"/>
                  </a:lnTo>
                  <a:lnTo>
                    <a:pt x="3754765" y="626050"/>
                  </a:lnTo>
                  <a:lnTo>
                    <a:pt x="3776415" y="522206"/>
                  </a:lnTo>
                  <a:lnTo>
                    <a:pt x="3792865" y="435550"/>
                  </a:lnTo>
                  <a:cubicBezTo>
                    <a:pt x="3738255" y="365700"/>
                    <a:pt x="3453616" y="203299"/>
                    <a:pt x="3277086" y="147419"/>
                  </a:cubicBezTo>
                  <a:lnTo>
                    <a:pt x="2733685" y="100270"/>
                  </a:lnTo>
                  <a:close/>
                  <a:moveTo>
                    <a:pt x="2558424" y="92650"/>
                  </a:moveTo>
                  <a:cubicBezTo>
                    <a:pt x="2339984" y="92650"/>
                    <a:pt x="2254894" y="102175"/>
                    <a:pt x="2036454" y="102175"/>
                  </a:cubicBezTo>
                  <a:cubicBezTo>
                    <a:pt x="1845954" y="147895"/>
                    <a:pt x="1496069" y="258067"/>
                    <a:pt x="1407804" y="336490"/>
                  </a:cubicBezTo>
                  <a:cubicBezTo>
                    <a:pt x="1319539" y="414913"/>
                    <a:pt x="1299854" y="538420"/>
                    <a:pt x="1506864" y="572710"/>
                  </a:cubicBezTo>
                  <a:lnTo>
                    <a:pt x="2676191" y="613869"/>
                  </a:lnTo>
                  <a:lnTo>
                    <a:pt x="2558424" y="92650"/>
                  </a:lnTo>
                  <a:close/>
                  <a:moveTo>
                    <a:pt x="2588905" y="1209"/>
                  </a:moveTo>
                  <a:lnTo>
                    <a:pt x="3282325" y="62169"/>
                  </a:lnTo>
                  <a:cubicBezTo>
                    <a:pt x="3561725" y="158689"/>
                    <a:pt x="3956695" y="481269"/>
                    <a:pt x="4265305" y="580329"/>
                  </a:cubicBezTo>
                  <a:lnTo>
                    <a:pt x="5133985" y="656529"/>
                  </a:lnTo>
                  <a:cubicBezTo>
                    <a:pt x="5423545" y="681929"/>
                    <a:pt x="5715645" y="763209"/>
                    <a:pt x="5850265" y="831789"/>
                  </a:cubicBezTo>
                  <a:lnTo>
                    <a:pt x="5941705" y="1068009"/>
                  </a:lnTo>
                  <a:lnTo>
                    <a:pt x="5888365" y="1327089"/>
                  </a:lnTo>
                  <a:lnTo>
                    <a:pt x="5918845" y="1509969"/>
                  </a:lnTo>
                  <a:lnTo>
                    <a:pt x="5842645" y="1586169"/>
                  </a:lnTo>
                  <a:lnTo>
                    <a:pt x="5583565" y="1593789"/>
                  </a:lnTo>
                  <a:lnTo>
                    <a:pt x="5556953" y="1593735"/>
                  </a:lnTo>
                  <a:cubicBezTo>
                    <a:pt x="5572022" y="1550672"/>
                    <a:pt x="5578894" y="1504446"/>
                    <a:pt x="5578894" y="1456630"/>
                  </a:cubicBezTo>
                  <a:cubicBezTo>
                    <a:pt x="5578894" y="1184235"/>
                    <a:pt x="5355866" y="963416"/>
                    <a:pt x="5080748" y="963416"/>
                  </a:cubicBezTo>
                  <a:cubicBezTo>
                    <a:pt x="4805630" y="963416"/>
                    <a:pt x="4582602" y="1184235"/>
                    <a:pt x="4582602" y="1456630"/>
                  </a:cubicBezTo>
                  <a:cubicBezTo>
                    <a:pt x="4582602" y="1503725"/>
                    <a:pt x="4589269" y="1549279"/>
                    <a:pt x="4603930" y="1591778"/>
                  </a:cubicBezTo>
                  <a:lnTo>
                    <a:pt x="1872625" y="1586169"/>
                  </a:lnTo>
                  <a:lnTo>
                    <a:pt x="1833037" y="1584015"/>
                  </a:lnTo>
                  <a:cubicBezTo>
                    <a:pt x="1846048" y="1543754"/>
                    <a:pt x="1851931" y="1500872"/>
                    <a:pt x="1851931" y="1456630"/>
                  </a:cubicBezTo>
                  <a:cubicBezTo>
                    <a:pt x="1851931" y="1184235"/>
                    <a:pt x="1628903" y="963416"/>
                    <a:pt x="1353785" y="963416"/>
                  </a:cubicBezTo>
                  <a:cubicBezTo>
                    <a:pt x="1078667" y="963416"/>
                    <a:pt x="855639" y="1184235"/>
                    <a:pt x="855639" y="1456630"/>
                  </a:cubicBezTo>
                  <a:cubicBezTo>
                    <a:pt x="855639" y="1483231"/>
                    <a:pt x="857766" y="1509340"/>
                    <a:pt x="863570" y="1534524"/>
                  </a:cubicBezTo>
                  <a:lnTo>
                    <a:pt x="809613" y="1528318"/>
                  </a:lnTo>
                  <a:lnTo>
                    <a:pt x="752485" y="1525209"/>
                  </a:lnTo>
                  <a:lnTo>
                    <a:pt x="752461" y="1521744"/>
                  </a:lnTo>
                  <a:lnTo>
                    <a:pt x="333498" y="1473554"/>
                  </a:lnTo>
                  <a:cubicBezTo>
                    <a:pt x="310538" y="1470913"/>
                    <a:pt x="289209" y="1463716"/>
                    <a:pt x="270349" y="1452901"/>
                  </a:cubicBezTo>
                  <a:lnTo>
                    <a:pt x="236237" y="1439524"/>
                  </a:lnTo>
                  <a:cubicBezTo>
                    <a:pt x="99139" y="1398389"/>
                    <a:pt x="0" y="1270864"/>
                    <a:pt x="0" y="1120183"/>
                  </a:cubicBezTo>
                  <a:cubicBezTo>
                    <a:pt x="0" y="1006616"/>
                    <a:pt x="56316" y="906203"/>
                    <a:pt x="142886" y="845827"/>
                  </a:cubicBezTo>
                  <a:lnTo>
                    <a:pt x="142886" y="628910"/>
                  </a:lnTo>
                  <a:cubicBezTo>
                    <a:pt x="142886" y="588196"/>
                    <a:pt x="157511" y="550898"/>
                    <a:pt x="183452" y="523375"/>
                  </a:cubicBezTo>
                  <a:cubicBezTo>
                    <a:pt x="209577" y="481177"/>
                    <a:pt x="255705" y="453551"/>
                    <a:pt x="309027" y="450735"/>
                  </a:cubicBezTo>
                  <a:lnTo>
                    <a:pt x="767423" y="426526"/>
                  </a:lnTo>
                  <a:lnTo>
                    <a:pt x="1697365" y="54549"/>
                  </a:lnTo>
                  <a:lnTo>
                    <a:pt x="1910725" y="24069"/>
                  </a:lnTo>
                  <a:cubicBezTo>
                    <a:pt x="2059315" y="15179"/>
                    <a:pt x="2360305" y="-5141"/>
                    <a:pt x="2588905" y="1209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 err="1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87" name="Freeform 249">
              <a:extLst>
                <a:ext uri="{FF2B5EF4-FFF2-40B4-BE49-F238E27FC236}">
                  <a16:creationId xmlns:a16="http://schemas.microsoft.com/office/drawing/2014/main" id="{EAEDFC0F-8C47-4350-86AA-649943CD2CBD}"/>
                </a:ext>
              </a:extLst>
            </p:cNvPr>
            <p:cNvSpPr/>
            <p:nvPr/>
          </p:nvSpPr>
          <p:spPr>
            <a:xfrm rot="21348315">
              <a:off x="1428995" y="996483"/>
              <a:ext cx="229276" cy="67996"/>
            </a:xfrm>
            <a:custGeom>
              <a:avLst/>
              <a:gdLst>
                <a:gd name="connsiteX0" fmla="*/ 33338 w 335756"/>
                <a:gd name="connsiteY0" fmla="*/ 107156 h 138112"/>
                <a:gd name="connsiteX1" fmla="*/ 335756 w 335756"/>
                <a:gd name="connsiteY1" fmla="*/ 138112 h 138112"/>
                <a:gd name="connsiteX2" fmla="*/ 242888 w 335756"/>
                <a:gd name="connsiteY2" fmla="*/ 78581 h 138112"/>
                <a:gd name="connsiteX3" fmla="*/ 0 w 335756"/>
                <a:gd name="connsiteY3" fmla="*/ 0 h 138112"/>
                <a:gd name="connsiteX4" fmla="*/ 33338 w 335756"/>
                <a:gd name="connsiteY4" fmla="*/ 107156 h 13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756" h="138112">
                  <a:moveTo>
                    <a:pt x="33338" y="107156"/>
                  </a:moveTo>
                  <a:lnTo>
                    <a:pt x="335756" y="138112"/>
                  </a:lnTo>
                  <a:lnTo>
                    <a:pt x="242888" y="78581"/>
                  </a:lnTo>
                  <a:lnTo>
                    <a:pt x="0" y="0"/>
                  </a:lnTo>
                  <a:lnTo>
                    <a:pt x="33338" y="107156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 err="1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42AF592A-B7B9-4FE4-A6D0-FAE276304977}"/>
              </a:ext>
            </a:extLst>
          </p:cNvPr>
          <p:cNvGrpSpPr/>
          <p:nvPr/>
        </p:nvGrpSpPr>
        <p:grpSpPr>
          <a:xfrm>
            <a:off x="1963914" y="2340076"/>
            <a:ext cx="1710899" cy="119502"/>
            <a:chOff x="5053805" y="2376661"/>
            <a:chExt cx="1710899" cy="119502"/>
          </a:xfrm>
        </p:grpSpPr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2D079473-DFBA-42B7-AA4A-7FC5C7E63B3D}"/>
                </a:ext>
              </a:extLst>
            </p:cNvPr>
            <p:cNvSpPr/>
            <p:nvPr/>
          </p:nvSpPr>
          <p:spPr>
            <a:xfrm>
              <a:off x="5053805" y="2376661"/>
              <a:ext cx="1636556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0" name="Isosceles Triangle 289">
              <a:extLst>
                <a:ext uri="{FF2B5EF4-FFF2-40B4-BE49-F238E27FC236}">
                  <a16:creationId xmlns:a16="http://schemas.microsoft.com/office/drawing/2014/main" id="{A1461A04-9B15-4251-83CD-E069A10B29A5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91" name="TextBox 290">
            <a:extLst>
              <a:ext uri="{FF2B5EF4-FFF2-40B4-BE49-F238E27FC236}">
                <a16:creationId xmlns:a16="http://schemas.microsoft.com/office/drawing/2014/main" id="{16F5CF1B-9094-4840-B6B8-F00C28FDFFA1}"/>
              </a:ext>
            </a:extLst>
          </p:cNvPr>
          <p:cNvSpPr txBox="1"/>
          <p:nvPr/>
        </p:nvSpPr>
        <p:spPr>
          <a:xfrm>
            <a:off x="3687655" y="2309718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City buses</a:t>
            </a:r>
          </a:p>
        </p:txBody>
      </p: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4C1AE838-8344-4D4F-97D5-0B24989F42FD}"/>
              </a:ext>
            </a:extLst>
          </p:cNvPr>
          <p:cNvGrpSpPr/>
          <p:nvPr/>
        </p:nvGrpSpPr>
        <p:grpSpPr>
          <a:xfrm>
            <a:off x="2241523" y="2241584"/>
            <a:ext cx="442217" cy="199778"/>
            <a:chOff x="5424544" y="2529267"/>
            <a:chExt cx="352186" cy="173817"/>
          </a:xfrm>
        </p:grpSpPr>
        <p:sp>
          <p:nvSpPr>
            <p:cNvPr id="293" name="Freeform 62">
              <a:extLst>
                <a:ext uri="{FF2B5EF4-FFF2-40B4-BE49-F238E27FC236}">
                  <a16:creationId xmlns:a16="http://schemas.microsoft.com/office/drawing/2014/main" id="{AA8F12AB-A2C7-41A9-AD4F-2C660C2756A4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5665976" y="2645604"/>
              <a:ext cx="65417" cy="57480"/>
            </a:xfrm>
            <a:custGeom>
              <a:avLst/>
              <a:gdLst>
                <a:gd name="T0" fmla="*/ 381 w 835"/>
                <a:gd name="T1" fmla="*/ 240 h 834"/>
                <a:gd name="T2" fmla="*/ 317 w 835"/>
                <a:gd name="T3" fmla="*/ 267 h 834"/>
                <a:gd name="T4" fmla="*/ 267 w 835"/>
                <a:gd name="T5" fmla="*/ 316 h 834"/>
                <a:gd name="T6" fmla="*/ 240 w 835"/>
                <a:gd name="T7" fmla="*/ 380 h 834"/>
                <a:gd name="T8" fmla="*/ 240 w 835"/>
                <a:gd name="T9" fmla="*/ 453 h 834"/>
                <a:gd name="T10" fmla="*/ 267 w 835"/>
                <a:gd name="T11" fmla="*/ 518 h 834"/>
                <a:gd name="T12" fmla="*/ 317 w 835"/>
                <a:gd name="T13" fmla="*/ 567 h 834"/>
                <a:gd name="T14" fmla="*/ 381 w 835"/>
                <a:gd name="T15" fmla="*/ 594 h 834"/>
                <a:gd name="T16" fmla="*/ 454 w 835"/>
                <a:gd name="T17" fmla="*/ 594 h 834"/>
                <a:gd name="T18" fmla="*/ 518 w 835"/>
                <a:gd name="T19" fmla="*/ 567 h 834"/>
                <a:gd name="T20" fmla="*/ 567 w 835"/>
                <a:gd name="T21" fmla="*/ 518 h 834"/>
                <a:gd name="T22" fmla="*/ 595 w 835"/>
                <a:gd name="T23" fmla="*/ 453 h 834"/>
                <a:gd name="T24" fmla="*/ 595 w 835"/>
                <a:gd name="T25" fmla="*/ 380 h 834"/>
                <a:gd name="T26" fmla="*/ 567 w 835"/>
                <a:gd name="T27" fmla="*/ 316 h 834"/>
                <a:gd name="T28" fmla="*/ 518 w 835"/>
                <a:gd name="T29" fmla="*/ 267 h 834"/>
                <a:gd name="T30" fmla="*/ 454 w 835"/>
                <a:gd name="T31" fmla="*/ 240 h 834"/>
                <a:gd name="T32" fmla="*/ 417 w 835"/>
                <a:gd name="T33" fmla="*/ 0 h 834"/>
                <a:gd name="T34" fmla="*/ 528 w 835"/>
                <a:gd name="T35" fmla="*/ 15 h 834"/>
                <a:gd name="T36" fmla="*/ 627 w 835"/>
                <a:gd name="T37" fmla="*/ 57 h 834"/>
                <a:gd name="T38" fmla="*/ 712 w 835"/>
                <a:gd name="T39" fmla="*/ 122 h 834"/>
                <a:gd name="T40" fmla="*/ 777 w 835"/>
                <a:gd name="T41" fmla="*/ 207 h 834"/>
                <a:gd name="T42" fmla="*/ 820 w 835"/>
                <a:gd name="T43" fmla="*/ 306 h 834"/>
                <a:gd name="T44" fmla="*/ 835 w 835"/>
                <a:gd name="T45" fmla="*/ 417 h 834"/>
                <a:gd name="T46" fmla="*/ 820 w 835"/>
                <a:gd name="T47" fmla="*/ 527 h 834"/>
                <a:gd name="T48" fmla="*/ 777 w 835"/>
                <a:gd name="T49" fmla="*/ 627 h 834"/>
                <a:gd name="T50" fmla="*/ 712 w 835"/>
                <a:gd name="T51" fmla="*/ 711 h 834"/>
                <a:gd name="T52" fmla="*/ 627 w 835"/>
                <a:gd name="T53" fmla="*/ 776 h 834"/>
                <a:gd name="T54" fmla="*/ 528 w 835"/>
                <a:gd name="T55" fmla="*/ 819 h 834"/>
                <a:gd name="T56" fmla="*/ 417 w 835"/>
                <a:gd name="T57" fmla="*/ 834 h 834"/>
                <a:gd name="T58" fmla="*/ 307 w 835"/>
                <a:gd name="T59" fmla="*/ 819 h 834"/>
                <a:gd name="T60" fmla="*/ 207 w 835"/>
                <a:gd name="T61" fmla="*/ 776 h 834"/>
                <a:gd name="T62" fmla="*/ 123 w 835"/>
                <a:gd name="T63" fmla="*/ 711 h 834"/>
                <a:gd name="T64" fmla="*/ 57 w 835"/>
                <a:gd name="T65" fmla="*/ 627 h 834"/>
                <a:gd name="T66" fmla="*/ 15 w 835"/>
                <a:gd name="T67" fmla="*/ 527 h 834"/>
                <a:gd name="T68" fmla="*/ 0 w 835"/>
                <a:gd name="T69" fmla="*/ 417 h 834"/>
                <a:gd name="T70" fmla="*/ 15 w 835"/>
                <a:gd name="T71" fmla="*/ 306 h 834"/>
                <a:gd name="T72" fmla="*/ 57 w 835"/>
                <a:gd name="T73" fmla="*/ 207 h 834"/>
                <a:gd name="T74" fmla="*/ 123 w 835"/>
                <a:gd name="T75" fmla="*/ 122 h 834"/>
                <a:gd name="T76" fmla="*/ 207 w 835"/>
                <a:gd name="T77" fmla="*/ 57 h 834"/>
                <a:gd name="T78" fmla="*/ 307 w 835"/>
                <a:gd name="T79" fmla="*/ 15 h 834"/>
                <a:gd name="T80" fmla="*/ 417 w 835"/>
                <a:gd name="T81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5" h="834">
                  <a:moveTo>
                    <a:pt x="417" y="235"/>
                  </a:moveTo>
                  <a:lnTo>
                    <a:pt x="381" y="240"/>
                  </a:lnTo>
                  <a:lnTo>
                    <a:pt x="347" y="249"/>
                  </a:lnTo>
                  <a:lnTo>
                    <a:pt x="317" y="267"/>
                  </a:lnTo>
                  <a:lnTo>
                    <a:pt x="289" y="289"/>
                  </a:lnTo>
                  <a:lnTo>
                    <a:pt x="267" y="316"/>
                  </a:lnTo>
                  <a:lnTo>
                    <a:pt x="250" y="346"/>
                  </a:lnTo>
                  <a:lnTo>
                    <a:pt x="240" y="380"/>
                  </a:lnTo>
                  <a:lnTo>
                    <a:pt x="236" y="417"/>
                  </a:lnTo>
                  <a:lnTo>
                    <a:pt x="240" y="453"/>
                  </a:lnTo>
                  <a:lnTo>
                    <a:pt x="250" y="488"/>
                  </a:lnTo>
                  <a:lnTo>
                    <a:pt x="267" y="518"/>
                  </a:lnTo>
                  <a:lnTo>
                    <a:pt x="289" y="545"/>
                  </a:lnTo>
                  <a:lnTo>
                    <a:pt x="317" y="567"/>
                  </a:lnTo>
                  <a:lnTo>
                    <a:pt x="347" y="584"/>
                  </a:lnTo>
                  <a:lnTo>
                    <a:pt x="381" y="594"/>
                  </a:lnTo>
                  <a:lnTo>
                    <a:pt x="417" y="598"/>
                  </a:lnTo>
                  <a:lnTo>
                    <a:pt x="454" y="594"/>
                  </a:lnTo>
                  <a:lnTo>
                    <a:pt x="488" y="584"/>
                  </a:lnTo>
                  <a:lnTo>
                    <a:pt x="518" y="567"/>
                  </a:lnTo>
                  <a:lnTo>
                    <a:pt x="546" y="545"/>
                  </a:lnTo>
                  <a:lnTo>
                    <a:pt x="567" y="518"/>
                  </a:lnTo>
                  <a:lnTo>
                    <a:pt x="585" y="488"/>
                  </a:lnTo>
                  <a:lnTo>
                    <a:pt x="595" y="453"/>
                  </a:lnTo>
                  <a:lnTo>
                    <a:pt x="599" y="417"/>
                  </a:lnTo>
                  <a:lnTo>
                    <a:pt x="595" y="380"/>
                  </a:lnTo>
                  <a:lnTo>
                    <a:pt x="585" y="346"/>
                  </a:lnTo>
                  <a:lnTo>
                    <a:pt x="567" y="316"/>
                  </a:lnTo>
                  <a:lnTo>
                    <a:pt x="546" y="289"/>
                  </a:lnTo>
                  <a:lnTo>
                    <a:pt x="518" y="267"/>
                  </a:lnTo>
                  <a:lnTo>
                    <a:pt x="488" y="249"/>
                  </a:lnTo>
                  <a:lnTo>
                    <a:pt x="454" y="240"/>
                  </a:lnTo>
                  <a:lnTo>
                    <a:pt x="417" y="235"/>
                  </a:lnTo>
                  <a:close/>
                  <a:moveTo>
                    <a:pt x="417" y="0"/>
                  </a:moveTo>
                  <a:lnTo>
                    <a:pt x="473" y="4"/>
                  </a:lnTo>
                  <a:lnTo>
                    <a:pt x="528" y="15"/>
                  </a:lnTo>
                  <a:lnTo>
                    <a:pt x="580" y="32"/>
                  </a:lnTo>
                  <a:lnTo>
                    <a:pt x="627" y="57"/>
                  </a:lnTo>
                  <a:lnTo>
                    <a:pt x="672" y="87"/>
                  </a:lnTo>
                  <a:lnTo>
                    <a:pt x="712" y="122"/>
                  </a:lnTo>
                  <a:lnTo>
                    <a:pt x="747" y="162"/>
                  </a:lnTo>
                  <a:lnTo>
                    <a:pt x="777" y="207"/>
                  </a:lnTo>
                  <a:lnTo>
                    <a:pt x="802" y="255"/>
                  </a:lnTo>
                  <a:lnTo>
                    <a:pt x="820" y="306"/>
                  </a:lnTo>
                  <a:lnTo>
                    <a:pt x="831" y="359"/>
                  </a:lnTo>
                  <a:lnTo>
                    <a:pt x="835" y="417"/>
                  </a:lnTo>
                  <a:lnTo>
                    <a:pt x="831" y="474"/>
                  </a:lnTo>
                  <a:lnTo>
                    <a:pt x="820" y="527"/>
                  </a:lnTo>
                  <a:lnTo>
                    <a:pt x="802" y="579"/>
                  </a:lnTo>
                  <a:lnTo>
                    <a:pt x="777" y="627"/>
                  </a:lnTo>
                  <a:lnTo>
                    <a:pt x="747" y="671"/>
                  </a:lnTo>
                  <a:lnTo>
                    <a:pt x="712" y="711"/>
                  </a:lnTo>
                  <a:lnTo>
                    <a:pt x="672" y="746"/>
                  </a:lnTo>
                  <a:lnTo>
                    <a:pt x="627" y="776"/>
                  </a:lnTo>
                  <a:lnTo>
                    <a:pt x="580" y="801"/>
                  </a:lnTo>
                  <a:lnTo>
                    <a:pt x="528" y="819"/>
                  </a:lnTo>
                  <a:lnTo>
                    <a:pt x="473" y="830"/>
                  </a:lnTo>
                  <a:lnTo>
                    <a:pt x="417" y="834"/>
                  </a:lnTo>
                  <a:lnTo>
                    <a:pt x="360" y="830"/>
                  </a:lnTo>
                  <a:lnTo>
                    <a:pt x="307" y="819"/>
                  </a:lnTo>
                  <a:lnTo>
                    <a:pt x="255" y="801"/>
                  </a:lnTo>
                  <a:lnTo>
                    <a:pt x="207" y="776"/>
                  </a:lnTo>
                  <a:lnTo>
                    <a:pt x="162" y="746"/>
                  </a:lnTo>
                  <a:lnTo>
                    <a:pt x="123" y="711"/>
                  </a:lnTo>
                  <a:lnTo>
                    <a:pt x="87" y="671"/>
                  </a:lnTo>
                  <a:lnTo>
                    <a:pt x="57" y="627"/>
                  </a:lnTo>
                  <a:lnTo>
                    <a:pt x="33" y="579"/>
                  </a:lnTo>
                  <a:lnTo>
                    <a:pt x="15" y="527"/>
                  </a:lnTo>
                  <a:lnTo>
                    <a:pt x="4" y="474"/>
                  </a:lnTo>
                  <a:lnTo>
                    <a:pt x="0" y="417"/>
                  </a:lnTo>
                  <a:lnTo>
                    <a:pt x="4" y="359"/>
                  </a:lnTo>
                  <a:lnTo>
                    <a:pt x="15" y="306"/>
                  </a:lnTo>
                  <a:lnTo>
                    <a:pt x="33" y="255"/>
                  </a:lnTo>
                  <a:lnTo>
                    <a:pt x="57" y="207"/>
                  </a:lnTo>
                  <a:lnTo>
                    <a:pt x="87" y="162"/>
                  </a:lnTo>
                  <a:lnTo>
                    <a:pt x="123" y="122"/>
                  </a:lnTo>
                  <a:lnTo>
                    <a:pt x="162" y="87"/>
                  </a:lnTo>
                  <a:lnTo>
                    <a:pt x="207" y="57"/>
                  </a:lnTo>
                  <a:lnTo>
                    <a:pt x="255" y="32"/>
                  </a:lnTo>
                  <a:lnTo>
                    <a:pt x="307" y="15"/>
                  </a:lnTo>
                  <a:lnTo>
                    <a:pt x="360" y="4"/>
                  </a:lnTo>
                  <a:lnTo>
                    <a:pt x="417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94" name="Freeform 63">
              <a:extLst>
                <a:ext uri="{FF2B5EF4-FFF2-40B4-BE49-F238E27FC236}">
                  <a16:creationId xmlns:a16="http://schemas.microsoft.com/office/drawing/2014/main" id="{485500B6-DB98-461B-B126-16AFB04A0E44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5473803" y="2645604"/>
              <a:ext cx="65417" cy="57480"/>
            </a:xfrm>
            <a:custGeom>
              <a:avLst/>
              <a:gdLst>
                <a:gd name="T0" fmla="*/ 381 w 835"/>
                <a:gd name="T1" fmla="*/ 240 h 834"/>
                <a:gd name="T2" fmla="*/ 317 w 835"/>
                <a:gd name="T3" fmla="*/ 267 h 834"/>
                <a:gd name="T4" fmla="*/ 268 w 835"/>
                <a:gd name="T5" fmla="*/ 316 h 834"/>
                <a:gd name="T6" fmla="*/ 240 w 835"/>
                <a:gd name="T7" fmla="*/ 380 h 834"/>
                <a:gd name="T8" fmla="*/ 240 w 835"/>
                <a:gd name="T9" fmla="*/ 453 h 834"/>
                <a:gd name="T10" fmla="*/ 268 w 835"/>
                <a:gd name="T11" fmla="*/ 518 h 834"/>
                <a:gd name="T12" fmla="*/ 317 w 835"/>
                <a:gd name="T13" fmla="*/ 567 h 834"/>
                <a:gd name="T14" fmla="*/ 381 w 835"/>
                <a:gd name="T15" fmla="*/ 594 h 834"/>
                <a:gd name="T16" fmla="*/ 454 w 835"/>
                <a:gd name="T17" fmla="*/ 594 h 834"/>
                <a:gd name="T18" fmla="*/ 518 w 835"/>
                <a:gd name="T19" fmla="*/ 567 h 834"/>
                <a:gd name="T20" fmla="*/ 568 w 835"/>
                <a:gd name="T21" fmla="*/ 518 h 834"/>
                <a:gd name="T22" fmla="*/ 595 w 835"/>
                <a:gd name="T23" fmla="*/ 453 h 834"/>
                <a:gd name="T24" fmla="*/ 595 w 835"/>
                <a:gd name="T25" fmla="*/ 380 h 834"/>
                <a:gd name="T26" fmla="*/ 568 w 835"/>
                <a:gd name="T27" fmla="*/ 316 h 834"/>
                <a:gd name="T28" fmla="*/ 518 w 835"/>
                <a:gd name="T29" fmla="*/ 267 h 834"/>
                <a:gd name="T30" fmla="*/ 454 w 835"/>
                <a:gd name="T31" fmla="*/ 240 h 834"/>
                <a:gd name="T32" fmla="*/ 418 w 835"/>
                <a:gd name="T33" fmla="*/ 0 h 834"/>
                <a:gd name="T34" fmla="*/ 528 w 835"/>
                <a:gd name="T35" fmla="*/ 15 h 834"/>
                <a:gd name="T36" fmla="*/ 628 w 835"/>
                <a:gd name="T37" fmla="*/ 57 h 834"/>
                <a:gd name="T38" fmla="*/ 712 w 835"/>
                <a:gd name="T39" fmla="*/ 122 h 834"/>
                <a:gd name="T40" fmla="*/ 778 w 835"/>
                <a:gd name="T41" fmla="*/ 207 h 834"/>
                <a:gd name="T42" fmla="*/ 820 w 835"/>
                <a:gd name="T43" fmla="*/ 306 h 834"/>
                <a:gd name="T44" fmla="*/ 835 w 835"/>
                <a:gd name="T45" fmla="*/ 417 h 834"/>
                <a:gd name="T46" fmla="*/ 820 w 835"/>
                <a:gd name="T47" fmla="*/ 527 h 834"/>
                <a:gd name="T48" fmla="*/ 778 w 835"/>
                <a:gd name="T49" fmla="*/ 627 h 834"/>
                <a:gd name="T50" fmla="*/ 712 w 835"/>
                <a:gd name="T51" fmla="*/ 711 h 834"/>
                <a:gd name="T52" fmla="*/ 628 w 835"/>
                <a:gd name="T53" fmla="*/ 776 h 834"/>
                <a:gd name="T54" fmla="*/ 528 w 835"/>
                <a:gd name="T55" fmla="*/ 819 h 834"/>
                <a:gd name="T56" fmla="*/ 418 w 835"/>
                <a:gd name="T57" fmla="*/ 834 h 834"/>
                <a:gd name="T58" fmla="*/ 307 w 835"/>
                <a:gd name="T59" fmla="*/ 819 h 834"/>
                <a:gd name="T60" fmla="*/ 206 w 835"/>
                <a:gd name="T61" fmla="*/ 776 h 834"/>
                <a:gd name="T62" fmla="*/ 123 w 835"/>
                <a:gd name="T63" fmla="*/ 711 h 834"/>
                <a:gd name="T64" fmla="*/ 58 w 835"/>
                <a:gd name="T65" fmla="*/ 627 h 834"/>
                <a:gd name="T66" fmla="*/ 15 w 835"/>
                <a:gd name="T67" fmla="*/ 527 h 834"/>
                <a:gd name="T68" fmla="*/ 0 w 835"/>
                <a:gd name="T69" fmla="*/ 417 h 834"/>
                <a:gd name="T70" fmla="*/ 15 w 835"/>
                <a:gd name="T71" fmla="*/ 306 h 834"/>
                <a:gd name="T72" fmla="*/ 58 w 835"/>
                <a:gd name="T73" fmla="*/ 207 h 834"/>
                <a:gd name="T74" fmla="*/ 123 w 835"/>
                <a:gd name="T75" fmla="*/ 122 h 834"/>
                <a:gd name="T76" fmla="*/ 206 w 835"/>
                <a:gd name="T77" fmla="*/ 57 h 834"/>
                <a:gd name="T78" fmla="*/ 307 w 835"/>
                <a:gd name="T79" fmla="*/ 15 h 834"/>
                <a:gd name="T80" fmla="*/ 418 w 835"/>
                <a:gd name="T81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5" h="834">
                  <a:moveTo>
                    <a:pt x="418" y="235"/>
                  </a:moveTo>
                  <a:lnTo>
                    <a:pt x="381" y="240"/>
                  </a:lnTo>
                  <a:lnTo>
                    <a:pt x="347" y="249"/>
                  </a:lnTo>
                  <a:lnTo>
                    <a:pt x="317" y="267"/>
                  </a:lnTo>
                  <a:lnTo>
                    <a:pt x="289" y="289"/>
                  </a:lnTo>
                  <a:lnTo>
                    <a:pt x="268" y="316"/>
                  </a:lnTo>
                  <a:lnTo>
                    <a:pt x="250" y="346"/>
                  </a:lnTo>
                  <a:lnTo>
                    <a:pt x="240" y="380"/>
                  </a:lnTo>
                  <a:lnTo>
                    <a:pt x="236" y="417"/>
                  </a:lnTo>
                  <a:lnTo>
                    <a:pt x="240" y="453"/>
                  </a:lnTo>
                  <a:lnTo>
                    <a:pt x="250" y="488"/>
                  </a:lnTo>
                  <a:lnTo>
                    <a:pt x="268" y="518"/>
                  </a:lnTo>
                  <a:lnTo>
                    <a:pt x="289" y="545"/>
                  </a:lnTo>
                  <a:lnTo>
                    <a:pt x="317" y="567"/>
                  </a:lnTo>
                  <a:lnTo>
                    <a:pt x="347" y="584"/>
                  </a:lnTo>
                  <a:lnTo>
                    <a:pt x="381" y="594"/>
                  </a:lnTo>
                  <a:lnTo>
                    <a:pt x="418" y="598"/>
                  </a:lnTo>
                  <a:lnTo>
                    <a:pt x="454" y="594"/>
                  </a:lnTo>
                  <a:lnTo>
                    <a:pt x="488" y="584"/>
                  </a:lnTo>
                  <a:lnTo>
                    <a:pt x="518" y="567"/>
                  </a:lnTo>
                  <a:lnTo>
                    <a:pt x="546" y="545"/>
                  </a:lnTo>
                  <a:lnTo>
                    <a:pt x="568" y="518"/>
                  </a:lnTo>
                  <a:lnTo>
                    <a:pt x="584" y="488"/>
                  </a:lnTo>
                  <a:lnTo>
                    <a:pt x="595" y="453"/>
                  </a:lnTo>
                  <a:lnTo>
                    <a:pt x="599" y="417"/>
                  </a:lnTo>
                  <a:lnTo>
                    <a:pt x="595" y="380"/>
                  </a:lnTo>
                  <a:lnTo>
                    <a:pt x="584" y="346"/>
                  </a:lnTo>
                  <a:lnTo>
                    <a:pt x="568" y="316"/>
                  </a:lnTo>
                  <a:lnTo>
                    <a:pt x="546" y="289"/>
                  </a:lnTo>
                  <a:lnTo>
                    <a:pt x="518" y="267"/>
                  </a:lnTo>
                  <a:lnTo>
                    <a:pt x="488" y="249"/>
                  </a:lnTo>
                  <a:lnTo>
                    <a:pt x="454" y="240"/>
                  </a:lnTo>
                  <a:lnTo>
                    <a:pt x="418" y="235"/>
                  </a:lnTo>
                  <a:close/>
                  <a:moveTo>
                    <a:pt x="418" y="0"/>
                  </a:moveTo>
                  <a:lnTo>
                    <a:pt x="473" y="4"/>
                  </a:lnTo>
                  <a:lnTo>
                    <a:pt x="528" y="15"/>
                  </a:lnTo>
                  <a:lnTo>
                    <a:pt x="580" y="32"/>
                  </a:lnTo>
                  <a:lnTo>
                    <a:pt x="628" y="57"/>
                  </a:lnTo>
                  <a:lnTo>
                    <a:pt x="673" y="87"/>
                  </a:lnTo>
                  <a:lnTo>
                    <a:pt x="712" y="122"/>
                  </a:lnTo>
                  <a:lnTo>
                    <a:pt x="748" y="162"/>
                  </a:lnTo>
                  <a:lnTo>
                    <a:pt x="778" y="207"/>
                  </a:lnTo>
                  <a:lnTo>
                    <a:pt x="802" y="255"/>
                  </a:lnTo>
                  <a:lnTo>
                    <a:pt x="820" y="306"/>
                  </a:lnTo>
                  <a:lnTo>
                    <a:pt x="831" y="359"/>
                  </a:lnTo>
                  <a:lnTo>
                    <a:pt x="835" y="417"/>
                  </a:lnTo>
                  <a:lnTo>
                    <a:pt x="831" y="474"/>
                  </a:lnTo>
                  <a:lnTo>
                    <a:pt x="820" y="527"/>
                  </a:lnTo>
                  <a:lnTo>
                    <a:pt x="802" y="579"/>
                  </a:lnTo>
                  <a:lnTo>
                    <a:pt x="778" y="627"/>
                  </a:lnTo>
                  <a:lnTo>
                    <a:pt x="748" y="671"/>
                  </a:lnTo>
                  <a:lnTo>
                    <a:pt x="712" y="711"/>
                  </a:lnTo>
                  <a:lnTo>
                    <a:pt x="673" y="746"/>
                  </a:lnTo>
                  <a:lnTo>
                    <a:pt x="628" y="776"/>
                  </a:lnTo>
                  <a:lnTo>
                    <a:pt x="580" y="801"/>
                  </a:lnTo>
                  <a:lnTo>
                    <a:pt x="528" y="819"/>
                  </a:lnTo>
                  <a:lnTo>
                    <a:pt x="473" y="830"/>
                  </a:lnTo>
                  <a:lnTo>
                    <a:pt x="418" y="834"/>
                  </a:lnTo>
                  <a:lnTo>
                    <a:pt x="360" y="830"/>
                  </a:lnTo>
                  <a:lnTo>
                    <a:pt x="307" y="819"/>
                  </a:lnTo>
                  <a:lnTo>
                    <a:pt x="255" y="801"/>
                  </a:lnTo>
                  <a:lnTo>
                    <a:pt x="206" y="776"/>
                  </a:lnTo>
                  <a:lnTo>
                    <a:pt x="163" y="746"/>
                  </a:lnTo>
                  <a:lnTo>
                    <a:pt x="123" y="711"/>
                  </a:lnTo>
                  <a:lnTo>
                    <a:pt x="88" y="671"/>
                  </a:lnTo>
                  <a:lnTo>
                    <a:pt x="58" y="627"/>
                  </a:lnTo>
                  <a:lnTo>
                    <a:pt x="33" y="579"/>
                  </a:lnTo>
                  <a:lnTo>
                    <a:pt x="15" y="527"/>
                  </a:lnTo>
                  <a:lnTo>
                    <a:pt x="4" y="474"/>
                  </a:lnTo>
                  <a:lnTo>
                    <a:pt x="0" y="417"/>
                  </a:lnTo>
                  <a:lnTo>
                    <a:pt x="4" y="359"/>
                  </a:lnTo>
                  <a:lnTo>
                    <a:pt x="15" y="306"/>
                  </a:lnTo>
                  <a:lnTo>
                    <a:pt x="33" y="255"/>
                  </a:lnTo>
                  <a:lnTo>
                    <a:pt x="58" y="207"/>
                  </a:lnTo>
                  <a:lnTo>
                    <a:pt x="88" y="162"/>
                  </a:lnTo>
                  <a:lnTo>
                    <a:pt x="123" y="122"/>
                  </a:lnTo>
                  <a:lnTo>
                    <a:pt x="163" y="87"/>
                  </a:lnTo>
                  <a:lnTo>
                    <a:pt x="206" y="57"/>
                  </a:lnTo>
                  <a:lnTo>
                    <a:pt x="255" y="32"/>
                  </a:lnTo>
                  <a:lnTo>
                    <a:pt x="307" y="15"/>
                  </a:lnTo>
                  <a:lnTo>
                    <a:pt x="360" y="4"/>
                  </a:lnTo>
                  <a:lnTo>
                    <a:pt x="418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95" name="Freeform 64">
              <a:extLst>
                <a:ext uri="{FF2B5EF4-FFF2-40B4-BE49-F238E27FC236}">
                  <a16:creationId xmlns:a16="http://schemas.microsoft.com/office/drawing/2014/main" id="{8E1AE196-72DB-49E7-BC8C-9A4F3A085462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5424544" y="2529267"/>
              <a:ext cx="352186" cy="145008"/>
            </a:xfrm>
            <a:custGeom>
              <a:avLst/>
              <a:gdLst>
                <a:gd name="T0" fmla="*/ 4150 w 4490"/>
                <a:gd name="T1" fmla="*/ 1052 h 2106"/>
                <a:gd name="T2" fmla="*/ 4255 w 4490"/>
                <a:gd name="T3" fmla="*/ 1020 h 2106"/>
                <a:gd name="T4" fmla="*/ 4323 w 4490"/>
                <a:gd name="T5" fmla="*/ 938 h 2106"/>
                <a:gd name="T6" fmla="*/ 4336 w 4490"/>
                <a:gd name="T7" fmla="*/ 337 h 2106"/>
                <a:gd name="T8" fmla="*/ 4305 w 4490"/>
                <a:gd name="T9" fmla="*/ 232 h 2106"/>
                <a:gd name="T10" fmla="*/ 4223 w 4490"/>
                <a:gd name="T11" fmla="*/ 165 h 2106"/>
                <a:gd name="T12" fmla="*/ 3404 w 4490"/>
                <a:gd name="T13" fmla="*/ 150 h 2106"/>
                <a:gd name="T14" fmla="*/ 3255 w 4490"/>
                <a:gd name="T15" fmla="*/ 1052 h 2106"/>
                <a:gd name="T16" fmla="*/ 1185 w 4490"/>
                <a:gd name="T17" fmla="*/ 150 h 2106"/>
                <a:gd name="T18" fmla="*/ 2145 w 4490"/>
                <a:gd name="T19" fmla="*/ 150 h 2106"/>
                <a:gd name="T20" fmla="*/ 503 w 4490"/>
                <a:gd name="T21" fmla="*/ 154 h 2106"/>
                <a:gd name="T22" fmla="*/ 400 w 4490"/>
                <a:gd name="T23" fmla="*/ 203 h 2106"/>
                <a:gd name="T24" fmla="*/ 331 w 4490"/>
                <a:gd name="T25" fmla="*/ 298 h 2106"/>
                <a:gd name="T26" fmla="*/ 184 w 4490"/>
                <a:gd name="T27" fmla="*/ 904 h 2106"/>
                <a:gd name="T28" fmla="*/ 215 w 4490"/>
                <a:gd name="T29" fmla="*/ 995 h 2106"/>
                <a:gd name="T30" fmla="*/ 295 w 4490"/>
                <a:gd name="T31" fmla="*/ 1046 h 2106"/>
                <a:gd name="T32" fmla="*/ 434 w 4490"/>
                <a:gd name="T33" fmla="*/ 746 h 2106"/>
                <a:gd name="T34" fmla="*/ 488 w 4490"/>
                <a:gd name="T35" fmla="*/ 731 h 2106"/>
                <a:gd name="T36" fmla="*/ 539 w 4490"/>
                <a:gd name="T37" fmla="*/ 761 h 2106"/>
                <a:gd name="T38" fmla="*/ 552 w 4490"/>
                <a:gd name="T39" fmla="*/ 815 h 2106"/>
                <a:gd name="T40" fmla="*/ 1036 w 4490"/>
                <a:gd name="T41" fmla="*/ 1052 h 2106"/>
                <a:gd name="T42" fmla="*/ 499 w 4490"/>
                <a:gd name="T43" fmla="*/ 0 h 2106"/>
                <a:gd name="T44" fmla="*/ 4327 w 4490"/>
                <a:gd name="T45" fmla="*/ 17 h 2106"/>
                <a:gd name="T46" fmla="*/ 4430 w 4490"/>
                <a:gd name="T47" fmla="*/ 90 h 2106"/>
                <a:gd name="T48" fmla="*/ 4486 w 4490"/>
                <a:gd name="T49" fmla="*/ 205 h 2106"/>
                <a:gd name="T50" fmla="*/ 4486 w 4490"/>
                <a:gd name="T51" fmla="*/ 1901 h 2106"/>
                <a:gd name="T52" fmla="*/ 4430 w 4490"/>
                <a:gd name="T53" fmla="*/ 2017 h 2106"/>
                <a:gd name="T54" fmla="*/ 4327 w 4490"/>
                <a:gd name="T55" fmla="*/ 2091 h 2106"/>
                <a:gd name="T56" fmla="*/ 3937 w 4490"/>
                <a:gd name="T57" fmla="*/ 2106 h 2106"/>
                <a:gd name="T58" fmla="*/ 3903 w 4490"/>
                <a:gd name="T59" fmla="*/ 1929 h 2106"/>
                <a:gd name="T60" fmla="*/ 3811 w 4490"/>
                <a:gd name="T61" fmla="*/ 1780 h 2106"/>
                <a:gd name="T62" fmla="*/ 3675 w 4490"/>
                <a:gd name="T63" fmla="*/ 1672 h 2106"/>
                <a:gd name="T64" fmla="*/ 3506 w 4490"/>
                <a:gd name="T65" fmla="*/ 1618 h 2106"/>
                <a:gd name="T66" fmla="*/ 3323 w 4490"/>
                <a:gd name="T67" fmla="*/ 1629 h 2106"/>
                <a:gd name="T68" fmla="*/ 3164 w 4490"/>
                <a:gd name="T69" fmla="*/ 1702 h 2106"/>
                <a:gd name="T70" fmla="*/ 3041 w 4490"/>
                <a:gd name="T71" fmla="*/ 1825 h 2106"/>
                <a:gd name="T72" fmla="*/ 2967 w 4490"/>
                <a:gd name="T73" fmla="*/ 1984 h 2106"/>
                <a:gd name="T74" fmla="*/ 1488 w 4490"/>
                <a:gd name="T75" fmla="*/ 2106 h 2106"/>
                <a:gd name="T76" fmla="*/ 1454 w 4490"/>
                <a:gd name="T77" fmla="*/ 1929 h 2106"/>
                <a:gd name="T78" fmla="*/ 1364 w 4490"/>
                <a:gd name="T79" fmla="*/ 1780 h 2106"/>
                <a:gd name="T80" fmla="*/ 1226 w 4490"/>
                <a:gd name="T81" fmla="*/ 1672 h 2106"/>
                <a:gd name="T82" fmla="*/ 1057 w 4490"/>
                <a:gd name="T83" fmla="*/ 1618 h 2106"/>
                <a:gd name="T84" fmla="*/ 874 w 4490"/>
                <a:gd name="T85" fmla="*/ 1629 h 2106"/>
                <a:gd name="T86" fmla="*/ 715 w 4490"/>
                <a:gd name="T87" fmla="*/ 1702 h 2106"/>
                <a:gd name="T88" fmla="*/ 592 w 4490"/>
                <a:gd name="T89" fmla="*/ 1825 h 2106"/>
                <a:gd name="T90" fmla="*/ 518 w 4490"/>
                <a:gd name="T91" fmla="*/ 1984 h 2106"/>
                <a:gd name="T92" fmla="*/ 250 w 4490"/>
                <a:gd name="T93" fmla="*/ 2106 h 2106"/>
                <a:gd name="T94" fmla="*/ 124 w 4490"/>
                <a:gd name="T95" fmla="*/ 2072 h 2106"/>
                <a:gd name="T96" fmla="*/ 34 w 4490"/>
                <a:gd name="T97" fmla="*/ 1982 h 2106"/>
                <a:gd name="T98" fmla="*/ 0 w 4490"/>
                <a:gd name="T99" fmla="*/ 1856 h 2106"/>
                <a:gd name="T100" fmla="*/ 4 w 4490"/>
                <a:gd name="T101" fmla="*/ 1168 h 2106"/>
                <a:gd name="T102" fmla="*/ 22 w 4490"/>
                <a:gd name="T103" fmla="*/ 969 h 2106"/>
                <a:gd name="T104" fmla="*/ 50 w 4490"/>
                <a:gd name="T105" fmla="*/ 791 h 2106"/>
                <a:gd name="T106" fmla="*/ 232 w 4490"/>
                <a:gd name="T107" fmla="*/ 160 h 2106"/>
                <a:gd name="T108" fmla="*/ 326 w 4490"/>
                <a:gd name="T109" fmla="*/ 59 h 2106"/>
                <a:gd name="T110" fmla="*/ 453 w 4490"/>
                <a:gd name="T111" fmla="*/ 5 h 2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490" h="2106">
                  <a:moveTo>
                    <a:pt x="3404" y="150"/>
                  </a:moveTo>
                  <a:lnTo>
                    <a:pt x="3404" y="1052"/>
                  </a:lnTo>
                  <a:lnTo>
                    <a:pt x="4150" y="1052"/>
                  </a:lnTo>
                  <a:lnTo>
                    <a:pt x="4188" y="1048"/>
                  </a:lnTo>
                  <a:lnTo>
                    <a:pt x="4223" y="1037"/>
                  </a:lnTo>
                  <a:lnTo>
                    <a:pt x="4255" y="1020"/>
                  </a:lnTo>
                  <a:lnTo>
                    <a:pt x="4282" y="997"/>
                  </a:lnTo>
                  <a:lnTo>
                    <a:pt x="4305" y="969"/>
                  </a:lnTo>
                  <a:lnTo>
                    <a:pt x="4323" y="938"/>
                  </a:lnTo>
                  <a:lnTo>
                    <a:pt x="4334" y="903"/>
                  </a:lnTo>
                  <a:lnTo>
                    <a:pt x="4336" y="866"/>
                  </a:lnTo>
                  <a:lnTo>
                    <a:pt x="4336" y="337"/>
                  </a:lnTo>
                  <a:lnTo>
                    <a:pt x="4334" y="299"/>
                  </a:lnTo>
                  <a:lnTo>
                    <a:pt x="4323" y="265"/>
                  </a:lnTo>
                  <a:lnTo>
                    <a:pt x="4305" y="232"/>
                  </a:lnTo>
                  <a:lnTo>
                    <a:pt x="4282" y="205"/>
                  </a:lnTo>
                  <a:lnTo>
                    <a:pt x="4255" y="182"/>
                  </a:lnTo>
                  <a:lnTo>
                    <a:pt x="4223" y="165"/>
                  </a:lnTo>
                  <a:lnTo>
                    <a:pt x="4188" y="154"/>
                  </a:lnTo>
                  <a:lnTo>
                    <a:pt x="4150" y="150"/>
                  </a:lnTo>
                  <a:lnTo>
                    <a:pt x="3404" y="150"/>
                  </a:lnTo>
                  <a:close/>
                  <a:moveTo>
                    <a:pt x="2295" y="150"/>
                  </a:moveTo>
                  <a:lnTo>
                    <a:pt x="2295" y="1052"/>
                  </a:lnTo>
                  <a:lnTo>
                    <a:pt x="3255" y="1052"/>
                  </a:lnTo>
                  <a:lnTo>
                    <a:pt x="3255" y="150"/>
                  </a:lnTo>
                  <a:lnTo>
                    <a:pt x="2295" y="150"/>
                  </a:lnTo>
                  <a:close/>
                  <a:moveTo>
                    <a:pt x="1185" y="150"/>
                  </a:moveTo>
                  <a:lnTo>
                    <a:pt x="1185" y="1052"/>
                  </a:lnTo>
                  <a:lnTo>
                    <a:pt x="2145" y="1052"/>
                  </a:lnTo>
                  <a:lnTo>
                    <a:pt x="2145" y="150"/>
                  </a:lnTo>
                  <a:lnTo>
                    <a:pt x="1185" y="150"/>
                  </a:lnTo>
                  <a:close/>
                  <a:moveTo>
                    <a:pt x="543" y="150"/>
                  </a:moveTo>
                  <a:lnTo>
                    <a:pt x="503" y="154"/>
                  </a:lnTo>
                  <a:lnTo>
                    <a:pt x="466" y="165"/>
                  </a:lnTo>
                  <a:lnTo>
                    <a:pt x="432" y="182"/>
                  </a:lnTo>
                  <a:lnTo>
                    <a:pt x="400" y="203"/>
                  </a:lnTo>
                  <a:lnTo>
                    <a:pt x="372" y="231"/>
                  </a:lnTo>
                  <a:lnTo>
                    <a:pt x="349" y="262"/>
                  </a:lnTo>
                  <a:lnTo>
                    <a:pt x="331" y="298"/>
                  </a:lnTo>
                  <a:lnTo>
                    <a:pt x="320" y="334"/>
                  </a:lnTo>
                  <a:lnTo>
                    <a:pt x="187" y="868"/>
                  </a:lnTo>
                  <a:lnTo>
                    <a:pt x="184" y="904"/>
                  </a:lnTo>
                  <a:lnTo>
                    <a:pt x="188" y="938"/>
                  </a:lnTo>
                  <a:lnTo>
                    <a:pt x="199" y="968"/>
                  </a:lnTo>
                  <a:lnTo>
                    <a:pt x="215" y="995"/>
                  </a:lnTo>
                  <a:lnTo>
                    <a:pt x="237" y="1017"/>
                  </a:lnTo>
                  <a:lnTo>
                    <a:pt x="265" y="1035"/>
                  </a:lnTo>
                  <a:lnTo>
                    <a:pt x="295" y="1046"/>
                  </a:lnTo>
                  <a:lnTo>
                    <a:pt x="409" y="776"/>
                  </a:lnTo>
                  <a:lnTo>
                    <a:pt x="420" y="758"/>
                  </a:lnTo>
                  <a:lnTo>
                    <a:pt x="434" y="746"/>
                  </a:lnTo>
                  <a:lnTo>
                    <a:pt x="450" y="736"/>
                  </a:lnTo>
                  <a:lnTo>
                    <a:pt x="469" y="731"/>
                  </a:lnTo>
                  <a:lnTo>
                    <a:pt x="488" y="731"/>
                  </a:lnTo>
                  <a:lnTo>
                    <a:pt x="507" y="736"/>
                  </a:lnTo>
                  <a:lnTo>
                    <a:pt x="525" y="746"/>
                  </a:lnTo>
                  <a:lnTo>
                    <a:pt x="539" y="761"/>
                  </a:lnTo>
                  <a:lnTo>
                    <a:pt x="547" y="777"/>
                  </a:lnTo>
                  <a:lnTo>
                    <a:pt x="552" y="795"/>
                  </a:lnTo>
                  <a:lnTo>
                    <a:pt x="552" y="815"/>
                  </a:lnTo>
                  <a:lnTo>
                    <a:pt x="547" y="834"/>
                  </a:lnTo>
                  <a:lnTo>
                    <a:pt x="455" y="1052"/>
                  </a:lnTo>
                  <a:lnTo>
                    <a:pt x="1036" y="1052"/>
                  </a:lnTo>
                  <a:lnTo>
                    <a:pt x="1036" y="150"/>
                  </a:lnTo>
                  <a:lnTo>
                    <a:pt x="543" y="150"/>
                  </a:lnTo>
                  <a:close/>
                  <a:moveTo>
                    <a:pt x="499" y="0"/>
                  </a:moveTo>
                  <a:lnTo>
                    <a:pt x="4241" y="0"/>
                  </a:lnTo>
                  <a:lnTo>
                    <a:pt x="4285" y="5"/>
                  </a:lnTo>
                  <a:lnTo>
                    <a:pt x="4327" y="17"/>
                  </a:lnTo>
                  <a:lnTo>
                    <a:pt x="4366" y="35"/>
                  </a:lnTo>
                  <a:lnTo>
                    <a:pt x="4400" y="59"/>
                  </a:lnTo>
                  <a:lnTo>
                    <a:pt x="4430" y="90"/>
                  </a:lnTo>
                  <a:lnTo>
                    <a:pt x="4455" y="124"/>
                  </a:lnTo>
                  <a:lnTo>
                    <a:pt x="4474" y="164"/>
                  </a:lnTo>
                  <a:lnTo>
                    <a:pt x="4486" y="205"/>
                  </a:lnTo>
                  <a:lnTo>
                    <a:pt x="4490" y="250"/>
                  </a:lnTo>
                  <a:lnTo>
                    <a:pt x="4490" y="1856"/>
                  </a:lnTo>
                  <a:lnTo>
                    <a:pt x="4486" y="1901"/>
                  </a:lnTo>
                  <a:lnTo>
                    <a:pt x="4474" y="1944"/>
                  </a:lnTo>
                  <a:lnTo>
                    <a:pt x="4455" y="1982"/>
                  </a:lnTo>
                  <a:lnTo>
                    <a:pt x="4430" y="2017"/>
                  </a:lnTo>
                  <a:lnTo>
                    <a:pt x="4400" y="2047"/>
                  </a:lnTo>
                  <a:lnTo>
                    <a:pt x="4366" y="2072"/>
                  </a:lnTo>
                  <a:lnTo>
                    <a:pt x="4327" y="2091"/>
                  </a:lnTo>
                  <a:lnTo>
                    <a:pt x="4285" y="2102"/>
                  </a:lnTo>
                  <a:lnTo>
                    <a:pt x="4241" y="2106"/>
                  </a:lnTo>
                  <a:lnTo>
                    <a:pt x="3937" y="2106"/>
                  </a:lnTo>
                  <a:lnTo>
                    <a:pt x="3933" y="2044"/>
                  </a:lnTo>
                  <a:lnTo>
                    <a:pt x="3922" y="1984"/>
                  </a:lnTo>
                  <a:lnTo>
                    <a:pt x="3903" y="1929"/>
                  </a:lnTo>
                  <a:lnTo>
                    <a:pt x="3878" y="1875"/>
                  </a:lnTo>
                  <a:lnTo>
                    <a:pt x="3848" y="1825"/>
                  </a:lnTo>
                  <a:lnTo>
                    <a:pt x="3811" y="1780"/>
                  </a:lnTo>
                  <a:lnTo>
                    <a:pt x="3770" y="1738"/>
                  </a:lnTo>
                  <a:lnTo>
                    <a:pt x="3725" y="1702"/>
                  </a:lnTo>
                  <a:lnTo>
                    <a:pt x="3675" y="1672"/>
                  </a:lnTo>
                  <a:lnTo>
                    <a:pt x="3622" y="1648"/>
                  </a:lnTo>
                  <a:lnTo>
                    <a:pt x="3566" y="1629"/>
                  </a:lnTo>
                  <a:lnTo>
                    <a:pt x="3506" y="1618"/>
                  </a:lnTo>
                  <a:lnTo>
                    <a:pt x="3445" y="1614"/>
                  </a:lnTo>
                  <a:lnTo>
                    <a:pt x="3383" y="1618"/>
                  </a:lnTo>
                  <a:lnTo>
                    <a:pt x="3323" y="1629"/>
                  </a:lnTo>
                  <a:lnTo>
                    <a:pt x="3267" y="1648"/>
                  </a:lnTo>
                  <a:lnTo>
                    <a:pt x="3213" y="1672"/>
                  </a:lnTo>
                  <a:lnTo>
                    <a:pt x="3164" y="1702"/>
                  </a:lnTo>
                  <a:lnTo>
                    <a:pt x="3117" y="1738"/>
                  </a:lnTo>
                  <a:lnTo>
                    <a:pt x="3076" y="1780"/>
                  </a:lnTo>
                  <a:lnTo>
                    <a:pt x="3041" y="1825"/>
                  </a:lnTo>
                  <a:lnTo>
                    <a:pt x="3010" y="1875"/>
                  </a:lnTo>
                  <a:lnTo>
                    <a:pt x="2985" y="1929"/>
                  </a:lnTo>
                  <a:lnTo>
                    <a:pt x="2967" y="1984"/>
                  </a:lnTo>
                  <a:lnTo>
                    <a:pt x="2956" y="2044"/>
                  </a:lnTo>
                  <a:lnTo>
                    <a:pt x="2952" y="2106"/>
                  </a:lnTo>
                  <a:lnTo>
                    <a:pt x="1488" y="2106"/>
                  </a:lnTo>
                  <a:lnTo>
                    <a:pt x="1484" y="2044"/>
                  </a:lnTo>
                  <a:lnTo>
                    <a:pt x="1473" y="1984"/>
                  </a:lnTo>
                  <a:lnTo>
                    <a:pt x="1454" y="1929"/>
                  </a:lnTo>
                  <a:lnTo>
                    <a:pt x="1429" y="1875"/>
                  </a:lnTo>
                  <a:lnTo>
                    <a:pt x="1399" y="1825"/>
                  </a:lnTo>
                  <a:lnTo>
                    <a:pt x="1364" y="1780"/>
                  </a:lnTo>
                  <a:lnTo>
                    <a:pt x="1321" y="1738"/>
                  </a:lnTo>
                  <a:lnTo>
                    <a:pt x="1276" y="1702"/>
                  </a:lnTo>
                  <a:lnTo>
                    <a:pt x="1226" y="1672"/>
                  </a:lnTo>
                  <a:lnTo>
                    <a:pt x="1173" y="1648"/>
                  </a:lnTo>
                  <a:lnTo>
                    <a:pt x="1117" y="1629"/>
                  </a:lnTo>
                  <a:lnTo>
                    <a:pt x="1057" y="1618"/>
                  </a:lnTo>
                  <a:lnTo>
                    <a:pt x="995" y="1614"/>
                  </a:lnTo>
                  <a:lnTo>
                    <a:pt x="934" y="1618"/>
                  </a:lnTo>
                  <a:lnTo>
                    <a:pt x="874" y="1629"/>
                  </a:lnTo>
                  <a:lnTo>
                    <a:pt x="818" y="1648"/>
                  </a:lnTo>
                  <a:lnTo>
                    <a:pt x="765" y="1672"/>
                  </a:lnTo>
                  <a:lnTo>
                    <a:pt x="715" y="1702"/>
                  </a:lnTo>
                  <a:lnTo>
                    <a:pt x="668" y="1738"/>
                  </a:lnTo>
                  <a:lnTo>
                    <a:pt x="627" y="1780"/>
                  </a:lnTo>
                  <a:lnTo>
                    <a:pt x="592" y="1825"/>
                  </a:lnTo>
                  <a:lnTo>
                    <a:pt x="562" y="1875"/>
                  </a:lnTo>
                  <a:lnTo>
                    <a:pt x="537" y="1929"/>
                  </a:lnTo>
                  <a:lnTo>
                    <a:pt x="518" y="1984"/>
                  </a:lnTo>
                  <a:lnTo>
                    <a:pt x="507" y="2044"/>
                  </a:lnTo>
                  <a:lnTo>
                    <a:pt x="503" y="2106"/>
                  </a:lnTo>
                  <a:lnTo>
                    <a:pt x="250" y="2106"/>
                  </a:lnTo>
                  <a:lnTo>
                    <a:pt x="205" y="2102"/>
                  </a:lnTo>
                  <a:lnTo>
                    <a:pt x="162" y="2091"/>
                  </a:lnTo>
                  <a:lnTo>
                    <a:pt x="124" y="2072"/>
                  </a:lnTo>
                  <a:lnTo>
                    <a:pt x="89" y="2047"/>
                  </a:lnTo>
                  <a:lnTo>
                    <a:pt x="59" y="2017"/>
                  </a:lnTo>
                  <a:lnTo>
                    <a:pt x="34" y="1982"/>
                  </a:lnTo>
                  <a:lnTo>
                    <a:pt x="15" y="1944"/>
                  </a:lnTo>
                  <a:lnTo>
                    <a:pt x="4" y="1901"/>
                  </a:lnTo>
                  <a:lnTo>
                    <a:pt x="0" y="1856"/>
                  </a:lnTo>
                  <a:lnTo>
                    <a:pt x="0" y="1284"/>
                  </a:lnTo>
                  <a:lnTo>
                    <a:pt x="1" y="1228"/>
                  </a:lnTo>
                  <a:lnTo>
                    <a:pt x="4" y="1168"/>
                  </a:lnTo>
                  <a:lnTo>
                    <a:pt x="8" y="1103"/>
                  </a:lnTo>
                  <a:lnTo>
                    <a:pt x="15" y="1036"/>
                  </a:lnTo>
                  <a:lnTo>
                    <a:pt x="22" y="969"/>
                  </a:lnTo>
                  <a:lnTo>
                    <a:pt x="30" y="905"/>
                  </a:lnTo>
                  <a:lnTo>
                    <a:pt x="40" y="845"/>
                  </a:lnTo>
                  <a:lnTo>
                    <a:pt x="50" y="791"/>
                  </a:lnTo>
                  <a:lnTo>
                    <a:pt x="199" y="244"/>
                  </a:lnTo>
                  <a:lnTo>
                    <a:pt x="213" y="201"/>
                  </a:lnTo>
                  <a:lnTo>
                    <a:pt x="232" y="160"/>
                  </a:lnTo>
                  <a:lnTo>
                    <a:pt x="259" y="122"/>
                  </a:lnTo>
                  <a:lnTo>
                    <a:pt x="290" y="88"/>
                  </a:lnTo>
                  <a:lnTo>
                    <a:pt x="326" y="59"/>
                  </a:lnTo>
                  <a:lnTo>
                    <a:pt x="367" y="35"/>
                  </a:lnTo>
                  <a:lnTo>
                    <a:pt x="409" y="17"/>
                  </a:lnTo>
                  <a:lnTo>
                    <a:pt x="453" y="5"/>
                  </a:lnTo>
                  <a:lnTo>
                    <a:pt x="499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57F1E6D5-37C5-451F-A7F4-F95686963A38}"/>
              </a:ext>
            </a:extLst>
          </p:cNvPr>
          <p:cNvGrpSpPr/>
          <p:nvPr/>
        </p:nvGrpSpPr>
        <p:grpSpPr>
          <a:xfrm>
            <a:off x="2336800" y="2592903"/>
            <a:ext cx="2719154" cy="119502"/>
            <a:chOff x="4045550" y="2376661"/>
            <a:chExt cx="2719154" cy="119502"/>
          </a:xfrm>
        </p:grpSpPr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80E0A913-92C9-4DAA-B476-7FA78A3E4A60}"/>
                </a:ext>
              </a:extLst>
            </p:cNvPr>
            <p:cNvSpPr/>
            <p:nvPr/>
          </p:nvSpPr>
          <p:spPr>
            <a:xfrm>
              <a:off x="4045550" y="2376661"/>
              <a:ext cx="2644811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299" name="Isosceles Triangle 298">
              <a:extLst>
                <a:ext uri="{FF2B5EF4-FFF2-40B4-BE49-F238E27FC236}">
                  <a16:creationId xmlns:a16="http://schemas.microsoft.com/office/drawing/2014/main" id="{203E5DF8-9F62-470B-AD1C-E5B37DB25433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00" name="TextBox 299">
            <a:extLst>
              <a:ext uri="{FF2B5EF4-FFF2-40B4-BE49-F238E27FC236}">
                <a16:creationId xmlns:a16="http://schemas.microsoft.com/office/drawing/2014/main" id="{E0ED5A4E-191C-4734-B042-64A506DDF2CE}"/>
              </a:ext>
            </a:extLst>
          </p:cNvPr>
          <p:cNvSpPr txBox="1"/>
          <p:nvPr/>
        </p:nvSpPr>
        <p:spPr>
          <a:xfrm>
            <a:off x="5102089" y="2555902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Vans</a:t>
            </a:r>
          </a:p>
        </p:txBody>
      </p:sp>
      <p:sp>
        <p:nvSpPr>
          <p:cNvPr id="301" name="Freeform 69">
            <a:extLst>
              <a:ext uri="{FF2B5EF4-FFF2-40B4-BE49-F238E27FC236}">
                <a16:creationId xmlns:a16="http://schemas.microsoft.com/office/drawing/2014/main" id="{F7B4E28A-4278-4A97-9118-8D6EBA0581FA}"/>
              </a:ext>
            </a:extLst>
          </p:cNvPr>
          <p:cNvSpPr>
            <a:spLocks noEditPoints="1"/>
          </p:cNvSpPr>
          <p:nvPr/>
        </p:nvSpPr>
        <p:spPr bwMode="auto">
          <a:xfrm>
            <a:off x="3383713" y="2516072"/>
            <a:ext cx="383616" cy="178601"/>
          </a:xfrm>
          <a:custGeom>
            <a:avLst/>
            <a:gdLst>
              <a:gd name="T0" fmla="*/ 2688 w 3577"/>
              <a:gd name="T1" fmla="*/ 1534 h 2072"/>
              <a:gd name="T2" fmla="*/ 2618 w 3577"/>
              <a:gd name="T3" fmla="*/ 1749 h 2072"/>
              <a:gd name="T4" fmla="*/ 2749 w 3577"/>
              <a:gd name="T5" fmla="*/ 1929 h 2072"/>
              <a:gd name="T6" fmla="*/ 2976 w 3577"/>
              <a:gd name="T7" fmla="*/ 1929 h 2072"/>
              <a:gd name="T8" fmla="*/ 3107 w 3577"/>
              <a:gd name="T9" fmla="*/ 1749 h 2072"/>
              <a:gd name="T10" fmla="*/ 3038 w 3577"/>
              <a:gd name="T11" fmla="*/ 1534 h 2072"/>
              <a:gd name="T12" fmla="*/ 686 w 3577"/>
              <a:gd name="T13" fmla="*/ 1461 h 2072"/>
              <a:gd name="T14" fmla="*/ 487 w 3577"/>
              <a:gd name="T15" fmla="*/ 1563 h 2072"/>
              <a:gd name="T16" fmla="*/ 452 w 3577"/>
              <a:gd name="T17" fmla="*/ 1787 h 2072"/>
              <a:gd name="T18" fmla="*/ 608 w 3577"/>
              <a:gd name="T19" fmla="*/ 1944 h 2072"/>
              <a:gd name="T20" fmla="*/ 832 w 3577"/>
              <a:gd name="T21" fmla="*/ 1909 h 2072"/>
              <a:gd name="T22" fmla="*/ 934 w 3577"/>
              <a:gd name="T23" fmla="*/ 1709 h 2072"/>
              <a:gd name="T24" fmla="*/ 832 w 3577"/>
              <a:gd name="T25" fmla="*/ 1509 h 2072"/>
              <a:gd name="T26" fmla="*/ 2912 w 3577"/>
              <a:gd name="T27" fmla="*/ 1350 h 2072"/>
              <a:gd name="T28" fmla="*/ 3149 w 3577"/>
              <a:gd name="T29" fmla="*/ 1487 h 2072"/>
              <a:gd name="T30" fmla="*/ 3223 w 3577"/>
              <a:gd name="T31" fmla="*/ 1759 h 2072"/>
              <a:gd name="T32" fmla="*/ 3084 w 3577"/>
              <a:gd name="T33" fmla="*/ 1997 h 2072"/>
              <a:gd name="T34" fmla="*/ 2813 w 3577"/>
              <a:gd name="T35" fmla="*/ 2069 h 2072"/>
              <a:gd name="T36" fmla="*/ 2576 w 3577"/>
              <a:gd name="T37" fmla="*/ 1931 h 2072"/>
              <a:gd name="T38" fmla="*/ 2504 w 3577"/>
              <a:gd name="T39" fmla="*/ 1660 h 2072"/>
              <a:gd name="T40" fmla="*/ 2641 w 3577"/>
              <a:gd name="T41" fmla="*/ 1422 h 2072"/>
              <a:gd name="T42" fmla="*/ 686 w 3577"/>
              <a:gd name="T43" fmla="*/ 1347 h 2072"/>
              <a:gd name="T44" fmla="*/ 943 w 3577"/>
              <a:gd name="T45" fmla="*/ 1452 h 2072"/>
              <a:gd name="T46" fmla="*/ 1049 w 3577"/>
              <a:gd name="T47" fmla="*/ 1709 h 2072"/>
              <a:gd name="T48" fmla="*/ 943 w 3577"/>
              <a:gd name="T49" fmla="*/ 1965 h 2072"/>
              <a:gd name="T50" fmla="*/ 686 w 3577"/>
              <a:gd name="T51" fmla="*/ 2072 h 2072"/>
              <a:gd name="T52" fmla="*/ 430 w 3577"/>
              <a:gd name="T53" fmla="*/ 1965 h 2072"/>
              <a:gd name="T54" fmla="*/ 323 w 3577"/>
              <a:gd name="T55" fmla="*/ 1709 h 2072"/>
              <a:gd name="T56" fmla="*/ 430 w 3577"/>
              <a:gd name="T57" fmla="*/ 1452 h 2072"/>
              <a:gd name="T58" fmla="*/ 686 w 3577"/>
              <a:gd name="T59" fmla="*/ 1347 h 2072"/>
              <a:gd name="T60" fmla="*/ 3218 w 3577"/>
              <a:gd name="T61" fmla="*/ 1153 h 2072"/>
              <a:gd name="T62" fmla="*/ 3283 w 3577"/>
              <a:gd name="T63" fmla="*/ 1361 h 2072"/>
              <a:gd name="T64" fmla="*/ 3543 w 3577"/>
              <a:gd name="T65" fmla="*/ 1296 h 2072"/>
              <a:gd name="T66" fmla="*/ 3479 w 3577"/>
              <a:gd name="T67" fmla="*/ 1089 h 2072"/>
              <a:gd name="T68" fmla="*/ 1775 w 3577"/>
              <a:gd name="T69" fmla="*/ 683 h 2072"/>
              <a:gd name="T70" fmla="*/ 2689 w 3577"/>
              <a:gd name="T71" fmla="*/ 695 h 2072"/>
              <a:gd name="T72" fmla="*/ 2431 w 3577"/>
              <a:gd name="T73" fmla="*/ 198 h 2072"/>
              <a:gd name="T74" fmla="*/ 2319 w 3577"/>
              <a:gd name="T75" fmla="*/ 4 h 2072"/>
              <a:gd name="T76" fmla="*/ 2521 w 3577"/>
              <a:gd name="T77" fmla="*/ 56 h 2072"/>
              <a:gd name="T78" fmla="*/ 2642 w 3577"/>
              <a:gd name="T79" fmla="*/ 191 h 2072"/>
              <a:gd name="T80" fmla="*/ 3502 w 3577"/>
              <a:gd name="T81" fmla="*/ 870 h 2072"/>
              <a:gd name="T82" fmla="*/ 3577 w 3577"/>
              <a:gd name="T83" fmla="*/ 1008 h 2072"/>
              <a:gd name="T84" fmla="*/ 3508 w 3577"/>
              <a:gd name="T85" fmla="*/ 1635 h 2072"/>
              <a:gd name="T86" fmla="*/ 3256 w 3577"/>
              <a:gd name="T87" fmla="*/ 1640 h 2072"/>
              <a:gd name="T88" fmla="*/ 3141 w 3577"/>
              <a:gd name="T89" fmla="*/ 1417 h 2072"/>
              <a:gd name="T90" fmla="*/ 2905 w 3577"/>
              <a:gd name="T91" fmla="*/ 1306 h 2072"/>
              <a:gd name="T92" fmla="*/ 2648 w 3577"/>
              <a:gd name="T93" fmla="*/ 1366 h 2072"/>
              <a:gd name="T94" fmla="*/ 2488 w 3577"/>
              <a:gd name="T95" fmla="*/ 1559 h 2072"/>
              <a:gd name="T96" fmla="*/ 1071 w 3577"/>
              <a:gd name="T97" fmla="*/ 1579 h 2072"/>
              <a:gd name="T98" fmla="*/ 886 w 3577"/>
              <a:gd name="T99" fmla="*/ 1354 h 2072"/>
              <a:gd name="T100" fmla="*/ 589 w 3577"/>
              <a:gd name="T101" fmla="*/ 1317 h 2072"/>
              <a:gd name="T102" fmla="*/ 355 w 3577"/>
              <a:gd name="T103" fmla="*/ 1489 h 2072"/>
              <a:gd name="T104" fmla="*/ 157 w 3577"/>
              <a:gd name="T105" fmla="*/ 1676 h 2072"/>
              <a:gd name="T106" fmla="*/ 12 w 3577"/>
              <a:gd name="T107" fmla="*/ 1555 h 2072"/>
              <a:gd name="T108" fmla="*/ 26 w 3577"/>
              <a:gd name="T109" fmla="*/ 95 h 2072"/>
              <a:gd name="T110" fmla="*/ 191 w 3577"/>
              <a:gd name="T111" fmla="*/ 0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77" h="2072">
                <a:moveTo>
                  <a:pt x="2863" y="1461"/>
                </a:moveTo>
                <a:lnTo>
                  <a:pt x="2822" y="1464"/>
                </a:lnTo>
                <a:lnTo>
                  <a:pt x="2785" y="1474"/>
                </a:lnTo>
                <a:lnTo>
                  <a:pt x="2749" y="1489"/>
                </a:lnTo>
                <a:lnTo>
                  <a:pt x="2716" y="1509"/>
                </a:lnTo>
                <a:lnTo>
                  <a:pt x="2688" y="1534"/>
                </a:lnTo>
                <a:lnTo>
                  <a:pt x="2663" y="1563"/>
                </a:lnTo>
                <a:lnTo>
                  <a:pt x="2643" y="1595"/>
                </a:lnTo>
                <a:lnTo>
                  <a:pt x="2628" y="1631"/>
                </a:lnTo>
                <a:lnTo>
                  <a:pt x="2618" y="1669"/>
                </a:lnTo>
                <a:lnTo>
                  <a:pt x="2615" y="1709"/>
                </a:lnTo>
                <a:lnTo>
                  <a:pt x="2618" y="1749"/>
                </a:lnTo>
                <a:lnTo>
                  <a:pt x="2628" y="1787"/>
                </a:lnTo>
                <a:lnTo>
                  <a:pt x="2643" y="1823"/>
                </a:lnTo>
                <a:lnTo>
                  <a:pt x="2663" y="1855"/>
                </a:lnTo>
                <a:lnTo>
                  <a:pt x="2688" y="1884"/>
                </a:lnTo>
                <a:lnTo>
                  <a:pt x="2716" y="1909"/>
                </a:lnTo>
                <a:lnTo>
                  <a:pt x="2749" y="1929"/>
                </a:lnTo>
                <a:lnTo>
                  <a:pt x="2785" y="1944"/>
                </a:lnTo>
                <a:lnTo>
                  <a:pt x="2822" y="1954"/>
                </a:lnTo>
                <a:lnTo>
                  <a:pt x="2863" y="1956"/>
                </a:lnTo>
                <a:lnTo>
                  <a:pt x="2903" y="1954"/>
                </a:lnTo>
                <a:lnTo>
                  <a:pt x="2941" y="1944"/>
                </a:lnTo>
                <a:lnTo>
                  <a:pt x="2976" y="1929"/>
                </a:lnTo>
                <a:lnTo>
                  <a:pt x="3009" y="1909"/>
                </a:lnTo>
                <a:lnTo>
                  <a:pt x="3038" y="1884"/>
                </a:lnTo>
                <a:lnTo>
                  <a:pt x="3062" y="1855"/>
                </a:lnTo>
                <a:lnTo>
                  <a:pt x="3083" y="1823"/>
                </a:lnTo>
                <a:lnTo>
                  <a:pt x="3098" y="1787"/>
                </a:lnTo>
                <a:lnTo>
                  <a:pt x="3107" y="1749"/>
                </a:lnTo>
                <a:lnTo>
                  <a:pt x="3110" y="1709"/>
                </a:lnTo>
                <a:lnTo>
                  <a:pt x="3107" y="1669"/>
                </a:lnTo>
                <a:lnTo>
                  <a:pt x="3098" y="1631"/>
                </a:lnTo>
                <a:lnTo>
                  <a:pt x="3083" y="1595"/>
                </a:lnTo>
                <a:lnTo>
                  <a:pt x="3062" y="1563"/>
                </a:lnTo>
                <a:lnTo>
                  <a:pt x="3038" y="1534"/>
                </a:lnTo>
                <a:lnTo>
                  <a:pt x="3009" y="1509"/>
                </a:lnTo>
                <a:lnTo>
                  <a:pt x="2976" y="1489"/>
                </a:lnTo>
                <a:lnTo>
                  <a:pt x="2941" y="1474"/>
                </a:lnTo>
                <a:lnTo>
                  <a:pt x="2903" y="1464"/>
                </a:lnTo>
                <a:lnTo>
                  <a:pt x="2863" y="1461"/>
                </a:lnTo>
                <a:close/>
                <a:moveTo>
                  <a:pt x="686" y="1461"/>
                </a:moveTo>
                <a:lnTo>
                  <a:pt x="646" y="1464"/>
                </a:lnTo>
                <a:lnTo>
                  <a:pt x="608" y="1474"/>
                </a:lnTo>
                <a:lnTo>
                  <a:pt x="573" y="1489"/>
                </a:lnTo>
                <a:lnTo>
                  <a:pt x="540" y="1509"/>
                </a:lnTo>
                <a:lnTo>
                  <a:pt x="512" y="1534"/>
                </a:lnTo>
                <a:lnTo>
                  <a:pt x="487" y="1563"/>
                </a:lnTo>
                <a:lnTo>
                  <a:pt x="466" y="1595"/>
                </a:lnTo>
                <a:lnTo>
                  <a:pt x="452" y="1631"/>
                </a:lnTo>
                <a:lnTo>
                  <a:pt x="442" y="1669"/>
                </a:lnTo>
                <a:lnTo>
                  <a:pt x="439" y="1709"/>
                </a:lnTo>
                <a:lnTo>
                  <a:pt x="442" y="1749"/>
                </a:lnTo>
                <a:lnTo>
                  <a:pt x="452" y="1787"/>
                </a:lnTo>
                <a:lnTo>
                  <a:pt x="466" y="1823"/>
                </a:lnTo>
                <a:lnTo>
                  <a:pt x="487" y="1855"/>
                </a:lnTo>
                <a:lnTo>
                  <a:pt x="512" y="1884"/>
                </a:lnTo>
                <a:lnTo>
                  <a:pt x="540" y="1909"/>
                </a:lnTo>
                <a:lnTo>
                  <a:pt x="573" y="1929"/>
                </a:lnTo>
                <a:lnTo>
                  <a:pt x="608" y="1944"/>
                </a:lnTo>
                <a:lnTo>
                  <a:pt x="646" y="1954"/>
                </a:lnTo>
                <a:lnTo>
                  <a:pt x="686" y="1956"/>
                </a:lnTo>
                <a:lnTo>
                  <a:pt x="727" y="1954"/>
                </a:lnTo>
                <a:lnTo>
                  <a:pt x="765" y="1944"/>
                </a:lnTo>
                <a:lnTo>
                  <a:pt x="800" y="1929"/>
                </a:lnTo>
                <a:lnTo>
                  <a:pt x="832" y="1909"/>
                </a:lnTo>
                <a:lnTo>
                  <a:pt x="862" y="1884"/>
                </a:lnTo>
                <a:lnTo>
                  <a:pt x="886" y="1855"/>
                </a:lnTo>
                <a:lnTo>
                  <a:pt x="907" y="1823"/>
                </a:lnTo>
                <a:lnTo>
                  <a:pt x="922" y="1787"/>
                </a:lnTo>
                <a:lnTo>
                  <a:pt x="931" y="1749"/>
                </a:lnTo>
                <a:lnTo>
                  <a:pt x="934" y="1709"/>
                </a:lnTo>
                <a:lnTo>
                  <a:pt x="931" y="1669"/>
                </a:lnTo>
                <a:lnTo>
                  <a:pt x="922" y="1631"/>
                </a:lnTo>
                <a:lnTo>
                  <a:pt x="907" y="1595"/>
                </a:lnTo>
                <a:lnTo>
                  <a:pt x="886" y="1563"/>
                </a:lnTo>
                <a:lnTo>
                  <a:pt x="862" y="1534"/>
                </a:lnTo>
                <a:lnTo>
                  <a:pt x="832" y="1509"/>
                </a:lnTo>
                <a:lnTo>
                  <a:pt x="800" y="1489"/>
                </a:lnTo>
                <a:lnTo>
                  <a:pt x="765" y="1474"/>
                </a:lnTo>
                <a:lnTo>
                  <a:pt x="727" y="1464"/>
                </a:lnTo>
                <a:lnTo>
                  <a:pt x="686" y="1461"/>
                </a:lnTo>
                <a:close/>
                <a:moveTo>
                  <a:pt x="2863" y="1347"/>
                </a:moveTo>
                <a:lnTo>
                  <a:pt x="2912" y="1350"/>
                </a:lnTo>
                <a:lnTo>
                  <a:pt x="2960" y="1360"/>
                </a:lnTo>
                <a:lnTo>
                  <a:pt x="3004" y="1375"/>
                </a:lnTo>
                <a:lnTo>
                  <a:pt x="3046" y="1396"/>
                </a:lnTo>
                <a:lnTo>
                  <a:pt x="3084" y="1422"/>
                </a:lnTo>
                <a:lnTo>
                  <a:pt x="3119" y="1452"/>
                </a:lnTo>
                <a:lnTo>
                  <a:pt x="3149" y="1487"/>
                </a:lnTo>
                <a:lnTo>
                  <a:pt x="3176" y="1527"/>
                </a:lnTo>
                <a:lnTo>
                  <a:pt x="3197" y="1568"/>
                </a:lnTo>
                <a:lnTo>
                  <a:pt x="3213" y="1613"/>
                </a:lnTo>
                <a:lnTo>
                  <a:pt x="3223" y="1660"/>
                </a:lnTo>
                <a:lnTo>
                  <a:pt x="3226" y="1709"/>
                </a:lnTo>
                <a:lnTo>
                  <a:pt x="3223" y="1759"/>
                </a:lnTo>
                <a:lnTo>
                  <a:pt x="3213" y="1806"/>
                </a:lnTo>
                <a:lnTo>
                  <a:pt x="3197" y="1851"/>
                </a:lnTo>
                <a:lnTo>
                  <a:pt x="3176" y="1892"/>
                </a:lnTo>
                <a:lnTo>
                  <a:pt x="3149" y="1931"/>
                </a:lnTo>
                <a:lnTo>
                  <a:pt x="3119" y="1965"/>
                </a:lnTo>
                <a:lnTo>
                  <a:pt x="3084" y="1997"/>
                </a:lnTo>
                <a:lnTo>
                  <a:pt x="3046" y="2023"/>
                </a:lnTo>
                <a:lnTo>
                  <a:pt x="3004" y="2044"/>
                </a:lnTo>
                <a:lnTo>
                  <a:pt x="2960" y="2059"/>
                </a:lnTo>
                <a:lnTo>
                  <a:pt x="2912" y="2069"/>
                </a:lnTo>
                <a:lnTo>
                  <a:pt x="2863" y="2072"/>
                </a:lnTo>
                <a:lnTo>
                  <a:pt x="2813" y="2069"/>
                </a:lnTo>
                <a:lnTo>
                  <a:pt x="2767" y="2059"/>
                </a:lnTo>
                <a:lnTo>
                  <a:pt x="2722" y="2044"/>
                </a:lnTo>
                <a:lnTo>
                  <a:pt x="2679" y="2023"/>
                </a:lnTo>
                <a:lnTo>
                  <a:pt x="2641" y="1997"/>
                </a:lnTo>
                <a:lnTo>
                  <a:pt x="2606" y="1965"/>
                </a:lnTo>
                <a:lnTo>
                  <a:pt x="2576" y="1931"/>
                </a:lnTo>
                <a:lnTo>
                  <a:pt x="2549" y="1892"/>
                </a:lnTo>
                <a:lnTo>
                  <a:pt x="2529" y="1851"/>
                </a:lnTo>
                <a:lnTo>
                  <a:pt x="2513" y="1806"/>
                </a:lnTo>
                <a:lnTo>
                  <a:pt x="2504" y="1759"/>
                </a:lnTo>
                <a:lnTo>
                  <a:pt x="2500" y="1709"/>
                </a:lnTo>
                <a:lnTo>
                  <a:pt x="2504" y="1660"/>
                </a:lnTo>
                <a:lnTo>
                  <a:pt x="2513" y="1613"/>
                </a:lnTo>
                <a:lnTo>
                  <a:pt x="2529" y="1568"/>
                </a:lnTo>
                <a:lnTo>
                  <a:pt x="2549" y="1527"/>
                </a:lnTo>
                <a:lnTo>
                  <a:pt x="2576" y="1487"/>
                </a:lnTo>
                <a:lnTo>
                  <a:pt x="2606" y="1452"/>
                </a:lnTo>
                <a:lnTo>
                  <a:pt x="2641" y="1422"/>
                </a:lnTo>
                <a:lnTo>
                  <a:pt x="2679" y="1396"/>
                </a:lnTo>
                <a:lnTo>
                  <a:pt x="2722" y="1375"/>
                </a:lnTo>
                <a:lnTo>
                  <a:pt x="2767" y="1360"/>
                </a:lnTo>
                <a:lnTo>
                  <a:pt x="2813" y="1350"/>
                </a:lnTo>
                <a:lnTo>
                  <a:pt x="2863" y="1347"/>
                </a:lnTo>
                <a:close/>
                <a:moveTo>
                  <a:pt x="686" y="1347"/>
                </a:moveTo>
                <a:lnTo>
                  <a:pt x="735" y="1350"/>
                </a:lnTo>
                <a:lnTo>
                  <a:pt x="783" y="1360"/>
                </a:lnTo>
                <a:lnTo>
                  <a:pt x="828" y="1375"/>
                </a:lnTo>
                <a:lnTo>
                  <a:pt x="869" y="1396"/>
                </a:lnTo>
                <a:lnTo>
                  <a:pt x="908" y="1422"/>
                </a:lnTo>
                <a:lnTo>
                  <a:pt x="943" y="1452"/>
                </a:lnTo>
                <a:lnTo>
                  <a:pt x="973" y="1487"/>
                </a:lnTo>
                <a:lnTo>
                  <a:pt x="999" y="1527"/>
                </a:lnTo>
                <a:lnTo>
                  <a:pt x="1021" y="1568"/>
                </a:lnTo>
                <a:lnTo>
                  <a:pt x="1036" y="1613"/>
                </a:lnTo>
                <a:lnTo>
                  <a:pt x="1046" y="1660"/>
                </a:lnTo>
                <a:lnTo>
                  <a:pt x="1049" y="1709"/>
                </a:lnTo>
                <a:lnTo>
                  <a:pt x="1046" y="1759"/>
                </a:lnTo>
                <a:lnTo>
                  <a:pt x="1036" y="1806"/>
                </a:lnTo>
                <a:lnTo>
                  <a:pt x="1021" y="1851"/>
                </a:lnTo>
                <a:lnTo>
                  <a:pt x="999" y="1892"/>
                </a:lnTo>
                <a:lnTo>
                  <a:pt x="973" y="1931"/>
                </a:lnTo>
                <a:lnTo>
                  <a:pt x="943" y="1965"/>
                </a:lnTo>
                <a:lnTo>
                  <a:pt x="908" y="1997"/>
                </a:lnTo>
                <a:lnTo>
                  <a:pt x="869" y="2023"/>
                </a:lnTo>
                <a:lnTo>
                  <a:pt x="828" y="2044"/>
                </a:lnTo>
                <a:lnTo>
                  <a:pt x="783" y="2059"/>
                </a:lnTo>
                <a:lnTo>
                  <a:pt x="735" y="2069"/>
                </a:lnTo>
                <a:lnTo>
                  <a:pt x="686" y="2072"/>
                </a:lnTo>
                <a:lnTo>
                  <a:pt x="637" y="2069"/>
                </a:lnTo>
                <a:lnTo>
                  <a:pt x="590" y="2059"/>
                </a:lnTo>
                <a:lnTo>
                  <a:pt x="545" y="2044"/>
                </a:lnTo>
                <a:lnTo>
                  <a:pt x="503" y="2023"/>
                </a:lnTo>
                <a:lnTo>
                  <a:pt x="465" y="1997"/>
                </a:lnTo>
                <a:lnTo>
                  <a:pt x="430" y="1965"/>
                </a:lnTo>
                <a:lnTo>
                  <a:pt x="399" y="1931"/>
                </a:lnTo>
                <a:lnTo>
                  <a:pt x="373" y="1892"/>
                </a:lnTo>
                <a:lnTo>
                  <a:pt x="352" y="1851"/>
                </a:lnTo>
                <a:lnTo>
                  <a:pt x="336" y="1806"/>
                </a:lnTo>
                <a:lnTo>
                  <a:pt x="327" y="1759"/>
                </a:lnTo>
                <a:lnTo>
                  <a:pt x="323" y="1709"/>
                </a:lnTo>
                <a:lnTo>
                  <a:pt x="327" y="1660"/>
                </a:lnTo>
                <a:lnTo>
                  <a:pt x="336" y="1613"/>
                </a:lnTo>
                <a:lnTo>
                  <a:pt x="352" y="1568"/>
                </a:lnTo>
                <a:lnTo>
                  <a:pt x="373" y="1527"/>
                </a:lnTo>
                <a:lnTo>
                  <a:pt x="399" y="1487"/>
                </a:lnTo>
                <a:lnTo>
                  <a:pt x="430" y="1452"/>
                </a:lnTo>
                <a:lnTo>
                  <a:pt x="465" y="1422"/>
                </a:lnTo>
                <a:lnTo>
                  <a:pt x="503" y="1396"/>
                </a:lnTo>
                <a:lnTo>
                  <a:pt x="545" y="1375"/>
                </a:lnTo>
                <a:lnTo>
                  <a:pt x="590" y="1360"/>
                </a:lnTo>
                <a:lnTo>
                  <a:pt x="637" y="1350"/>
                </a:lnTo>
                <a:lnTo>
                  <a:pt x="686" y="1347"/>
                </a:lnTo>
                <a:close/>
                <a:moveTo>
                  <a:pt x="3283" y="1089"/>
                </a:moveTo>
                <a:lnTo>
                  <a:pt x="3262" y="1092"/>
                </a:lnTo>
                <a:lnTo>
                  <a:pt x="3244" y="1101"/>
                </a:lnTo>
                <a:lnTo>
                  <a:pt x="3231" y="1115"/>
                </a:lnTo>
                <a:lnTo>
                  <a:pt x="3221" y="1133"/>
                </a:lnTo>
                <a:lnTo>
                  <a:pt x="3218" y="1153"/>
                </a:lnTo>
                <a:lnTo>
                  <a:pt x="3218" y="1296"/>
                </a:lnTo>
                <a:lnTo>
                  <a:pt x="3221" y="1317"/>
                </a:lnTo>
                <a:lnTo>
                  <a:pt x="3231" y="1335"/>
                </a:lnTo>
                <a:lnTo>
                  <a:pt x="3244" y="1349"/>
                </a:lnTo>
                <a:lnTo>
                  <a:pt x="3262" y="1357"/>
                </a:lnTo>
                <a:lnTo>
                  <a:pt x="3283" y="1361"/>
                </a:lnTo>
                <a:lnTo>
                  <a:pt x="3479" y="1361"/>
                </a:lnTo>
                <a:lnTo>
                  <a:pt x="3500" y="1357"/>
                </a:lnTo>
                <a:lnTo>
                  <a:pt x="3517" y="1349"/>
                </a:lnTo>
                <a:lnTo>
                  <a:pt x="3530" y="1335"/>
                </a:lnTo>
                <a:lnTo>
                  <a:pt x="3540" y="1317"/>
                </a:lnTo>
                <a:lnTo>
                  <a:pt x="3543" y="1296"/>
                </a:lnTo>
                <a:lnTo>
                  <a:pt x="3543" y="1153"/>
                </a:lnTo>
                <a:lnTo>
                  <a:pt x="3540" y="1133"/>
                </a:lnTo>
                <a:lnTo>
                  <a:pt x="3530" y="1115"/>
                </a:lnTo>
                <a:lnTo>
                  <a:pt x="3517" y="1101"/>
                </a:lnTo>
                <a:lnTo>
                  <a:pt x="3500" y="1092"/>
                </a:lnTo>
                <a:lnTo>
                  <a:pt x="3479" y="1089"/>
                </a:lnTo>
                <a:lnTo>
                  <a:pt x="3283" y="1089"/>
                </a:lnTo>
                <a:close/>
                <a:moveTo>
                  <a:pt x="1799" y="198"/>
                </a:moveTo>
                <a:lnTo>
                  <a:pt x="1787" y="201"/>
                </a:lnTo>
                <a:lnTo>
                  <a:pt x="1778" y="209"/>
                </a:lnTo>
                <a:lnTo>
                  <a:pt x="1775" y="221"/>
                </a:lnTo>
                <a:lnTo>
                  <a:pt x="1775" y="683"/>
                </a:lnTo>
                <a:lnTo>
                  <a:pt x="1778" y="695"/>
                </a:lnTo>
                <a:lnTo>
                  <a:pt x="1787" y="703"/>
                </a:lnTo>
                <a:lnTo>
                  <a:pt x="1799" y="706"/>
                </a:lnTo>
                <a:lnTo>
                  <a:pt x="2669" y="706"/>
                </a:lnTo>
                <a:lnTo>
                  <a:pt x="2680" y="703"/>
                </a:lnTo>
                <a:lnTo>
                  <a:pt x="2689" y="695"/>
                </a:lnTo>
                <a:lnTo>
                  <a:pt x="2692" y="683"/>
                </a:lnTo>
                <a:lnTo>
                  <a:pt x="2463" y="221"/>
                </a:lnTo>
                <a:lnTo>
                  <a:pt x="2457" y="211"/>
                </a:lnTo>
                <a:lnTo>
                  <a:pt x="2449" y="204"/>
                </a:lnTo>
                <a:lnTo>
                  <a:pt x="2439" y="200"/>
                </a:lnTo>
                <a:lnTo>
                  <a:pt x="2431" y="198"/>
                </a:lnTo>
                <a:lnTo>
                  <a:pt x="2422" y="198"/>
                </a:lnTo>
                <a:lnTo>
                  <a:pt x="1799" y="198"/>
                </a:lnTo>
                <a:close/>
                <a:moveTo>
                  <a:pt x="191" y="0"/>
                </a:moveTo>
                <a:lnTo>
                  <a:pt x="2215" y="0"/>
                </a:lnTo>
                <a:lnTo>
                  <a:pt x="2270" y="1"/>
                </a:lnTo>
                <a:lnTo>
                  <a:pt x="2319" y="4"/>
                </a:lnTo>
                <a:lnTo>
                  <a:pt x="2364" y="8"/>
                </a:lnTo>
                <a:lnTo>
                  <a:pt x="2403" y="13"/>
                </a:lnTo>
                <a:lnTo>
                  <a:pt x="2438" y="21"/>
                </a:lnTo>
                <a:lnTo>
                  <a:pt x="2469" y="30"/>
                </a:lnTo>
                <a:lnTo>
                  <a:pt x="2497" y="42"/>
                </a:lnTo>
                <a:lnTo>
                  <a:pt x="2521" y="56"/>
                </a:lnTo>
                <a:lnTo>
                  <a:pt x="2544" y="72"/>
                </a:lnTo>
                <a:lnTo>
                  <a:pt x="2565" y="91"/>
                </a:lnTo>
                <a:lnTo>
                  <a:pt x="2584" y="112"/>
                </a:lnTo>
                <a:lnTo>
                  <a:pt x="2604" y="136"/>
                </a:lnTo>
                <a:lnTo>
                  <a:pt x="2623" y="162"/>
                </a:lnTo>
                <a:lnTo>
                  <a:pt x="2642" y="191"/>
                </a:lnTo>
                <a:lnTo>
                  <a:pt x="2915" y="655"/>
                </a:lnTo>
                <a:lnTo>
                  <a:pt x="3386" y="817"/>
                </a:lnTo>
                <a:lnTo>
                  <a:pt x="3419" y="828"/>
                </a:lnTo>
                <a:lnTo>
                  <a:pt x="3448" y="841"/>
                </a:lnTo>
                <a:lnTo>
                  <a:pt x="3477" y="855"/>
                </a:lnTo>
                <a:lnTo>
                  <a:pt x="3502" y="870"/>
                </a:lnTo>
                <a:lnTo>
                  <a:pt x="3524" y="887"/>
                </a:lnTo>
                <a:lnTo>
                  <a:pt x="3542" y="906"/>
                </a:lnTo>
                <a:lnTo>
                  <a:pt x="3556" y="928"/>
                </a:lnTo>
                <a:lnTo>
                  <a:pt x="3567" y="952"/>
                </a:lnTo>
                <a:lnTo>
                  <a:pt x="3574" y="978"/>
                </a:lnTo>
                <a:lnTo>
                  <a:pt x="3577" y="1008"/>
                </a:lnTo>
                <a:lnTo>
                  <a:pt x="3577" y="1488"/>
                </a:lnTo>
                <a:lnTo>
                  <a:pt x="3574" y="1523"/>
                </a:lnTo>
                <a:lnTo>
                  <a:pt x="3565" y="1555"/>
                </a:lnTo>
                <a:lnTo>
                  <a:pt x="3551" y="1585"/>
                </a:lnTo>
                <a:lnTo>
                  <a:pt x="3531" y="1612"/>
                </a:lnTo>
                <a:lnTo>
                  <a:pt x="3508" y="1635"/>
                </a:lnTo>
                <a:lnTo>
                  <a:pt x="3482" y="1653"/>
                </a:lnTo>
                <a:lnTo>
                  <a:pt x="3453" y="1667"/>
                </a:lnTo>
                <a:lnTo>
                  <a:pt x="3420" y="1676"/>
                </a:lnTo>
                <a:lnTo>
                  <a:pt x="3386" y="1679"/>
                </a:lnTo>
                <a:lnTo>
                  <a:pt x="3261" y="1679"/>
                </a:lnTo>
                <a:lnTo>
                  <a:pt x="3256" y="1640"/>
                </a:lnTo>
                <a:lnTo>
                  <a:pt x="3248" y="1602"/>
                </a:lnTo>
                <a:lnTo>
                  <a:pt x="3236" y="1564"/>
                </a:lnTo>
                <a:lnTo>
                  <a:pt x="3219" y="1525"/>
                </a:lnTo>
                <a:lnTo>
                  <a:pt x="3200" y="1489"/>
                </a:lnTo>
                <a:lnTo>
                  <a:pt x="3172" y="1451"/>
                </a:lnTo>
                <a:lnTo>
                  <a:pt x="3141" y="1417"/>
                </a:lnTo>
                <a:lnTo>
                  <a:pt x="3107" y="1388"/>
                </a:lnTo>
                <a:lnTo>
                  <a:pt x="3071" y="1363"/>
                </a:lnTo>
                <a:lnTo>
                  <a:pt x="3032" y="1342"/>
                </a:lnTo>
                <a:lnTo>
                  <a:pt x="2991" y="1326"/>
                </a:lnTo>
                <a:lnTo>
                  <a:pt x="2949" y="1314"/>
                </a:lnTo>
                <a:lnTo>
                  <a:pt x="2905" y="1306"/>
                </a:lnTo>
                <a:lnTo>
                  <a:pt x="2861" y="1304"/>
                </a:lnTo>
                <a:lnTo>
                  <a:pt x="2818" y="1306"/>
                </a:lnTo>
                <a:lnTo>
                  <a:pt x="2773" y="1314"/>
                </a:lnTo>
                <a:lnTo>
                  <a:pt x="2731" y="1326"/>
                </a:lnTo>
                <a:lnTo>
                  <a:pt x="2688" y="1343"/>
                </a:lnTo>
                <a:lnTo>
                  <a:pt x="2648" y="1366"/>
                </a:lnTo>
                <a:lnTo>
                  <a:pt x="2612" y="1391"/>
                </a:lnTo>
                <a:lnTo>
                  <a:pt x="2579" y="1420"/>
                </a:lnTo>
                <a:lnTo>
                  <a:pt x="2551" y="1451"/>
                </a:lnTo>
                <a:lnTo>
                  <a:pt x="2527" y="1485"/>
                </a:lnTo>
                <a:lnTo>
                  <a:pt x="2506" y="1521"/>
                </a:lnTo>
                <a:lnTo>
                  <a:pt x="2488" y="1559"/>
                </a:lnTo>
                <a:lnTo>
                  <a:pt x="2475" y="1599"/>
                </a:lnTo>
                <a:lnTo>
                  <a:pt x="2467" y="1639"/>
                </a:lnTo>
                <a:lnTo>
                  <a:pt x="2462" y="1679"/>
                </a:lnTo>
                <a:lnTo>
                  <a:pt x="1090" y="1679"/>
                </a:lnTo>
                <a:lnTo>
                  <a:pt x="1083" y="1628"/>
                </a:lnTo>
                <a:lnTo>
                  <a:pt x="1071" y="1579"/>
                </a:lnTo>
                <a:lnTo>
                  <a:pt x="1053" y="1532"/>
                </a:lnTo>
                <a:lnTo>
                  <a:pt x="1029" y="1489"/>
                </a:lnTo>
                <a:lnTo>
                  <a:pt x="999" y="1449"/>
                </a:lnTo>
                <a:lnTo>
                  <a:pt x="965" y="1413"/>
                </a:lnTo>
                <a:lnTo>
                  <a:pt x="928" y="1381"/>
                </a:lnTo>
                <a:lnTo>
                  <a:pt x="886" y="1354"/>
                </a:lnTo>
                <a:lnTo>
                  <a:pt x="841" y="1332"/>
                </a:lnTo>
                <a:lnTo>
                  <a:pt x="794" y="1317"/>
                </a:lnTo>
                <a:lnTo>
                  <a:pt x="743" y="1307"/>
                </a:lnTo>
                <a:lnTo>
                  <a:pt x="692" y="1304"/>
                </a:lnTo>
                <a:lnTo>
                  <a:pt x="639" y="1307"/>
                </a:lnTo>
                <a:lnTo>
                  <a:pt x="589" y="1317"/>
                </a:lnTo>
                <a:lnTo>
                  <a:pt x="541" y="1332"/>
                </a:lnTo>
                <a:lnTo>
                  <a:pt x="496" y="1354"/>
                </a:lnTo>
                <a:lnTo>
                  <a:pt x="455" y="1381"/>
                </a:lnTo>
                <a:lnTo>
                  <a:pt x="417" y="1413"/>
                </a:lnTo>
                <a:lnTo>
                  <a:pt x="383" y="1449"/>
                </a:lnTo>
                <a:lnTo>
                  <a:pt x="355" y="1489"/>
                </a:lnTo>
                <a:lnTo>
                  <a:pt x="331" y="1532"/>
                </a:lnTo>
                <a:lnTo>
                  <a:pt x="311" y="1579"/>
                </a:lnTo>
                <a:lnTo>
                  <a:pt x="299" y="1628"/>
                </a:lnTo>
                <a:lnTo>
                  <a:pt x="292" y="1679"/>
                </a:lnTo>
                <a:lnTo>
                  <a:pt x="191" y="1679"/>
                </a:lnTo>
                <a:lnTo>
                  <a:pt x="157" y="1676"/>
                </a:lnTo>
                <a:lnTo>
                  <a:pt x="124" y="1667"/>
                </a:lnTo>
                <a:lnTo>
                  <a:pt x="95" y="1653"/>
                </a:lnTo>
                <a:lnTo>
                  <a:pt x="68" y="1635"/>
                </a:lnTo>
                <a:lnTo>
                  <a:pt x="45" y="1612"/>
                </a:lnTo>
                <a:lnTo>
                  <a:pt x="26" y="1585"/>
                </a:lnTo>
                <a:lnTo>
                  <a:pt x="12" y="1555"/>
                </a:lnTo>
                <a:lnTo>
                  <a:pt x="3" y="1523"/>
                </a:lnTo>
                <a:lnTo>
                  <a:pt x="0" y="1488"/>
                </a:lnTo>
                <a:lnTo>
                  <a:pt x="0" y="191"/>
                </a:lnTo>
                <a:lnTo>
                  <a:pt x="3" y="157"/>
                </a:lnTo>
                <a:lnTo>
                  <a:pt x="12" y="125"/>
                </a:lnTo>
                <a:lnTo>
                  <a:pt x="26" y="95"/>
                </a:lnTo>
                <a:lnTo>
                  <a:pt x="45" y="68"/>
                </a:lnTo>
                <a:lnTo>
                  <a:pt x="68" y="45"/>
                </a:lnTo>
                <a:lnTo>
                  <a:pt x="95" y="27"/>
                </a:lnTo>
                <a:lnTo>
                  <a:pt x="124" y="12"/>
                </a:lnTo>
                <a:lnTo>
                  <a:pt x="157" y="4"/>
                </a:lnTo>
                <a:lnTo>
                  <a:pt x="19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C11F67C7-A7A6-48E7-AC83-7602362512BE}"/>
              </a:ext>
            </a:extLst>
          </p:cNvPr>
          <p:cNvGrpSpPr/>
          <p:nvPr/>
        </p:nvGrpSpPr>
        <p:grpSpPr>
          <a:xfrm>
            <a:off x="2974975" y="2843844"/>
            <a:ext cx="1897898" cy="119502"/>
            <a:chOff x="4866806" y="2376661"/>
            <a:chExt cx="1897898" cy="119502"/>
          </a:xfrm>
        </p:grpSpPr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id="{D22A9092-B380-41DF-8EDD-CF28CBB6791D}"/>
                </a:ext>
              </a:extLst>
            </p:cNvPr>
            <p:cNvSpPr/>
            <p:nvPr/>
          </p:nvSpPr>
          <p:spPr>
            <a:xfrm>
              <a:off x="4866806" y="2376661"/>
              <a:ext cx="1823555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08" name="Isosceles Triangle 307">
              <a:extLst>
                <a:ext uri="{FF2B5EF4-FFF2-40B4-BE49-F238E27FC236}">
                  <a16:creationId xmlns:a16="http://schemas.microsoft.com/office/drawing/2014/main" id="{94D91EF5-EAC5-4C37-B94B-0DFE6018498F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09" name="TextBox 308">
            <a:extLst>
              <a:ext uri="{FF2B5EF4-FFF2-40B4-BE49-F238E27FC236}">
                <a16:creationId xmlns:a16="http://schemas.microsoft.com/office/drawing/2014/main" id="{E4631518-1120-4438-8D1C-C76EC57074B9}"/>
              </a:ext>
            </a:extLst>
          </p:cNvPr>
          <p:cNvSpPr txBox="1"/>
          <p:nvPr/>
        </p:nvSpPr>
        <p:spPr>
          <a:xfrm>
            <a:off x="4919008" y="2806843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Coaches</a:t>
            </a:r>
          </a:p>
        </p:txBody>
      </p:sp>
      <p:sp>
        <p:nvSpPr>
          <p:cNvPr id="310" name="Freeform 105">
            <a:extLst>
              <a:ext uri="{FF2B5EF4-FFF2-40B4-BE49-F238E27FC236}">
                <a16:creationId xmlns:a16="http://schemas.microsoft.com/office/drawing/2014/main" id="{64997A9F-4D38-437D-A22B-A94AD02DF8E7}"/>
              </a:ext>
            </a:extLst>
          </p:cNvPr>
          <p:cNvSpPr>
            <a:spLocks noEditPoints="1"/>
          </p:cNvSpPr>
          <p:nvPr/>
        </p:nvSpPr>
        <p:spPr bwMode="auto">
          <a:xfrm>
            <a:off x="3817866" y="2756945"/>
            <a:ext cx="732308" cy="198182"/>
          </a:xfrm>
          <a:custGeom>
            <a:avLst/>
            <a:gdLst>
              <a:gd name="T0" fmla="*/ 519 w 2947"/>
              <a:gd name="T1" fmla="*/ 722 h 943"/>
              <a:gd name="T2" fmla="*/ 799 w 2947"/>
              <a:gd name="T3" fmla="*/ 734 h 943"/>
              <a:gd name="T4" fmla="*/ 582 w 2947"/>
              <a:gd name="T5" fmla="*/ 852 h 943"/>
              <a:gd name="T6" fmla="*/ 1684 w 2947"/>
              <a:gd name="T7" fmla="*/ 674 h 943"/>
              <a:gd name="T8" fmla="*/ 1721 w 2947"/>
              <a:gd name="T9" fmla="*/ 833 h 943"/>
              <a:gd name="T10" fmla="*/ 6 w 2947"/>
              <a:gd name="T11" fmla="*/ 643 h 943"/>
              <a:gd name="T12" fmla="*/ 6 w 2947"/>
              <a:gd name="T13" fmla="*/ 83 h 943"/>
              <a:gd name="T14" fmla="*/ 1327 w 2947"/>
              <a:gd name="T15" fmla="*/ 0 h 943"/>
              <a:gd name="T16" fmla="*/ 2747 w 2947"/>
              <a:gd name="T17" fmla="*/ 40 h 943"/>
              <a:gd name="T18" fmla="*/ 2886 w 2947"/>
              <a:gd name="T19" fmla="*/ 161 h 943"/>
              <a:gd name="T20" fmla="*/ 2884 w 2947"/>
              <a:gd name="T21" fmla="*/ 277 h 943"/>
              <a:gd name="T22" fmla="*/ 2793 w 2947"/>
              <a:gd name="T23" fmla="*/ 197 h 943"/>
              <a:gd name="T24" fmla="*/ 2711 w 2947"/>
              <a:gd name="T25" fmla="*/ 143 h 943"/>
              <a:gd name="T26" fmla="*/ 2793 w 2947"/>
              <a:gd name="T27" fmla="*/ 714 h 943"/>
              <a:gd name="T28" fmla="*/ 2393 w 2947"/>
              <a:gd name="T29" fmla="*/ 747 h 943"/>
              <a:gd name="T30" fmla="*/ 2026 w 2947"/>
              <a:gd name="T31" fmla="*/ 713 h 943"/>
              <a:gd name="T32" fmla="*/ 1596 w 2947"/>
              <a:gd name="T33" fmla="*/ 705 h 943"/>
              <a:gd name="T34" fmla="*/ 1237 w 2947"/>
              <a:gd name="T35" fmla="*/ 747 h 943"/>
              <a:gd name="T36" fmla="*/ 872 w 2947"/>
              <a:gd name="T37" fmla="*/ 690 h 943"/>
              <a:gd name="T38" fmla="*/ 444 w 2947"/>
              <a:gd name="T39" fmla="*/ 693 h 943"/>
              <a:gd name="T40" fmla="*/ 334 w 2947"/>
              <a:gd name="T41" fmla="*/ 746 h 943"/>
              <a:gd name="T42" fmla="*/ 2586 w 2947"/>
              <a:gd name="T43" fmla="*/ 373 h 943"/>
              <a:gd name="T44" fmla="*/ 2466 w 2947"/>
              <a:gd name="T45" fmla="*/ 120 h 943"/>
              <a:gd name="T46" fmla="*/ 2346 w 2947"/>
              <a:gd name="T47" fmla="*/ 373 h 943"/>
              <a:gd name="T48" fmla="*/ 2466 w 2947"/>
              <a:gd name="T49" fmla="*/ 627 h 943"/>
              <a:gd name="T50" fmla="*/ 2586 w 2947"/>
              <a:gd name="T51" fmla="*/ 373 h 943"/>
              <a:gd name="T52" fmla="*/ 479 w 2947"/>
              <a:gd name="T53" fmla="*/ 79 h 943"/>
              <a:gd name="T54" fmla="*/ 246 w 2947"/>
              <a:gd name="T55" fmla="*/ 87 h 943"/>
              <a:gd name="T56" fmla="*/ 382 w 2947"/>
              <a:gd name="T57" fmla="*/ 360 h 943"/>
              <a:gd name="T58" fmla="*/ 479 w 2947"/>
              <a:gd name="T59" fmla="*/ 219 h 943"/>
              <a:gd name="T60" fmla="*/ 760 w 2947"/>
              <a:gd name="T61" fmla="*/ 80 h 943"/>
              <a:gd name="T62" fmla="*/ 519 w 2947"/>
              <a:gd name="T63" fmla="*/ 80 h 943"/>
              <a:gd name="T64" fmla="*/ 519 w 2947"/>
              <a:gd name="T65" fmla="*/ 361 h 943"/>
              <a:gd name="T66" fmla="*/ 752 w 2947"/>
              <a:gd name="T67" fmla="*/ 353 h 943"/>
              <a:gd name="T68" fmla="*/ 1036 w 2947"/>
              <a:gd name="T69" fmla="*/ 217 h 943"/>
              <a:gd name="T70" fmla="*/ 919 w 2947"/>
              <a:gd name="T71" fmla="*/ 80 h 943"/>
              <a:gd name="T72" fmla="*/ 799 w 2947"/>
              <a:gd name="T73" fmla="*/ 220 h 943"/>
              <a:gd name="T74" fmla="*/ 916 w 2947"/>
              <a:gd name="T75" fmla="*/ 357 h 943"/>
              <a:gd name="T76" fmla="*/ 1036 w 2947"/>
              <a:gd name="T77" fmla="*/ 217 h 943"/>
              <a:gd name="T78" fmla="*/ 1306 w 2947"/>
              <a:gd name="T79" fmla="*/ 80 h 943"/>
              <a:gd name="T80" fmla="*/ 1079 w 2947"/>
              <a:gd name="T81" fmla="*/ 80 h 943"/>
              <a:gd name="T82" fmla="*/ 1079 w 2947"/>
              <a:gd name="T83" fmla="*/ 360 h 943"/>
              <a:gd name="T84" fmla="*/ 1306 w 2947"/>
              <a:gd name="T85" fmla="*/ 360 h 943"/>
              <a:gd name="T86" fmla="*/ 1586 w 2947"/>
              <a:gd name="T87" fmla="*/ 220 h 943"/>
              <a:gd name="T88" fmla="*/ 1472 w 2947"/>
              <a:gd name="T89" fmla="*/ 80 h 943"/>
              <a:gd name="T90" fmla="*/ 1359 w 2947"/>
              <a:gd name="T91" fmla="*/ 220 h 943"/>
              <a:gd name="T92" fmla="*/ 1472 w 2947"/>
              <a:gd name="T93" fmla="*/ 360 h 943"/>
              <a:gd name="T94" fmla="*/ 1586 w 2947"/>
              <a:gd name="T95" fmla="*/ 220 h 943"/>
              <a:gd name="T96" fmla="*/ 1866 w 2947"/>
              <a:gd name="T97" fmla="*/ 80 h 943"/>
              <a:gd name="T98" fmla="*/ 1626 w 2947"/>
              <a:gd name="T99" fmla="*/ 80 h 943"/>
              <a:gd name="T100" fmla="*/ 1635 w 2947"/>
              <a:gd name="T101" fmla="*/ 351 h 943"/>
              <a:gd name="T102" fmla="*/ 1866 w 2947"/>
              <a:gd name="T103" fmla="*/ 360 h 943"/>
              <a:gd name="T104" fmla="*/ 2179 w 2947"/>
              <a:gd name="T105" fmla="*/ 213 h 943"/>
              <a:gd name="T106" fmla="*/ 2042 w 2947"/>
              <a:gd name="T107" fmla="*/ 83 h 943"/>
              <a:gd name="T108" fmla="*/ 1906 w 2947"/>
              <a:gd name="T109" fmla="*/ 213 h 943"/>
              <a:gd name="T110" fmla="*/ 2042 w 2947"/>
              <a:gd name="T111" fmla="*/ 344 h 943"/>
              <a:gd name="T112" fmla="*/ 2179 w 2947"/>
              <a:gd name="T113" fmla="*/ 213 h 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47" h="943">
                <a:moveTo>
                  <a:pt x="582" y="852"/>
                </a:moveTo>
                <a:cubicBezTo>
                  <a:pt x="550" y="834"/>
                  <a:pt x="519" y="769"/>
                  <a:pt x="519" y="722"/>
                </a:cubicBezTo>
                <a:cubicBezTo>
                  <a:pt x="519" y="633"/>
                  <a:pt x="624" y="569"/>
                  <a:pt x="710" y="605"/>
                </a:cubicBezTo>
                <a:cubicBezTo>
                  <a:pt x="759" y="625"/>
                  <a:pt x="799" y="683"/>
                  <a:pt x="799" y="734"/>
                </a:cubicBezTo>
                <a:cubicBezTo>
                  <a:pt x="799" y="775"/>
                  <a:pt x="760" y="835"/>
                  <a:pt x="723" y="852"/>
                </a:cubicBezTo>
                <a:cubicBezTo>
                  <a:pt x="683" y="870"/>
                  <a:pt x="613" y="870"/>
                  <a:pt x="582" y="852"/>
                </a:cubicBezTo>
                <a:close/>
                <a:moveTo>
                  <a:pt x="1721" y="833"/>
                </a:moveTo>
                <a:cubicBezTo>
                  <a:pt x="1670" y="790"/>
                  <a:pt x="1658" y="737"/>
                  <a:pt x="1684" y="674"/>
                </a:cubicBezTo>
                <a:cubicBezTo>
                  <a:pt x="1724" y="581"/>
                  <a:pt x="1846" y="563"/>
                  <a:pt x="1912" y="642"/>
                </a:cubicBezTo>
                <a:cubicBezTo>
                  <a:pt x="2022" y="772"/>
                  <a:pt x="1851" y="943"/>
                  <a:pt x="1721" y="833"/>
                </a:cubicBezTo>
                <a:close/>
                <a:moveTo>
                  <a:pt x="119" y="694"/>
                </a:moveTo>
                <a:lnTo>
                  <a:pt x="6" y="643"/>
                </a:lnTo>
                <a:lnTo>
                  <a:pt x="2" y="378"/>
                </a:lnTo>
                <a:cubicBezTo>
                  <a:pt x="0" y="232"/>
                  <a:pt x="1" y="100"/>
                  <a:pt x="6" y="83"/>
                </a:cubicBezTo>
                <a:cubicBezTo>
                  <a:pt x="10" y="66"/>
                  <a:pt x="32" y="41"/>
                  <a:pt x="56" y="26"/>
                </a:cubicBezTo>
                <a:cubicBezTo>
                  <a:pt x="98" y="1"/>
                  <a:pt x="130" y="0"/>
                  <a:pt x="1327" y="0"/>
                </a:cubicBezTo>
                <a:cubicBezTo>
                  <a:pt x="2385" y="0"/>
                  <a:pt x="2564" y="3"/>
                  <a:pt x="2612" y="20"/>
                </a:cubicBezTo>
                <a:cubicBezTo>
                  <a:pt x="2644" y="31"/>
                  <a:pt x="2704" y="40"/>
                  <a:pt x="2747" y="40"/>
                </a:cubicBezTo>
                <a:lnTo>
                  <a:pt x="2825" y="40"/>
                </a:lnTo>
                <a:lnTo>
                  <a:pt x="2886" y="161"/>
                </a:lnTo>
                <a:lnTo>
                  <a:pt x="2947" y="281"/>
                </a:lnTo>
                <a:lnTo>
                  <a:pt x="2884" y="277"/>
                </a:lnTo>
                <a:lnTo>
                  <a:pt x="2821" y="273"/>
                </a:lnTo>
                <a:lnTo>
                  <a:pt x="2793" y="197"/>
                </a:lnTo>
                <a:cubicBezTo>
                  <a:pt x="2771" y="133"/>
                  <a:pt x="2761" y="120"/>
                  <a:pt x="2735" y="120"/>
                </a:cubicBezTo>
                <a:cubicBezTo>
                  <a:pt x="2712" y="120"/>
                  <a:pt x="2706" y="126"/>
                  <a:pt x="2711" y="143"/>
                </a:cubicBezTo>
                <a:cubicBezTo>
                  <a:pt x="2729" y="203"/>
                  <a:pt x="2826" y="636"/>
                  <a:pt x="2826" y="657"/>
                </a:cubicBezTo>
                <a:cubicBezTo>
                  <a:pt x="2826" y="670"/>
                  <a:pt x="2811" y="696"/>
                  <a:pt x="2793" y="714"/>
                </a:cubicBezTo>
                <a:lnTo>
                  <a:pt x="2760" y="747"/>
                </a:lnTo>
                <a:lnTo>
                  <a:pt x="2393" y="747"/>
                </a:lnTo>
                <a:lnTo>
                  <a:pt x="2026" y="747"/>
                </a:lnTo>
                <a:lnTo>
                  <a:pt x="2026" y="713"/>
                </a:lnTo>
                <a:cubicBezTo>
                  <a:pt x="2026" y="629"/>
                  <a:pt x="1944" y="537"/>
                  <a:pt x="1849" y="515"/>
                </a:cubicBezTo>
                <a:cubicBezTo>
                  <a:pt x="1737" y="488"/>
                  <a:pt x="1605" y="587"/>
                  <a:pt x="1596" y="705"/>
                </a:cubicBezTo>
                <a:lnTo>
                  <a:pt x="1593" y="747"/>
                </a:lnTo>
                <a:lnTo>
                  <a:pt x="1237" y="747"/>
                </a:lnTo>
                <a:lnTo>
                  <a:pt x="881" y="747"/>
                </a:lnTo>
                <a:lnTo>
                  <a:pt x="872" y="690"/>
                </a:lnTo>
                <a:cubicBezTo>
                  <a:pt x="860" y="619"/>
                  <a:pt x="787" y="542"/>
                  <a:pt x="713" y="522"/>
                </a:cubicBezTo>
                <a:cubicBezTo>
                  <a:pt x="596" y="490"/>
                  <a:pt x="463" y="575"/>
                  <a:pt x="444" y="693"/>
                </a:cubicBezTo>
                <a:lnTo>
                  <a:pt x="436" y="747"/>
                </a:lnTo>
                <a:lnTo>
                  <a:pt x="334" y="746"/>
                </a:lnTo>
                <a:cubicBezTo>
                  <a:pt x="245" y="746"/>
                  <a:pt x="218" y="740"/>
                  <a:pt x="119" y="694"/>
                </a:cubicBezTo>
                <a:close/>
                <a:moveTo>
                  <a:pt x="2586" y="373"/>
                </a:moveTo>
                <a:lnTo>
                  <a:pt x="2586" y="120"/>
                </a:lnTo>
                <a:lnTo>
                  <a:pt x="2466" y="120"/>
                </a:lnTo>
                <a:lnTo>
                  <a:pt x="2346" y="120"/>
                </a:lnTo>
                <a:lnTo>
                  <a:pt x="2346" y="373"/>
                </a:lnTo>
                <a:lnTo>
                  <a:pt x="2346" y="627"/>
                </a:lnTo>
                <a:lnTo>
                  <a:pt x="2466" y="627"/>
                </a:lnTo>
                <a:lnTo>
                  <a:pt x="2586" y="627"/>
                </a:lnTo>
                <a:lnTo>
                  <a:pt x="2586" y="373"/>
                </a:lnTo>
                <a:close/>
                <a:moveTo>
                  <a:pt x="479" y="219"/>
                </a:moveTo>
                <a:lnTo>
                  <a:pt x="479" y="79"/>
                </a:lnTo>
                <a:lnTo>
                  <a:pt x="362" y="83"/>
                </a:lnTo>
                <a:lnTo>
                  <a:pt x="246" y="87"/>
                </a:lnTo>
                <a:lnTo>
                  <a:pt x="242" y="206"/>
                </a:lnTo>
                <a:cubicBezTo>
                  <a:pt x="237" y="353"/>
                  <a:pt x="243" y="360"/>
                  <a:pt x="382" y="360"/>
                </a:cubicBezTo>
                <a:lnTo>
                  <a:pt x="479" y="360"/>
                </a:lnTo>
                <a:lnTo>
                  <a:pt x="479" y="219"/>
                </a:lnTo>
                <a:close/>
                <a:moveTo>
                  <a:pt x="756" y="217"/>
                </a:moveTo>
                <a:lnTo>
                  <a:pt x="760" y="80"/>
                </a:lnTo>
                <a:lnTo>
                  <a:pt x="639" y="80"/>
                </a:lnTo>
                <a:lnTo>
                  <a:pt x="519" y="80"/>
                </a:lnTo>
                <a:lnTo>
                  <a:pt x="519" y="220"/>
                </a:lnTo>
                <a:lnTo>
                  <a:pt x="519" y="361"/>
                </a:lnTo>
                <a:lnTo>
                  <a:pt x="636" y="357"/>
                </a:lnTo>
                <a:lnTo>
                  <a:pt x="752" y="353"/>
                </a:lnTo>
                <a:lnTo>
                  <a:pt x="756" y="217"/>
                </a:lnTo>
                <a:close/>
                <a:moveTo>
                  <a:pt x="1036" y="217"/>
                </a:moveTo>
                <a:lnTo>
                  <a:pt x="1040" y="80"/>
                </a:lnTo>
                <a:lnTo>
                  <a:pt x="919" y="80"/>
                </a:lnTo>
                <a:lnTo>
                  <a:pt x="799" y="80"/>
                </a:lnTo>
                <a:lnTo>
                  <a:pt x="799" y="220"/>
                </a:lnTo>
                <a:lnTo>
                  <a:pt x="799" y="361"/>
                </a:lnTo>
                <a:lnTo>
                  <a:pt x="916" y="357"/>
                </a:lnTo>
                <a:lnTo>
                  <a:pt x="1032" y="353"/>
                </a:lnTo>
                <a:lnTo>
                  <a:pt x="1036" y="217"/>
                </a:lnTo>
                <a:close/>
                <a:moveTo>
                  <a:pt x="1306" y="220"/>
                </a:moveTo>
                <a:lnTo>
                  <a:pt x="1306" y="80"/>
                </a:lnTo>
                <a:lnTo>
                  <a:pt x="1192" y="80"/>
                </a:lnTo>
                <a:lnTo>
                  <a:pt x="1079" y="80"/>
                </a:lnTo>
                <a:lnTo>
                  <a:pt x="1079" y="220"/>
                </a:lnTo>
                <a:lnTo>
                  <a:pt x="1079" y="360"/>
                </a:lnTo>
                <a:lnTo>
                  <a:pt x="1192" y="360"/>
                </a:lnTo>
                <a:lnTo>
                  <a:pt x="1306" y="360"/>
                </a:lnTo>
                <a:lnTo>
                  <a:pt x="1306" y="220"/>
                </a:lnTo>
                <a:close/>
                <a:moveTo>
                  <a:pt x="1586" y="220"/>
                </a:moveTo>
                <a:lnTo>
                  <a:pt x="1586" y="80"/>
                </a:lnTo>
                <a:lnTo>
                  <a:pt x="1472" y="80"/>
                </a:lnTo>
                <a:lnTo>
                  <a:pt x="1359" y="80"/>
                </a:lnTo>
                <a:lnTo>
                  <a:pt x="1359" y="220"/>
                </a:lnTo>
                <a:lnTo>
                  <a:pt x="1359" y="360"/>
                </a:lnTo>
                <a:lnTo>
                  <a:pt x="1472" y="360"/>
                </a:lnTo>
                <a:lnTo>
                  <a:pt x="1586" y="360"/>
                </a:lnTo>
                <a:lnTo>
                  <a:pt x="1586" y="220"/>
                </a:lnTo>
                <a:close/>
                <a:moveTo>
                  <a:pt x="1866" y="220"/>
                </a:moveTo>
                <a:lnTo>
                  <a:pt x="1866" y="80"/>
                </a:lnTo>
                <a:lnTo>
                  <a:pt x="1746" y="80"/>
                </a:lnTo>
                <a:lnTo>
                  <a:pt x="1626" y="80"/>
                </a:lnTo>
                <a:lnTo>
                  <a:pt x="1626" y="211"/>
                </a:lnTo>
                <a:cubicBezTo>
                  <a:pt x="1626" y="283"/>
                  <a:pt x="1630" y="346"/>
                  <a:pt x="1635" y="351"/>
                </a:cubicBezTo>
                <a:cubicBezTo>
                  <a:pt x="1639" y="356"/>
                  <a:pt x="1693" y="360"/>
                  <a:pt x="1755" y="360"/>
                </a:cubicBezTo>
                <a:lnTo>
                  <a:pt x="1866" y="360"/>
                </a:lnTo>
                <a:lnTo>
                  <a:pt x="1866" y="220"/>
                </a:lnTo>
                <a:close/>
                <a:moveTo>
                  <a:pt x="2179" y="213"/>
                </a:moveTo>
                <a:lnTo>
                  <a:pt x="2179" y="87"/>
                </a:lnTo>
                <a:lnTo>
                  <a:pt x="2042" y="83"/>
                </a:lnTo>
                <a:lnTo>
                  <a:pt x="1906" y="79"/>
                </a:lnTo>
                <a:lnTo>
                  <a:pt x="1906" y="213"/>
                </a:lnTo>
                <a:lnTo>
                  <a:pt x="1906" y="348"/>
                </a:lnTo>
                <a:lnTo>
                  <a:pt x="2042" y="344"/>
                </a:lnTo>
                <a:lnTo>
                  <a:pt x="2179" y="340"/>
                </a:lnTo>
                <a:lnTo>
                  <a:pt x="2179" y="213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04DA401A-EA21-40DD-8FEC-1661DE881D5E}"/>
              </a:ext>
            </a:extLst>
          </p:cNvPr>
          <p:cNvGrpSpPr/>
          <p:nvPr/>
        </p:nvGrpSpPr>
        <p:grpSpPr>
          <a:xfrm>
            <a:off x="3969545" y="3105033"/>
            <a:ext cx="797270" cy="119502"/>
            <a:chOff x="5967434" y="2376661"/>
            <a:chExt cx="797270" cy="119502"/>
          </a:xfrm>
        </p:grpSpPr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id="{8FB6A7F9-4037-4424-A338-E2F028101DEE}"/>
                </a:ext>
              </a:extLst>
            </p:cNvPr>
            <p:cNvSpPr/>
            <p:nvPr/>
          </p:nvSpPr>
          <p:spPr>
            <a:xfrm>
              <a:off x="5967434" y="2376661"/>
              <a:ext cx="722927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13" name="Isosceles Triangle 312">
              <a:extLst>
                <a:ext uri="{FF2B5EF4-FFF2-40B4-BE49-F238E27FC236}">
                  <a16:creationId xmlns:a16="http://schemas.microsoft.com/office/drawing/2014/main" id="{86C400AF-94F0-43C1-BD0F-647B3C431FEC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14" name="TextBox 313">
            <a:extLst>
              <a:ext uri="{FF2B5EF4-FFF2-40B4-BE49-F238E27FC236}">
                <a16:creationId xmlns:a16="http://schemas.microsoft.com/office/drawing/2014/main" id="{FB58E167-356F-4965-B6E0-FE6B60983093}"/>
              </a:ext>
            </a:extLst>
          </p:cNvPr>
          <p:cNvSpPr txBox="1"/>
          <p:nvPr/>
        </p:nvSpPr>
        <p:spPr>
          <a:xfrm>
            <a:off x="4812950" y="3068032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Trucks</a:t>
            </a:r>
          </a:p>
        </p:txBody>
      </p:sp>
      <p:sp>
        <p:nvSpPr>
          <p:cNvPr id="315" name="Freeform 80">
            <a:extLst>
              <a:ext uri="{FF2B5EF4-FFF2-40B4-BE49-F238E27FC236}">
                <a16:creationId xmlns:a16="http://schemas.microsoft.com/office/drawing/2014/main" id="{BDC7906E-58E5-4EAC-B1F1-F6C98561B4D4}"/>
              </a:ext>
            </a:extLst>
          </p:cNvPr>
          <p:cNvSpPr>
            <a:spLocks noEditPoints="1"/>
          </p:cNvSpPr>
          <p:nvPr/>
        </p:nvSpPr>
        <p:spPr bwMode="auto">
          <a:xfrm>
            <a:off x="4113519" y="3005877"/>
            <a:ext cx="436655" cy="197000"/>
          </a:xfrm>
          <a:custGeom>
            <a:avLst/>
            <a:gdLst>
              <a:gd name="T0" fmla="*/ 2889 w 3597"/>
              <a:gd name="T1" fmla="*/ 1643 h 2016"/>
              <a:gd name="T2" fmla="*/ 2829 w 3597"/>
              <a:gd name="T3" fmla="*/ 1773 h 2016"/>
              <a:gd name="T4" fmla="*/ 2889 w 3597"/>
              <a:gd name="T5" fmla="*/ 1901 h 2016"/>
              <a:gd name="T6" fmla="*/ 3028 w 3597"/>
              <a:gd name="T7" fmla="*/ 1939 h 2016"/>
              <a:gd name="T8" fmla="*/ 3144 w 3597"/>
              <a:gd name="T9" fmla="*/ 1858 h 2016"/>
              <a:gd name="T10" fmla="*/ 3156 w 3597"/>
              <a:gd name="T11" fmla="*/ 1714 h 2016"/>
              <a:gd name="T12" fmla="*/ 3057 w 3597"/>
              <a:gd name="T13" fmla="*/ 1613 h 2016"/>
              <a:gd name="T14" fmla="*/ 478 w 3597"/>
              <a:gd name="T15" fmla="*/ 1613 h 2016"/>
              <a:gd name="T16" fmla="*/ 377 w 3597"/>
              <a:gd name="T17" fmla="*/ 1714 h 2016"/>
              <a:gd name="T18" fmla="*/ 391 w 3597"/>
              <a:gd name="T19" fmla="*/ 1858 h 2016"/>
              <a:gd name="T20" fmla="*/ 506 w 3597"/>
              <a:gd name="T21" fmla="*/ 1939 h 2016"/>
              <a:gd name="T22" fmla="*/ 645 w 3597"/>
              <a:gd name="T23" fmla="*/ 1901 h 2016"/>
              <a:gd name="T24" fmla="*/ 706 w 3597"/>
              <a:gd name="T25" fmla="*/ 1773 h 2016"/>
              <a:gd name="T26" fmla="*/ 645 w 3597"/>
              <a:gd name="T27" fmla="*/ 1643 h 2016"/>
              <a:gd name="T28" fmla="*/ 2998 w 3597"/>
              <a:gd name="T29" fmla="*/ 1528 h 2016"/>
              <a:gd name="T30" fmla="*/ 3170 w 3597"/>
              <a:gd name="T31" fmla="*/ 1600 h 2016"/>
              <a:gd name="T32" fmla="*/ 3241 w 3597"/>
              <a:gd name="T33" fmla="*/ 1773 h 2016"/>
              <a:gd name="T34" fmla="*/ 3170 w 3597"/>
              <a:gd name="T35" fmla="*/ 1945 h 2016"/>
              <a:gd name="T36" fmla="*/ 2998 w 3597"/>
              <a:gd name="T37" fmla="*/ 2016 h 2016"/>
              <a:gd name="T38" fmla="*/ 2825 w 3597"/>
              <a:gd name="T39" fmla="*/ 1945 h 2016"/>
              <a:gd name="T40" fmla="*/ 2755 w 3597"/>
              <a:gd name="T41" fmla="*/ 1773 h 2016"/>
              <a:gd name="T42" fmla="*/ 2825 w 3597"/>
              <a:gd name="T43" fmla="*/ 1600 h 2016"/>
              <a:gd name="T44" fmla="*/ 2998 w 3597"/>
              <a:gd name="T45" fmla="*/ 1528 h 2016"/>
              <a:gd name="T46" fmla="*/ 680 w 3597"/>
              <a:gd name="T47" fmla="*/ 1576 h 2016"/>
              <a:gd name="T48" fmla="*/ 777 w 3597"/>
              <a:gd name="T49" fmla="*/ 1733 h 2016"/>
              <a:gd name="T50" fmla="*/ 733 w 3597"/>
              <a:gd name="T51" fmla="*/ 1916 h 2016"/>
              <a:gd name="T52" fmla="*/ 576 w 3597"/>
              <a:gd name="T53" fmla="*/ 2013 h 2016"/>
              <a:gd name="T54" fmla="*/ 393 w 3597"/>
              <a:gd name="T55" fmla="*/ 1969 h 2016"/>
              <a:gd name="T56" fmla="*/ 296 w 3597"/>
              <a:gd name="T57" fmla="*/ 1812 h 2016"/>
              <a:gd name="T58" fmla="*/ 339 w 3597"/>
              <a:gd name="T59" fmla="*/ 1629 h 2016"/>
              <a:gd name="T60" fmla="*/ 496 w 3597"/>
              <a:gd name="T61" fmla="*/ 1532 h 2016"/>
              <a:gd name="T62" fmla="*/ 3482 w 3597"/>
              <a:gd name="T63" fmla="*/ 1455 h 2016"/>
              <a:gd name="T64" fmla="*/ 3482 w 3597"/>
              <a:gd name="T65" fmla="*/ 1588 h 2016"/>
              <a:gd name="T66" fmla="*/ 3543 w 3597"/>
              <a:gd name="T67" fmla="*/ 1598 h 2016"/>
              <a:gd name="T68" fmla="*/ 3559 w 3597"/>
              <a:gd name="T69" fmla="*/ 1467 h 2016"/>
              <a:gd name="T70" fmla="*/ 280 w 3597"/>
              <a:gd name="T71" fmla="*/ 1402 h 2016"/>
              <a:gd name="T72" fmla="*/ 814 w 3597"/>
              <a:gd name="T73" fmla="*/ 1616 h 2016"/>
              <a:gd name="T74" fmla="*/ 638 w 3597"/>
              <a:gd name="T75" fmla="*/ 1490 h 2016"/>
              <a:gd name="T76" fmla="*/ 417 w 3597"/>
              <a:gd name="T77" fmla="*/ 1504 h 2016"/>
              <a:gd name="T78" fmla="*/ 260 w 3597"/>
              <a:gd name="T79" fmla="*/ 1648 h 2016"/>
              <a:gd name="T80" fmla="*/ 163 w 3597"/>
              <a:gd name="T81" fmla="*/ 1628 h 2016"/>
              <a:gd name="T82" fmla="*/ 144 w 3597"/>
              <a:gd name="T83" fmla="*/ 1513 h 2016"/>
              <a:gd name="T84" fmla="*/ 226 w 3597"/>
              <a:gd name="T85" fmla="*/ 1413 h 2016"/>
              <a:gd name="T86" fmla="*/ 2655 w 3597"/>
              <a:gd name="T87" fmla="*/ 567 h 2016"/>
              <a:gd name="T88" fmla="*/ 2639 w 3597"/>
              <a:gd name="T89" fmla="*/ 967 h 2016"/>
              <a:gd name="T90" fmla="*/ 3333 w 3597"/>
              <a:gd name="T91" fmla="*/ 998 h 2016"/>
              <a:gd name="T92" fmla="*/ 3380 w 3597"/>
              <a:gd name="T93" fmla="*/ 952 h 2016"/>
              <a:gd name="T94" fmla="*/ 3130 w 3597"/>
              <a:gd name="T95" fmla="*/ 567 h 2016"/>
              <a:gd name="T96" fmla="*/ 2546 w 3597"/>
              <a:gd name="T97" fmla="*/ 471 h 2016"/>
              <a:gd name="T98" fmla="*/ 3221 w 3597"/>
              <a:gd name="T99" fmla="*/ 489 h 2016"/>
              <a:gd name="T100" fmla="*/ 3595 w 3597"/>
              <a:gd name="T101" fmla="*/ 1639 h 2016"/>
              <a:gd name="T102" fmla="*/ 3307 w 3597"/>
              <a:gd name="T103" fmla="*/ 1670 h 2016"/>
              <a:gd name="T104" fmla="*/ 3170 w 3597"/>
              <a:gd name="T105" fmla="*/ 1521 h 2016"/>
              <a:gd name="T106" fmla="*/ 2965 w 3597"/>
              <a:gd name="T107" fmla="*/ 1480 h 2016"/>
              <a:gd name="T108" fmla="*/ 2782 w 3597"/>
              <a:gd name="T109" fmla="*/ 1570 h 2016"/>
              <a:gd name="T110" fmla="*/ 2532 w 3597"/>
              <a:gd name="T111" fmla="*/ 1668 h 2016"/>
              <a:gd name="T112" fmla="*/ 2500 w 3597"/>
              <a:gd name="T113" fmla="*/ 517 h 2016"/>
              <a:gd name="T114" fmla="*/ 2546 w 3597"/>
              <a:gd name="T115" fmla="*/ 471 h 2016"/>
              <a:gd name="T116" fmla="*/ 0 w 3597"/>
              <a:gd name="T117" fmla="*/ 0 h 20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597" h="2016">
                <a:moveTo>
                  <a:pt x="2998" y="1604"/>
                </a:moveTo>
                <a:lnTo>
                  <a:pt x="2967" y="1606"/>
                </a:lnTo>
                <a:lnTo>
                  <a:pt x="2939" y="1613"/>
                </a:lnTo>
                <a:lnTo>
                  <a:pt x="2913" y="1627"/>
                </a:lnTo>
                <a:lnTo>
                  <a:pt x="2889" y="1643"/>
                </a:lnTo>
                <a:lnTo>
                  <a:pt x="2869" y="1664"/>
                </a:lnTo>
                <a:lnTo>
                  <a:pt x="2852" y="1688"/>
                </a:lnTo>
                <a:lnTo>
                  <a:pt x="2840" y="1714"/>
                </a:lnTo>
                <a:lnTo>
                  <a:pt x="2832" y="1742"/>
                </a:lnTo>
                <a:lnTo>
                  <a:pt x="2829" y="1773"/>
                </a:lnTo>
                <a:lnTo>
                  <a:pt x="2832" y="1803"/>
                </a:lnTo>
                <a:lnTo>
                  <a:pt x="2840" y="1832"/>
                </a:lnTo>
                <a:lnTo>
                  <a:pt x="2852" y="1858"/>
                </a:lnTo>
                <a:lnTo>
                  <a:pt x="2869" y="1882"/>
                </a:lnTo>
                <a:lnTo>
                  <a:pt x="2889" y="1901"/>
                </a:lnTo>
                <a:lnTo>
                  <a:pt x="2913" y="1919"/>
                </a:lnTo>
                <a:lnTo>
                  <a:pt x="2939" y="1931"/>
                </a:lnTo>
                <a:lnTo>
                  <a:pt x="2967" y="1939"/>
                </a:lnTo>
                <a:lnTo>
                  <a:pt x="2998" y="1942"/>
                </a:lnTo>
                <a:lnTo>
                  <a:pt x="3028" y="1939"/>
                </a:lnTo>
                <a:lnTo>
                  <a:pt x="3057" y="1931"/>
                </a:lnTo>
                <a:lnTo>
                  <a:pt x="3083" y="1919"/>
                </a:lnTo>
                <a:lnTo>
                  <a:pt x="3107" y="1901"/>
                </a:lnTo>
                <a:lnTo>
                  <a:pt x="3128" y="1882"/>
                </a:lnTo>
                <a:lnTo>
                  <a:pt x="3144" y="1858"/>
                </a:lnTo>
                <a:lnTo>
                  <a:pt x="3156" y="1832"/>
                </a:lnTo>
                <a:lnTo>
                  <a:pt x="3165" y="1803"/>
                </a:lnTo>
                <a:lnTo>
                  <a:pt x="3167" y="1773"/>
                </a:lnTo>
                <a:lnTo>
                  <a:pt x="3165" y="1742"/>
                </a:lnTo>
                <a:lnTo>
                  <a:pt x="3156" y="1714"/>
                </a:lnTo>
                <a:lnTo>
                  <a:pt x="3144" y="1688"/>
                </a:lnTo>
                <a:lnTo>
                  <a:pt x="3128" y="1664"/>
                </a:lnTo>
                <a:lnTo>
                  <a:pt x="3107" y="1643"/>
                </a:lnTo>
                <a:lnTo>
                  <a:pt x="3083" y="1627"/>
                </a:lnTo>
                <a:lnTo>
                  <a:pt x="3057" y="1613"/>
                </a:lnTo>
                <a:lnTo>
                  <a:pt x="3028" y="1606"/>
                </a:lnTo>
                <a:lnTo>
                  <a:pt x="2998" y="1604"/>
                </a:lnTo>
                <a:close/>
                <a:moveTo>
                  <a:pt x="537" y="1604"/>
                </a:moveTo>
                <a:lnTo>
                  <a:pt x="506" y="1606"/>
                </a:lnTo>
                <a:lnTo>
                  <a:pt x="478" y="1613"/>
                </a:lnTo>
                <a:lnTo>
                  <a:pt x="451" y="1627"/>
                </a:lnTo>
                <a:lnTo>
                  <a:pt x="428" y="1643"/>
                </a:lnTo>
                <a:lnTo>
                  <a:pt x="407" y="1664"/>
                </a:lnTo>
                <a:lnTo>
                  <a:pt x="391" y="1688"/>
                </a:lnTo>
                <a:lnTo>
                  <a:pt x="377" y="1714"/>
                </a:lnTo>
                <a:lnTo>
                  <a:pt x="370" y="1742"/>
                </a:lnTo>
                <a:lnTo>
                  <a:pt x="368" y="1773"/>
                </a:lnTo>
                <a:lnTo>
                  <a:pt x="370" y="1803"/>
                </a:lnTo>
                <a:lnTo>
                  <a:pt x="377" y="1832"/>
                </a:lnTo>
                <a:lnTo>
                  <a:pt x="391" y="1858"/>
                </a:lnTo>
                <a:lnTo>
                  <a:pt x="407" y="1882"/>
                </a:lnTo>
                <a:lnTo>
                  <a:pt x="428" y="1901"/>
                </a:lnTo>
                <a:lnTo>
                  <a:pt x="451" y="1919"/>
                </a:lnTo>
                <a:lnTo>
                  <a:pt x="478" y="1931"/>
                </a:lnTo>
                <a:lnTo>
                  <a:pt x="506" y="1939"/>
                </a:lnTo>
                <a:lnTo>
                  <a:pt x="537" y="1942"/>
                </a:lnTo>
                <a:lnTo>
                  <a:pt x="566" y="1939"/>
                </a:lnTo>
                <a:lnTo>
                  <a:pt x="596" y="1931"/>
                </a:lnTo>
                <a:lnTo>
                  <a:pt x="622" y="1919"/>
                </a:lnTo>
                <a:lnTo>
                  <a:pt x="645" y="1901"/>
                </a:lnTo>
                <a:lnTo>
                  <a:pt x="665" y="1882"/>
                </a:lnTo>
                <a:lnTo>
                  <a:pt x="682" y="1858"/>
                </a:lnTo>
                <a:lnTo>
                  <a:pt x="695" y="1832"/>
                </a:lnTo>
                <a:lnTo>
                  <a:pt x="703" y="1803"/>
                </a:lnTo>
                <a:lnTo>
                  <a:pt x="706" y="1773"/>
                </a:lnTo>
                <a:lnTo>
                  <a:pt x="703" y="1742"/>
                </a:lnTo>
                <a:lnTo>
                  <a:pt x="695" y="1714"/>
                </a:lnTo>
                <a:lnTo>
                  <a:pt x="682" y="1688"/>
                </a:lnTo>
                <a:lnTo>
                  <a:pt x="665" y="1664"/>
                </a:lnTo>
                <a:lnTo>
                  <a:pt x="645" y="1643"/>
                </a:lnTo>
                <a:lnTo>
                  <a:pt x="622" y="1627"/>
                </a:lnTo>
                <a:lnTo>
                  <a:pt x="596" y="1613"/>
                </a:lnTo>
                <a:lnTo>
                  <a:pt x="566" y="1606"/>
                </a:lnTo>
                <a:lnTo>
                  <a:pt x="537" y="1604"/>
                </a:lnTo>
                <a:close/>
                <a:moveTo>
                  <a:pt x="2998" y="1528"/>
                </a:moveTo>
                <a:lnTo>
                  <a:pt x="3037" y="1532"/>
                </a:lnTo>
                <a:lnTo>
                  <a:pt x="3075" y="1541"/>
                </a:lnTo>
                <a:lnTo>
                  <a:pt x="3110" y="1556"/>
                </a:lnTo>
                <a:lnTo>
                  <a:pt x="3142" y="1576"/>
                </a:lnTo>
                <a:lnTo>
                  <a:pt x="3170" y="1600"/>
                </a:lnTo>
                <a:lnTo>
                  <a:pt x="3194" y="1629"/>
                </a:lnTo>
                <a:lnTo>
                  <a:pt x="3214" y="1660"/>
                </a:lnTo>
                <a:lnTo>
                  <a:pt x="3229" y="1695"/>
                </a:lnTo>
                <a:lnTo>
                  <a:pt x="3238" y="1733"/>
                </a:lnTo>
                <a:lnTo>
                  <a:pt x="3241" y="1773"/>
                </a:lnTo>
                <a:lnTo>
                  <a:pt x="3238" y="1812"/>
                </a:lnTo>
                <a:lnTo>
                  <a:pt x="3229" y="1849"/>
                </a:lnTo>
                <a:lnTo>
                  <a:pt x="3214" y="1884"/>
                </a:lnTo>
                <a:lnTo>
                  <a:pt x="3194" y="1916"/>
                </a:lnTo>
                <a:lnTo>
                  <a:pt x="3170" y="1945"/>
                </a:lnTo>
                <a:lnTo>
                  <a:pt x="3142" y="1969"/>
                </a:lnTo>
                <a:lnTo>
                  <a:pt x="3110" y="1989"/>
                </a:lnTo>
                <a:lnTo>
                  <a:pt x="3075" y="2004"/>
                </a:lnTo>
                <a:lnTo>
                  <a:pt x="3037" y="2013"/>
                </a:lnTo>
                <a:lnTo>
                  <a:pt x="2998" y="2016"/>
                </a:lnTo>
                <a:lnTo>
                  <a:pt x="2959" y="2013"/>
                </a:lnTo>
                <a:lnTo>
                  <a:pt x="2921" y="2004"/>
                </a:lnTo>
                <a:lnTo>
                  <a:pt x="2887" y="1989"/>
                </a:lnTo>
                <a:lnTo>
                  <a:pt x="2854" y="1969"/>
                </a:lnTo>
                <a:lnTo>
                  <a:pt x="2825" y="1945"/>
                </a:lnTo>
                <a:lnTo>
                  <a:pt x="2801" y="1916"/>
                </a:lnTo>
                <a:lnTo>
                  <a:pt x="2782" y="1884"/>
                </a:lnTo>
                <a:lnTo>
                  <a:pt x="2767" y="1849"/>
                </a:lnTo>
                <a:lnTo>
                  <a:pt x="2758" y="1812"/>
                </a:lnTo>
                <a:lnTo>
                  <a:pt x="2755" y="1773"/>
                </a:lnTo>
                <a:lnTo>
                  <a:pt x="2758" y="1733"/>
                </a:lnTo>
                <a:lnTo>
                  <a:pt x="2767" y="1695"/>
                </a:lnTo>
                <a:lnTo>
                  <a:pt x="2782" y="1660"/>
                </a:lnTo>
                <a:lnTo>
                  <a:pt x="2801" y="1629"/>
                </a:lnTo>
                <a:lnTo>
                  <a:pt x="2825" y="1600"/>
                </a:lnTo>
                <a:lnTo>
                  <a:pt x="2854" y="1576"/>
                </a:lnTo>
                <a:lnTo>
                  <a:pt x="2887" y="1556"/>
                </a:lnTo>
                <a:lnTo>
                  <a:pt x="2921" y="1541"/>
                </a:lnTo>
                <a:lnTo>
                  <a:pt x="2959" y="1532"/>
                </a:lnTo>
                <a:lnTo>
                  <a:pt x="2998" y="1528"/>
                </a:lnTo>
                <a:close/>
                <a:moveTo>
                  <a:pt x="537" y="1528"/>
                </a:moveTo>
                <a:lnTo>
                  <a:pt x="576" y="1532"/>
                </a:lnTo>
                <a:lnTo>
                  <a:pt x="613" y="1541"/>
                </a:lnTo>
                <a:lnTo>
                  <a:pt x="648" y="1556"/>
                </a:lnTo>
                <a:lnTo>
                  <a:pt x="680" y="1576"/>
                </a:lnTo>
                <a:lnTo>
                  <a:pt x="708" y="1600"/>
                </a:lnTo>
                <a:lnTo>
                  <a:pt x="733" y="1629"/>
                </a:lnTo>
                <a:lnTo>
                  <a:pt x="753" y="1660"/>
                </a:lnTo>
                <a:lnTo>
                  <a:pt x="767" y="1695"/>
                </a:lnTo>
                <a:lnTo>
                  <a:pt x="777" y="1733"/>
                </a:lnTo>
                <a:lnTo>
                  <a:pt x="780" y="1773"/>
                </a:lnTo>
                <a:lnTo>
                  <a:pt x="777" y="1812"/>
                </a:lnTo>
                <a:lnTo>
                  <a:pt x="767" y="1849"/>
                </a:lnTo>
                <a:lnTo>
                  <a:pt x="753" y="1884"/>
                </a:lnTo>
                <a:lnTo>
                  <a:pt x="733" y="1916"/>
                </a:lnTo>
                <a:lnTo>
                  <a:pt x="708" y="1945"/>
                </a:lnTo>
                <a:lnTo>
                  <a:pt x="680" y="1969"/>
                </a:lnTo>
                <a:lnTo>
                  <a:pt x="648" y="1989"/>
                </a:lnTo>
                <a:lnTo>
                  <a:pt x="613" y="2004"/>
                </a:lnTo>
                <a:lnTo>
                  <a:pt x="576" y="2013"/>
                </a:lnTo>
                <a:lnTo>
                  <a:pt x="537" y="2016"/>
                </a:lnTo>
                <a:lnTo>
                  <a:pt x="496" y="2013"/>
                </a:lnTo>
                <a:lnTo>
                  <a:pt x="459" y="2004"/>
                </a:lnTo>
                <a:lnTo>
                  <a:pt x="424" y="1989"/>
                </a:lnTo>
                <a:lnTo>
                  <a:pt x="393" y="1969"/>
                </a:lnTo>
                <a:lnTo>
                  <a:pt x="364" y="1945"/>
                </a:lnTo>
                <a:lnTo>
                  <a:pt x="339" y="1916"/>
                </a:lnTo>
                <a:lnTo>
                  <a:pt x="320" y="1884"/>
                </a:lnTo>
                <a:lnTo>
                  <a:pt x="305" y="1849"/>
                </a:lnTo>
                <a:lnTo>
                  <a:pt x="296" y="1812"/>
                </a:lnTo>
                <a:lnTo>
                  <a:pt x="292" y="1773"/>
                </a:lnTo>
                <a:lnTo>
                  <a:pt x="296" y="1733"/>
                </a:lnTo>
                <a:lnTo>
                  <a:pt x="305" y="1695"/>
                </a:lnTo>
                <a:lnTo>
                  <a:pt x="320" y="1660"/>
                </a:lnTo>
                <a:lnTo>
                  <a:pt x="339" y="1629"/>
                </a:lnTo>
                <a:lnTo>
                  <a:pt x="364" y="1600"/>
                </a:lnTo>
                <a:lnTo>
                  <a:pt x="393" y="1576"/>
                </a:lnTo>
                <a:lnTo>
                  <a:pt x="424" y="1556"/>
                </a:lnTo>
                <a:lnTo>
                  <a:pt x="459" y="1541"/>
                </a:lnTo>
                <a:lnTo>
                  <a:pt x="496" y="1532"/>
                </a:lnTo>
                <a:lnTo>
                  <a:pt x="537" y="1528"/>
                </a:lnTo>
                <a:close/>
                <a:moveTo>
                  <a:pt x="3518" y="1438"/>
                </a:moveTo>
                <a:lnTo>
                  <a:pt x="3504" y="1440"/>
                </a:lnTo>
                <a:lnTo>
                  <a:pt x="3492" y="1445"/>
                </a:lnTo>
                <a:lnTo>
                  <a:pt x="3482" y="1455"/>
                </a:lnTo>
                <a:lnTo>
                  <a:pt x="3477" y="1467"/>
                </a:lnTo>
                <a:lnTo>
                  <a:pt x="3475" y="1480"/>
                </a:lnTo>
                <a:lnTo>
                  <a:pt x="3475" y="1563"/>
                </a:lnTo>
                <a:lnTo>
                  <a:pt x="3477" y="1576"/>
                </a:lnTo>
                <a:lnTo>
                  <a:pt x="3482" y="1588"/>
                </a:lnTo>
                <a:lnTo>
                  <a:pt x="3492" y="1598"/>
                </a:lnTo>
                <a:lnTo>
                  <a:pt x="3504" y="1605"/>
                </a:lnTo>
                <a:lnTo>
                  <a:pt x="3518" y="1607"/>
                </a:lnTo>
                <a:lnTo>
                  <a:pt x="3531" y="1605"/>
                </a:lnTo>
                <a:lnTo>
                  <a:pt x="3543" y="1598"/>
                </a:lnTo>
                <a:lnTo>
                  <a:pt x="3553" y="1588"/>
                </a:lnTo>
                <a:lnTo>
                  <a:pt x="3559" y="1576"/>
                </a:lnTo>
                <a:lnTo>
                  <a:pt x="3561" y="1563"/>
                </a:lnTo>
                <a:lnTo>
                  <a:pt x="3561" y="1480"/>
                </a:lnTo>
                <a:lnTo>
                  <a:pt x="3559" y="1467"/>
                </a:lnTo>
                <a:lnTo>
                  <a:pt x="3553" y="1455"/>
                </a:lnTo>
                <a:lnTo>
                  <a:pt x="3543" y="1445"/>
                </a:lnTo>
                <a:lnTo>
                  <a:pt x="3531" y="1440"/>
                </a:lnTo>
                <a:lnTo>
                  <a:pt x="3518" y="1438"/>
                </a:lnTo>
                <a:close/>
                <a:moveTo>
                  <a:pt x="280" y="1402"/>
                </a:moveTo>
                <a:lnTo>
                  <a:pt x="2388" y="1402"/>
                </a:lnTo>
                <a:lnTo>
                  <a:pt x="2388" y="1693"/>
                </a:lnTo>
                <a:lnTo>
                  <a:pt x="855" y="1693"/>
                </a:lnTo>
                <a:lnTo>
                  <a:pt x="837" y="1653"/>
                </a:lnTo>
                <a:lnTo>
                  <a:pt x="814" y="1616"/>
                </a:lnTo>
                <a:lnTo>
                  <a:pt x="787" y="1582"/>
                </a:lnTo>
                <a:lnTo>
                  <a:pt x="754" y="1551"/>
                </a:lnTo>
                <a:lnTo>
                  <a:pt x="719" y="1526"/>
                </a:lnTo>
                <a:lnTo>
                  <a:pt x="680" y="1505"/>
                </a:lnTo>
                <a:lnTo>
                  <a:pt x="638" y="1490"/>
                </a:lnTo>
                <a:lnTo>
                  <a:pt x="593" y="1481"/>
                </a:lnTo>
                <a:lnTo>
                  <a:pt x="548" y="1478"/>
                </a:lnTo>
                <a:lnTo>
                  <a:pt x="502" y="1480"/>
                </a:lnTo>
                <a:lnTo>
                  <a:pt x="458" y="1490"/>
                </a:lnTo>
                <a:lnTo>
                  <a:pt x="417" y="1504"/>
                </a:lnTo>
                <a:lnTo>
                  <a:pt x="379" y="1525"/>
                </a:lnTo>
                <a:lnTo>
                  <a:pt x="343" y="1550"/>
                </a:lnTo>
                <a:lnTo>
                  <a:pt x="311" y="1579"/>
                </a:lnTo>
                <a:lnTo>
                  <a:pt x="284" y="1611"/>
                </a:lnTo>
                <a:lnTo>
                  <a:pt x="260" y="1648"/>
                </a:lnTo>
                <a:lnTo>
                  <a:pt x="242" y="1688"/>
                </a:lnTo>
                <a:lnTo>
                  <a:pt x="218" y="1679"/>
                </a:lnTo>
                <a:lnTo>
                  <a:pt x="196" y="1665"/>
                </a:lnTo>
                <a:lnTo>
                  <a:pt x="178" y="1648"/>
                </a:lnTo>
                <a:lnTo>
                  <a:pt x="163" y="1628"/>
                </a:lnTo>
                <a:lnTo>
                  <a:pt x="151" y="1605"/>
                </a:lnTo>
                <a:lnTo>
                  <a:pt x="143" y="1581"/>
                </a:lnTo>
                <a:lnTo>
                  <a:pt x="141" y="1553"/>
                </a:lnTo>
                <a:lnTo>
                  <a:pt x="141" y="1541"/>
                </a:lnTo>
                <a:lnTo>
                  <a:pt x="144" y="1513"/>
                </a:lnTo>
                <a:lnTo>
                  <a:pt x="152" y="1487"/>
                </a:lnTo>
                <a:lnTo>
                  <a:pt x="165" y="1463"/>
                </a:lnTo>
                <a:lnTo>
                  <a:pt x="182" y="1442"/>
                </a:lnTo>
                <a:lnTo>
                  <a:pt x="202" y="1426"/>
                </a:lnTo>
                <a:lnTo>
                  <a:pt x="226" y="1413"/>
                </a:lnTo>
                <a:lnTo>
                  <a:pt x="252" y="1405"/>
                </a:lnTo>
                <a:lnTo>
                  <a:pt x="280" y="1402"/>
                </a:lnTo>
                <a:close/>
                <a:moveTo>
                  <a:pt x="2684" y="559"/>
                </a:moveTo>
                <a:lnTo>
                  <a:pt x="2668" y="561"/>
                </a:lnTo>
                <a:lnTo>
                  <a:pt x="2655" y="567"/>
                </a:lnTo>
                <a:lnTo>
                  <a:pt x="2645" y="577"/>
                </a:lnTo>
                <a:lnTo>
                  <a:pt x="2639" y="590"/>
                </a:lnTo>
                <a:lnTo>
                  <a:pt x="2637" y="604"/>
                </a:lnTo>
                <a:lnTo>
                  <a:pt x="2637" y="952"/>
                </a:lnTo>
                <a:lnTo>
                  <a:pt x="2639" y="967"/>
                </a:lnTo>
                <a:lnTo>
                  <a:pt x="2645" y="980"/>
                </a:lnTo>
                <a:lnTo>
                  <a:pt x="2655" y="989"/>
                </a:lnTo>
                <a:lnTo>
                  <a:pt x="2668" y="996"/>
                </a:lnTo>
                <a:lnTo>
                  <a:pt x="2684" y="998"/>
                </a:lnTo>
                <a:lnTo>
                  <a:pt x="3333" y="998"/>
                </a:lnTo>
                <a:lnTo>
                  <a:pt x="3348" y="996"/>
                </a:lnTo>
                <a:lnTo>
                  <a:pt x="3360" y="989"/>
                </a:lnTo>
                <a:lnTo>
                  <a:pt x="3371" y="980"/>
                </a:lnTo>
                <a:lnTo>
                  <a:pt x="3377" y="967"/>
                </a:lnTo>
                <a:lnTo>
                  <a:pt x="3380" y="952"/>
                </a:lnTo>
                <a:lnTo>
                  <a:pt x="3170" y="604"/>
                </a:lnTo>
                <a:lnTo>
                  <a:pt x="3163" y="592"/>
                </a:lnTo>
                <a:lnTo>
                  <a:pt x="3155" y="583"/>
                </a:lnTo>
                <a:lnTo>
                  <a:pt x="3144" y="574"/>
                </a:lnTo>
                <a:lnTo>
                  <a:pt x="3130" y="567"/>
                </a:lnTo>
                <a:lnTo>
                  <a:pt x="3112" y="562"/>
                </a:lnTo>
                <a:lnTo>
                  <a:pt x="3091" y="559"/>
                </a:lnTo>
                <a:lnTo>
                  <a:pt x="3063" y="559"/>
                </a:lnTo>
                <a:lnTo>
                  <a:pt x="2684" y="559"/>
                </a:lnTo>
                <a:close/>
                <a:moveTo>
                  <a:pt x="2546" y="471"/>
                </a:moveTo>
                <a:lnTo>
                  <a:pt x="3159" y="471"/>
                </a:lnTo>
                <a:lnTo>
                  <a:pt x="3173" y="471"/>
                </a:lnTo>
                <a:lnTo>
                  <a:pt x="3189" y="475"/>
                </a:lnTo>
                <a:lnTo>
                  <a:pt x="3205" y="480"/>
                </a:lnTo>
                <a:lnTo>
                  <a:pt x="3221" y="489"/>
                </a:lnTo>
                <a:lnTo>
                  <a:pt x="3238" y="501"/>
                </a:lnTo>
                <a:lnTo>
                  <a:pt x="3252" y="517"/>
                </a:lnTo>
                <a:lnTo>
                  <a:pt x="3597" y="1072"/>
                </a:lnTo>
                <a:lnTo>
                  <a:pt x="3597" y="1623"/>
                </a:lnTo>
                <a:lnTo>
                  <a:pt x="3595" y="1639"/>
                </a:lnTo>
                <a:lnTo>
                  <a:pt x="3588" y="1651"/>
                </a:lnTo>
                <a:lnTo>
                  <a:pt x="3578" y="1661"/>
                </a:lnTo>
                <a:lnTo>
                  <a:pt x="3565" y="1668"/>
                </a:lnTo>
                <a:lnTo>
                  <a:pt x="3550" y="1670"/>
                </a:lnTo>
                <a:lnTo>
                  <a:pt x="3307" y="1670"/>
                </a:lnTo>
                <a:lnTo>
                  <a:pt x="3288" y="1634"/>
                </a:lnTo>
                <a:lnTo>
                  <a:pt x="3264" y="1600"/>
                </a:lnTo>
                <a:lnTo>
                  <a:pt x="3236" y="1570"/>
                </a:lnTo>
                <a:lnTo>
                  <a:pt x="3205" y="1544"/>
                </a:lnTo>
                <a:lnTo>
                  <a:pt x="3170" y="1521"/>
                </a:lnTo>
                <a:lnTo>
                  <a:pt x="3133" y="1502"/>
                </a:lnTo>
                <a:lnTo>
                  <a:pt x="3094" y="1489"/>
                </a:lnTo>
                <a:lnTo>
                  <a:pt x="3052" y="1480"/>
                </a:lnTo>
                <a:lnTo>
                  <a:pt x="3009" y="1478"/>
                </a:lnTo>
                <a:lnTo>
                  <a:pt x="2965" y="1480"/>
                </a:lnTo>
                <a:lnTo>
                  <a:pt x="2924" y="1489"/>
                </a:lnTo>
                <a:lnTo>
                  <a:pt x="2884" y="1502"/>
                </a:lnTo>
                <a:lnTo>
                  <a:pt x="2847" y="1521"/>
                </a:lnTo>
                <a:lnTo>
                  <a:pt x="2812" y="1544"/>
                </a:lnTo>
                <a:lnTo>
                  <a:pt x="2782" y="1570"/>
                </a:lnTo>
                <a:lnTo>
                  <a:pt x="2753" y="1600"/>
                </a:lnTo>
                <a:lnTo>
                  <a:pt x="2731" y="1634"/>
                </a:lnTo>
                <a:lnTo>
                  <a:pt x="2711" y="1670"/>
                </a:lnTo>
                <a:lnTo>
                  <a:pt x="2546" y="1670"/>
                </a:lnTo>
                <a:lnTo>
                  <a:pt x="2532" y="1668"/>
                </a:lnTo>
                <a:lnTo>
                  <a:pt x="2519" y="1661"/>
                </a:lnTo>
                <a:lnTo>
                  <a:pt x="2509" y="1651"/>
                </a:lnTo>
                <a:lnTo>
                  <a:pt x="2503" y="1639"/>
                </a:lnTo>
                <a:lnTo>
                  <a:pt x="2500" y="1623"/>
                </a:lnTo>
                <a:lnTo>
                  <a:pt x="2500" y="517"/>
                </a:lnTo>
                <a:lnTo>
                  <a:pt x="2503" y="503"/>
                </a:lnTo>
                <a:lnTo>
                  <a:pt x="2509" y="490"/>
                </a:lnTo>
                <a:lnTo>
                  <a:pt x="2519" y="480"/>
                </a:lnTo>
                <a:lnTo>
                  <a:pt x="2532" y="473"/>
                </a:lnTo>
                <a:lnTo>
                  <a:pt x="2546" y="471"/>
                </a:lnTo>
                <a:close/>
                <a:moveTo>
                  <a:pt x="0" y="0"/>
                </a:moveTo>
                <a:lnTo>
                  <a:pt x="2388" y="0"/>
                </a:lnTo>
                <a:lnTo>
                  <a:pt x="2388" y="1319"/>
                </a:lnTo>
                <a:lnTo>
                  <a:pt x="0" y="131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412E5021-591D-426C-96B5-80D73D9C7785}"/>
              </a:ext>
            </a:extLst>
          </p:cNvPr>
          <p:cNvGrpSpPr/>
          <p:nvPr/>
        </p:nvGrpSpPr>
        <p:grpSpPr>
          <a:xfrm>
            <a:off x="4453465" y="3365675"/>
            <a:ext cx="1185954" cy="119502"/>
            <a:chOff x="5578750" y="2376661"/>
            <a:chExt cx="1185954" cy="119502"/>
          </a:xfrm>
        </p:grpSpPr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id="{5A5BEEEF-7C57-426C-9C88-4BF5D759C18B}"/>
                </a:ext>
              </a:extLst>
            </p:cNvPr>
            <p:cNvSpPr/>
            <p:nvPr/>
          </p:nvSpPr>
          <p:spPr>
            <a:xfrm>
              <a:off x="5578750" y="2376661"/>
              <a:ext cx="1111612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21" name="Isosceles Triangle 320">
              <a:extLst>
                <a:ext uri="{FF2B5EF4-FFF2-40B4-BE49-F238E27FC236}">
                  <a16:creationId xmlns:a16="http://schemas.microsoft.com/office/drawing/2014/main" id="{C520438D-0E18-46FA-A0EA-8F53A20BE599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22" name="TextBox 321">
            <a:extLst>
              <a:ext uri="{FF2B5EF4-FFF2-40B4-BE49-F238E27FC236}">
                <a16:creationId xmlns:a16="http://schemas.microsoft.com/office/drawing/2014/main" id="{B711E748-A0F3-4B2F-9DB7-EB242F5C03ED}"/>
              </a:ext>
            </a:extLst>
          </p:cNvPr>
          <p:cNvSpPr txBox="1"/>
          <p:nvPr/>
        </p:nvSpPr>
        <p:spPr>
          <a:xfrm>
            <a:off x="5685554" y="3328674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Small cars</a:t>
            </a:r>
          </a:p>
        </p:txBody>
      </p:sp>
      <p:sp>
        <p:nvSpPr>
          <p:cNvPr id="323" name="Freeform 49">
            <a:extLst>
              <a:ext uri="{FF2B5EF4-FFF2-40B4-BE49-F238E27FC236}">
                <a16:creationId xmlns:a16="http://schemas.microsoft.com/office/drawing/2014/main" id="{E1B13B96-6D78-48CC-B0CB-4DDF62A9203C}"/>
              </a:ext>
            </a:extLst>
          </p:cNvPr>
          <p:cNvSpPr>
            <a:spLocks noEditPoints="1"/>
          </p:cNvSpPr>
          <p:nvPr/>
        </p:nvSpPr>
        <p:spPr bwMode="auto">
          <a:xfrm>
            <a:off x="4914365" y="3276117"/>
            <a:ext cx="367151" cy="179115"/>
          </a:xfrm>
          <a:custGeom>
            <a:avLst/>
            <a:gdLst>
              <a:gd name="T0" fmla="*/ 2688 w 3352"/>
              <a:gd name="T1" fmla="*/ 1497 h 2035"/>
              <a:gd name="T2" fmla="*/ 2671 w 3352"/>
              <a:gd name="T3" fmla="*/ 1712 h 2035"/>
              <a:gd name="T4" fmla="*/ 2855 w 3352"/>
              <a:gd name="T5" fmla="*/ 1822 h 2035"/>
              <a:gd name="T6" fmla="*/ 3038 w 3352"/>
              <a:gd name="T7" fmla="*/ 1712 h 2035"/>
              <a:gd name="T8" fmla="*/ 3021 w 3352"/>
              <a:gd name="T9" fmla="*/ 1497 h 2035"/>
              <a:gd name="T10" fmla="*/ 421 w 3352"/>
              <a:gd name="T11" fmla="*/ 1413 h 2035"/>
              <a:gd name="T12" fmla="*/ 238 w 3352"/>
              <a:gd name="T13" fmla="*/ 1524 h 2035"/>
              <a:gd name="T14" fmla="*/ 255 w 3352"/>
              <a:gd name="T15" fmla="*/ 1739 h 2035"/>
              <a:gd name="T16" fmla="*/ 454 w 3352"/>
              <a:gd name="T17" fmla="*/ 1820 h 2035"/>
              <a:gd name="T18" fmla="*/ 618 w 3352"/>
              <a:gd name="T19" fmla="*/ 1682 h 2035"/>
              <a:gd name="T20" fmla="*/ 568 w 3352"/>
              <a:gd name="T21" fmla="*/ 1473 h 2035"/>
              <a:gd name="T22" fmla="*/ 572 w 3352"/>
              <a:gd name="T23" fmla="*/ 123 h 2035"/>
              <a:gd name="T24" fmla="*/ 427 w 3352"/>
              <a:gd name="T25" fmla="*/ 258 h 2035"/>
              <a:gd name="T26" fmla="*/ 320 w 3352"/>
              <a:gd name="T27" fmla="*/ 485 h 2035"/>
              <a:gd name="T28" fmla="*/ 333 w 3352"/>
              <a:gd name="T29" fmla="*/ 614 h 2035"/>
              <a:gd name="T30" fmla="*/ 463 w 3352"/>
              <a:gd name="T31" fmla="*/ 540 h 2035"/>
              <a:gd name="T32" fmla="*/ 594 w 3352"/>
              <a:gd name="T33" fmla="*/ 316 h 2035"/>
              <a:gd name="T34" fmla="*/ 618 w 3352"/>
              <a:gd name="T35" fmla="*/ 146 h 2035"/>
              <a:gd name="T36" fmla="*/ 1048 w 3352"/>
              <a:gd name="T37" fmla="*/ 109 h 2035"/>
              <a:gd name="T38" fmla="*/ 837 w 3352"/>
              <a:gd name="T39" fmla="*/ 216 h 2035"/>
              <a:gd name="T40" fmla="*/ 764 w 3352"/>
              <a:gd name="T41" fmla="*/ 419 h 2035"/>
              <a:gd name="T42" fmla="*/ 832 w 3352"/>
              <a:gd name="T43" fmla="*/ 592 h 2035"/>
              <a:gd name="T44" fmla="*/ 2496 w 3352"/>
              <a:gd name="T45" fmla="*/ 733 h 2035"/>
              <a:gd name="T46" fmla="*/ 2500 w 3352"/>
              <a:gd name="T47" fmla="*/ 625 h 2035"/>
              <a:gd name="T48" fmla="*/ 2121 w 3352"/>
              <a:gd name="T49" fmla="*/ 349 h 2035"/>
              <a:gd name="T50" fmla="*/ 1732 w 3352"/>
              <a:gd name="T51" fmla="*/ 179 h 2035"/>
              <a:gd name="T52" fmla="*/ 1455 w 3352"/>
              <a:gd name="T53" fmla="*/ 113 h 2035"/>
              <a:gd name="T54" fmla="*/ 1250 w 3352"/>
              <a:gd name="T55" fmla="*/ 0 h 2035"/>
              <a:gd name="T56" fmla="*/ 1814 w 3352"/>
              <a:gd name="T57" fmla="*/ 97 h 2035"/>
              <a:gd name="T58" fmla="*/ 2168 w 3352"/>
              <a:gd name="T59" fmla="*/ 269 h 2035"/>
              <a:gd name="T60" fmla="*/ 2539 w 3352"/>
              <a:gd name="T61" fmla="*/ 502 h 2035"/>
              <a:gd name="T62" fmla="*/ 2919 w 3352"/>
              <a:gd name="T63" fmla="*/ 791 h 2035"/>
              <a:gd name="T64" fmla="*/ 3179 w 3352"/>
              <a:gd name="T65" fmla="*/ 1079 h 2035"/>
              <a:gd name="T66" fmla="*/ 3244 w 3352"/>
              <a:gd name="T67" fmla="*/ 1305 h 2035"/>
              <a:gd name="T68" fmla="*/ 3298 w 3352"/>
              <a:gd name="T69" fmla="*/ 1363 h 2035"/>
              <a:gd name="T70" fmla="*/ 3352 w 3352"/>
              <a:gd name="T71" fmla="*/ 1537 h 2035"/>
              <a:gd name="T72" fmla="*/ 3301 w 3352"/>
              <a:gd name="T73" fmla="*/ 1707 h 2035"/>
              <a:gd name="T74" fmla="*/ 3128 w 3352"/>
              <a:gd name="T75" fmla="*/ 1936 h 2035"/>
              <a:gd name="T76" fmla="*/ 2804 w 3352"/>
              <a:gd name="T77" fmla="*/ 2032 h 2035"/>
              <a:gd name="T78" fmla="*/ 2519 w 3352"/>
              <a:gd name="T79" fmla="*/ 1870 h 2035"/>
              <a:gd name="T80" fmla="*/ 2239 w 3352"/>
              <a:gd name="T81" fmla="*/ 1743 h 2035"/>
              <a:gd name="T82" fmla="*/ 1760 w 3352"/>
              <a:gd name="T83" fmla="*/ 1742 h 2035"/>
              <a:gd name="T84" fmla="*/ 1269 w 3352"/>
              <a:gd name="T85" fmla="*/ 1742 h 2035"/>
              <a:gd name="T86" fmla="*/ 914 w 3352"/>
              <a:gd name="T87" fmla="*/ 1741 h 2035"/>
              <a:gd name="T88" fmla="*/ 787 w 3352"/>
              <a:gd name="T89" fmla="*/ 1824 h 2035"/>
              <a:gd name="T90" fmla="*/ 523 w 3352"/>
              <a:gd name="T91" fmla="*/ 2023 h 2035"/>
              <a:gd name="T92" fmla="*/ 181 w 3352"/>
              <a:gd name="T93" fmla="*/ 1960 h 2035"/>
              <a:gd name="T94" fmla="*/ 3 w 3352"/>
              <a:gd name="T95" fmla="*/ 1671 h 2035"/>
              <a:gd name="T96" fmla="*/ 25 w 3352"/>
              <a:gd name="T97" fmla="*/ 1424 h 2035"/>
              <a:gd name="T98" fmla="*/ 44 w 3352"/>
              <a:gd name="T99" fmla="*/ 1277 h 2035"/>
              <a:gd name="T100" fmla="*/ 108 w 3352"/>
              <a:gd name="T101" fmla="*/ 1080 h 2035"/>
              <a:gd name="T102" fmla="*/ 170 w 3352"/>
              <a:gd name="T103" fmla="*/ 768 h 2035"/>
              <a:gd name="T104" fmla="*/ 282 w 3352"/>
              <a:gd name="T105" fmla="*/ 367 h 2035"/>
              <a:gd name="T106" fmla="*/ 457 w 3352"/>
              <a:gd name="T107" fmla="*/ 125 h 2035"/>
              <a:gd name="T108" fmla="*/ 604 w 3352"/>
              <a:gd name="T109" fmla="*/ 44 h 2035"/>
              <a:gd name="T110" fmla="*/ 937 w 3352"/>
              <a:gd name="T111" fmla="*/ 9 h 2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52" h="2035">
                <a:moveTo>
                  <a:pt x="2855" y="1413"/>
                </a:moveTo>
                <a:lnTo>
                  <a:pt x="2822" y="1417"/>
                </a:lnTo>
                <a:lnTo>
                  <a:pt x="2789" y="1424"/>
                </a:lnTo>
                <a:lnTo>
                  <a:pt x="2760" y="1436"/>
                </a:lnTo>
                <a:lnTo>
                  <a:pt x="2733" y="1453"/>
                </a:lnTo>
                <a:lnTo>
                  <a:pt x="2708" y="1473"/>
                </a:lnTo>
                <a:lnTo>
                  <a:pt x="2688" y="1497"/>
                </a:lnTo>
                <a:lnTo>
                  <a:pt x="2671" y="1524"/>
                </a:lnTo>
                <a:lnTo>
                  <a:pt x="2658" y="1554"/>
                </a:lnTo>
                <a:lnTo>
                  <a:pt x="2651" y="1584"/>
                </a:lnTo>
                <a:lnTo>
                  <a:pt x="2648" y="1618"/>
                </a:lnTo>
                <a:lnTo>
                  <a:pt x="2651" y="1651"/>
                </a:lnTo>
                <a:lnTo>
                  <a:pt x="2658" y="1682"/>
                </a:lnTo>
                <a:lnTo>
                  <a:pt x="2671" y="1712"/>
                </a:lnTo>
                <a:lnTo>
                  <a:pt x="2688" y="1739"/>
                </a:lnTo>
                <a:lnTo>
                  <a:pt x="2708" y="1763"/>
                </a:lnTo>
                <a:lnTo>
                  <a:pt x="2733" y="1783"/>
                </a:lnTo>
                <a:lnTo>
                  <a:pt x="2760" y="1800"/>
                </a:lnTo>
                <a:lnTo>
                  <a:pt x="2789" y="1812"/>
                </a:lnTo>
                <a:lnTo>
                  <a:pt x="2822" y="1820"/>
                </a:lnTo>
                <a:lnTo>
                  <a:pt x="2855" y="1822"/>
                </a:lnTo>
                <a:lnTo>
                  <a:pt x="2888" y="1820"/>
                </a:lnTo>
                <a:lnTo>
                  <a:pt x="2919" y="1812"/>
                </a:lnTo>
                <a:lnTo>
                  <a:pt x="2949" y="1800"/>
                </a:lnTo>
                <a:lnTo>
                  <a:pt x="2976" y="1783"/>
                </a:lnTo>
                <a:lnTo>
                  <a:pt x="3000" y="1763"/>
                </a:lnTo>
                <a:lnTo>
                  <a:pt x="3021" y="1739"/>
                </a:lnTo>
                <a:lnTo>
                  <a:pt x="3038" y="1712"/>
                </a:lnTo>
                <a:lnTo>
                  <a:pt x="3050" y="1682"/>
                </a:lnTo>
                <a:lnTo>
                  <a:pt x="3059" y="1651"/>
                </a:lnTo>
                <a:lnTo>
                  <a:pt x="3061" y="1618"/>
                </a:lnTo>
                <a:lnTo>
                  <a:pt x="3059" y="1584"/>
                </a:lnTo>
                <a:lnTo>
                  <a:pt x="3050" y="1554"/>
                </a:lnTo>
                <a:lnTo>
                  <a:pt x="3038" y="1524"/>
                </a:lnTo>
                <a:lnTo>
                  <a:pt x="3021" y="1497"/>
                </a:lnTo>
                <a:lnTo>
                  <a:pt x="3000" y="1473"/>
                </a:lnTo>
                <a:lnTo>
                  <a:pt x="2976" y="1453"/>
                </a:lnTo>
                <a:lnTo>
                  <a:pt x="2949" y="1436"/>
                </a:lnTo>
                <a:lnTo>
                  <a:pt x="2919" y="1424"/>
                </a:lnTo>
                <a:lnTo>
                  <a:pt x="2888" y="1417"/>
                </a:lnTo>
                <a:lnTo>
                  <a:pt x="2855" y="1413"/>
                </a:lnTo>
                <a:close/>
                <a:moveTo>
                  <a:pt x="421" y="1413"/>
                </a:moveTo>
                <a:lnTo>
                  <a:pt x="388" y="1417"/>
                </a:lnTo>
                <a:lnTo>
                  <a:pt x="357" y="1424"/>
                </a:lnTo>
                <a:lnTo>
                  <a:pt x="327" y="1436"/>
                </a:lnTo>
                <a:lnTo>
                  <a:pt x="300" y="1453"/>
                </a:lnTo>
                <a:lnTo>
                  <a:pt x="276" y="1473"/>
                </a:lnTo>
                <a:lnTo>
                  <a:pt x="255" y="1497"/>
                </a:lnTo>
                <a:lnTo>
                  <a:pt x="238" y="1524"/>
                </a:lnTo>
                <a:lnTo>
                  <a:pt x="226" y="1554"/>
                </a:lnTo>
                <a:lnTo>
                  <a:pt x="217" y="1584"/>
                </a:lnTo>
                <a:lnTo>
                  <a:pt x="215" y="1618"/>
                </a:lnTo>
                <a:lnTo>
                  <a:pt x="217" y="1651"/>
                </a:lnTo>
                <a:lnTo>
                  <a:pt x="226" y="1682"/>
                </a:lnTo>
                <a:lnTo>
                  <a:pt x="238" y="1712"/>
                </a:lnTo>
                <a:lnTo>
                  <a:pt x="255" y="1739"/>
                </a:lnTo>
                <a:lnTo>
                  <a:pt x="276" y="1763"/>
                </a:lnTo>
                <a:lnTo>
                  <a:pt x="300" y="1783"/>
                </a:lnTo>
                <a:lnTo>
                  <a:pt x="327" y="1800"/>
                </a:lnTo>
                <a:lnTo>
                  <a:pt x="357" y="1812"/>
                </a:lnTo>
                <a:lnTo>
                  <a:pt x="388" y="1820"/>
                </a:lnTo>
                <a:lnTo>
                  <a:pt x="421" y="1822"/>
                </a:lnTo>
                <a:lnTo>
                  <a:pt x="454" y="1820"/>
                </a:lnTo>
                <a:lnTo>
                  <a:pt x="487" y="1812"/>
                </a:lnTo>
                <a:lnTo>
                  <a:pt x="517" y="1800"/>
                </a:lnTo>
                <a:lnTo>
                  <a:pt x="544" y="1783"/>
                </a:lnTo>
                <a:lnTo>
                  <a:pt x="568" y="1763"/>
                </a:lnTo>
                <a:lnTo>
                  <a:pt x="589" y="1739"/>
                </a:lnTo>
                <a:lnTo>
                  <a:pt x="605" y="1712"/>
                </a:lnTo>
                <a:lnTo>
                  <a:pt x="618" y="1682"/>
                </a:lnTo>
                <a:lnTo>
                  <a:pt x="625" y="1651"/>
                </a:lnTo>
                <a:lnTo>
                  <a:pt x="628" y="1618"/>
                </a:lnTo>
                <a:lnTo>
                  <a:pt x="625" y="1584"/>
                </a:lnTo>
                <a:lnTo>
                  <a:pt x="618" y="1554"/>
                </a:lnTo>
                <a:lnTo>
                  <a:pt x="605" y="1524"/>
                </a:lnTo>
                <a:lnTo>
                  <a:pt x="589" y="1497"/>
                </a:lnTo>
                <a:lnTo>
                  <a:pt x="568" y="1473"/>
                </a:lnTo>
                <a:lnTo>
                  <a:pt x="544" y="1453"/>
                </a:lnTo>
                <a:lnTo>
                  <a:pt x="517" y="1436"/>
                </a:lnTo>
                <a:lnTo>
                  <a:pt x="487" y="1424"/>
                </a:lnTo>
                <a:lnTo>
                  <a:pt x="454" y="1417"/>
                </a:lnTo>
                <a:lnTo>
                  <a:pt x="421" y="1413"/>
                </a:lnTo>
                <a:close/>
                <a:moveTo>
                  <a:pt x="588" y="122"/>
                </a:moveTo>
                <a:lnTo>
                  <a:pt x="572" y="123"/>
                </a:lnTo>
                <a:lnTo>
                  <a:pt x="554" y="130"/>
                </a:lnTo>
                <a:lnTo>
                  <a:pt x="535" y="142"/>
                </a:lnTo>
                <a:lnTo>
                  <a:pt x="515" y="157"/>
                </a:lnTo>
                <a:lnTo>
                  <a:pt x="493" y="177"/>
                </a:lnTo>
                <a:lnTo>
                  <a:pt x="472" y="200"/>
                </a:lnTo>
                <a:lnTo>
                  <a:pt x="449" y="227"/>
                </a:lnTo>
                <a:lnTo>
                  <a:pt x="427" y="258"/>
                </a:lnTo>
                <a:lnTo>
                  <a:pt x="407" y="291"/>
                </a:lnTo>
                <a:lnTo>
                  <a:pt x="386" y="326"/>
                </a:lnTo>
                <a:lnTo>
                  <a:pt x="368" y="360"/>
                </a:lnTo>
                <a:lnTo>
                  <a:pt x="353" y="393"/>
                </a:lnTo>
                <a:lnTo>
                  <a:pt x="340" y="425"/>
                </a:lnTo>
                <a:lnTo>
                  <a:pt x="330" y="456"/>
                </a:lnTo>
                <a:lnTo>
                  <a:pt x="320" y="485"/>
                </a:lnTo>
                <a:lnTo>
                  <a:pt x="315" y="511"/>
                </a:lnTo>
                <a:lnTo>
                  <a:pt x="311" y="537"/>
                </a:lnTo>
                <a:lnTo>
                  <a:pt x="310" y="559"/>
                </a:lnTo>
                <a:lnTo>
                  <a:pt x="312" y="578"/>
                </a:lnTo>
                <a:lnTo>
                  <a:pt x="316" y="594"/>
                </a:lnTo>
                <a:lnTo>
                  <a:pt x="323" y="606"/>
                </a:lnTo>
                <a:lnTo>
                  <a:pt x="333" y="614"/>
                </a:lnTo>
                <a:lnTo>
                  <a:pt x="346" y="618"/>
                </a:lnTo>
                <a:lnTo>
                  <a:pt x="362" y="616"/>
                </a:lnTo>
                <a:lnTo>
                  <a:pt x="380" y="610"/>
                </a:lnTo>
                <a:lnTo>
                  <a:pt x="399" y="599"/>
                </a:lnTo>
                <a:lnTo>
                  <a:pt x="419" y="583"/>
                </a:lnTo>
                <a:lnTo>
                  <a:pt x="441" y="563"/>
                </a:lnTo>
                <a:lnTo>
                  <a:pt x="463" y="540"/>
                </a:lnTo>
                <a:lnTo>
                  <a:pt x="485" y="512"/>
                </a:lnTo>
                <a:lnTo>
                  <a:pt x="506" y="483"/>
                </a:lnTo>
                <a:lnTo>
                  <a:pt x="527" y="450"/>
                </a:lnTo>
                <a:lnTo>
                  <a:pt x="548" y="414"/>
                </a:lnTo>
                <a:lnTo>
                  <a:pt x="566" y="381"/>
                </a:lnTo>
                <a:lnTo>
                  <a:pt x="581" y="348"/>
                </a:lnTo>
                <a:lnTo>
                  <a:pt x="594" y="316"/>
                </a:lnTo>
                <a:lnTo>
                  <a:pt x="604" y="285"/>
                </a:lnTo>
                <a:lnTo>
                  <a:pt x="613" y="255"/>
                </a:lnTo>
                <a:lnTo>
                  <a:pt x="619" y="228"/>
                </a:lnTo>
                <a:lnTo>
                  <a:pt x="623" y="203"/>
                </a:lnTo>
                <a:lnTo>
                  <a:pt x="624" y="181"/>
                </a:lnTo>
                <a:lnTo>
                  <a:pt x="622" y="162"/>
                </a:lnTo>
                <a:lnTo>
                  <a:pt x="618" y="146"/>
                </a:lnTo>
                <a:lnTo>
                  <a:pt x="610" y="134"/>
                </a:lnTo>
                <a:lnTo>
                  <a:pt x="601" y="126"/>
                </a:lnTo>
                <a:lnTo>
                  <a:pt x="588" y="122"/>
                </a:lnTo>
                <a:close/>
                <a:moveTo>
                  <a:pt x="1212" y="99"/>
                </a:moveTo>
                <a:lnTo>
                  <a:pt x="1156" y="99"/>
                </a:lnTo>
                <a:lnTo>
                  <a:pt x="1101" y="103"/>
                </a:lnTo>
                <a:lnTo>
                  <a:pt x="1048" y="109"/>
                </a:lnTo>
                <a:lnTo>
                  <a:pt x="998" y="116"/>
                </a:lnTo>
                <a:lnTo>
                  <a:pt x="953" y="127"/>
                </a:lnTo>
                <a:lnTo>
                  <a:pt x="925" y="138"/>
                </a:lnTo>
                <a:lnTo>
                  <a:pt x="899" y="153"/>
                </a:lnTo>
                <a:lnTo>
                  <a:pt x="876" y="171"/>
                </a:lnTo>
                <a:lnTo>
                  <a:pt x="855" y="192"/>
                </a:lnTo>
                <a:lnTo>
                  <a:pt x="837" y="216"/>
                </a:lnTo>
                <a:lnTo>
                  <a:pt x="821" y="242"/>
                </a:lnTo>
                <a:lnTo>
                  <a:pt x="807" y="269"/>
                </a:lnTo>
                <a:lnTo>
                  <a:pt x="796" y="298"/>
                </a:lnTo>
                <a:lnTo>
                  <a:pt x="785" y="328"/>
                </a:lnTo>
                <a:lnTo>
                  <a:pt x="777" y="358"/>
                </a:lnTo>
                <a:lnTo>
                  <a:pt x="771" y="389"/>
                </a:lnTo>
                <a:lnTo>
                  <a:pt x="764" y="419"/>
                </a:lnTo>
                <a:lnTo>
                  <a:pt x="760" y="448"/>
                </a:lnTo>
                <a:lnTo>
                  <a:pt x="760" y="476"/>
                </a:lnTo>
                <a:lnTo>
                  <a:pt x="764" y="504"/>
                </a:lnTo>
                <a:lnTo>
                  <a:pt x="775" y="530"/>
                </a:lnTo>
                <a:lnTo>
                  <a:pt x="790" y="554"/>
                </a:lnTo>
                <a:lnTo>
                  <a:pt x="809" y="574"/>
                </a:lnTo>
                <a:lnTo>
                  <a:pt x="832" y="592"/>
                </a:lnTo>
                <a:lnTo>
                  <a:pt x="857" y="605"/>
                </a:lnTo>
                <a:lnTo>
                  <a:pt x="884" y="615"/>
                </a:lnTo>
                <a:lnTo>
                  <a:pt x="913" y="621"/>
                </a:lnTo>
                <a:lnTo>
                  <a:pt x="2432" y="742"/>
                </a:lnTo>
                <a:lnTo>
                  <a:pt x="2456" y="742"/>
                </a:lnTo>
                <a:lnTo>
                  <a:pt x="2477" y="739"/>
                </a:lnTo>
                <a:lnTo>
                  <a:pt x="2496" y="733"/>
                </a:lnTo>
                <a:lnTo>
                  <a:pt x="2511" y="722"/>
                </a:lnTo>
                <a:lnTo>
                  <a:pt x="2521" y="710"/>
                </a:lnTo>
                <a:lnTo>
                  <a:pt x="2527" y="697"/>
                </a:lnTo>
                <a:lnTo>
                  <a:pt x="2528" y="680"/>
                </a:lnTo>
                <a:lnTo>
                  <a:pt x="2524" y="663"/>
                </a:lnTo>
                <a:lnTo>
                  <a:pt x="2515" y="644"/>
                </a:lnTo>
                <a:lnTo>
                  <a:pt x="2500" y="625"/>
                </a:lnTo>
                <a:lnTo>
                  <a:pt x="2455" y="579"/>
                </a:lnTo>
                <a:lnTo>
                  <a:pt x="2407" y="536"/>
                </a:lnTo>
                <a:lnTo>
                  <a:pt x="2354" y="495"/>
                </a:lnTo>
                <a:lnTo>
                  <a:pt x="2298" y="455"/>
                </a:lnTo>
                <a:lnTo>
                  <a:pt x="2240" y="418"/>
                </a:lnTo>
                <a:lnTo>
                  <a:pt x="2181" y="383"/>
                </a:lnTo>
                <a:lnTo>
                  <a:pt x="2121" y="349"/>
                </a:lnTo>
                <a:lnTo>
                  <a:pt x="2059" y="318"/>
                </a:lnTo>
                <a:lnTo>
                  <a:pt x="1999" y="289"/>
                </a:lnTo>
                <a:lnTo>
                  <a:pt x="1941" y="262"/>
                </a:lnTo>
                <a:lnTo>
                  <a:pt x="1883" y="237"/>
                </a:lnTo>
                <a:lnTo>
                  <a:pt x="1829" y="216"/>
                </a:lnTo>
                <a:lnTo>
                  <a:pt x="1778" y="195"/>
                </a:lnTo>
                <a:lnTo>
                  <a:pt x="1732" y="179"/>
                </a:lnTo>
                <a:lnTo>
                  <a:pt x="1698" y="167"/>
                </a:lnTo>
                <a:lnTo>
                  <a:pt x="1660" y="156"/>
                </a:lnTo>
                <a:lnTo>
                  <a:pt x="1619" y="145"/>
                </a:lnTo>
                <a:lnTo>
                  <a:pt x="1578" y="136"/>
                </a:lnTo>
                <a:lnTo>
                  <a:pt x="1535" y="126"/>
                </a:lnTo>
                <a:lnTo>
                  <a:pt x="1494" y="118"/>
                </a:lnTo>
                <a:lnTo>
                  <a:pt x="1455" y="113"/>
                </a:lnTo>
                <a:lnTo>
                  <a:pt x="1420" y="109"/>
                </a:lnTo>
                <a:lnTo>
                  <a:pt x="1372" y="105"/>
                </a:lnTo>
                <a:lnTo>
                  <a:pt x="1320" y="102"/>
                </a:lnTo>
                <a:lnTo>
                  <a:pt x="1267" y="99"/>
                </a:lnTo>
                <a:lnTo>
                  <a:pt x="1212" y="99"/>
                </a:lnTo>
                <a:close/>
                <a:moveTo>
                  <a:pt x="1172" y="0"/>
                </a:moveTo>
                <a:lnTo>
                  <a:pt x="1250" y="0"/>
                </a:lnTo>
                <a:lnTo>
                  <a:pt x="1329" y="3"/>
                </a:lnTo>
                <a:lnTo>
                  <a:pt x="1408" y="8"/>
                </a:lnTo>
                <a:lnTo>
                  <a:pt x="1487" y="17"/>
                </a:lnTo>
                <a:lnTo>
                  <a:pt x="1567" y="30"/>
                </a:lnTo>
                <a:lnTo>
                  <a:pt x="1648" y="48"/>
                </a:lnTo>
                <a:lnTo>
                  <a:pt x="1731" y="70"/>
                </a:lnTo>
                <a:lnTo>
                  <a:pt x="1814" y="97"/>
                </a:lnTo>
                <a:lnTo>
                  <a:pt x="1898" y="130"/>
                </a:lnTo>
                <a:lnTo>
                  <a:pt x="1983" y="169"/>
                </a:lnTo>
                <a:lnTo>
                  <a:pt x="2012" y="184"/>
                </a:lnTo>
                <a:lnTo>
                  <a:pt x="2046" y="201"/>
                </a:lnTo>
                <a:lnTo>
                  <a:pt x="2083" y="222"/>
                </a:lnTo>
                <a:lnTo>
                  <a:pt x="2125" y="245"/>
                </a:lnTo>
                <a:lnTo>
                  <a:pt x="2168" y="269"/>
                </a:lnTo>
                <a:lnTo>
                  <a:pt x="2216" y="297"/>
                </a:lnTo>
                <a:lnTo>
                  <a:pt x="2266" y="327"/>
                </a:lnTo>
                <a:lnTo>
                  <a:pt x="2318" y="359"/>
                </a:lnTo>
                <a:lnTo>
                  <a:pt x="2371" y="393"/>
                </a:lnTo>
                <a:lnTo>
                  <a:pt x="2426" y="428"/>
                </a:lnTo>
                <a:lnTo>
                  <a:pt x="2482" y="465"/>
                </a:lnTo>
                <a:lnTo>
                  <a:pt x="2539" y="502"/>
                </a:lnTo>
                <a:lnTo>
                  <a:pt x="2596" y="541"/>
                </a:lnTo>
                <a:lnTo>
                  <a:pt x="2652" y="581"/>
                </a:lnTo>
                <a:lnTo>
                  <a:pt x="2708" y="623"/>
                </a:lnTo>
                <a:lnTo>
                  <a:pt x="2763" y="664"/>
                </a:lnTo>
                <a:lnTo>
                  <a:pt x="2817" y="706"/>
                </a:lnTo>
                <a:lnTo>
                  <a:pt x="2869" y="748"/>
                </a:lnTo>
                <a:lnTo>
                  <a:pt x="2919" y="791"/>
                </a:lnTo>
                <a:lnTo>
                  <a:pt x="2967" y="834"/>
                </a:lnTo>
                <a:lnTo>
                  <a:pt x="3012" y="876"/>
                </a:lnTo>
                <a:lnTo>
                  <a:pt x="3052" y="918"/>
                </a:lnTo>
                <a:lnTo>
                  <a:pt x="3091" y="959"/>
                </a:lnTo>
                <a:lnTo>
                  <a:pt x="3124" y="1001"/>
                </a:lnTo>
                <a:lnTo>
                  <a:pt x="3154" y="1040"/>
                </a:lnTo>
                <a:lnTo>
                  <a:pt x="3179" y="1079"/>
                </a:lnTo>
                <a:lnTo>
                  <a:pt x="3199" y="1117"/>
                </a:lnTo>
                <a:lnTo>
                  <a:pt x="3213" y="1153"/>
                </a:lnTo>
                <a:lnTo>
                  <a:pt x="3221" y="1188"/>
                </a:lnTo>
                <a:lnTo>
                  <a:pt x="3226" y="1219"/>
                </a:lnTo>
                <a:lnTo>
                  <a:pt x="3231" y="1251"/>
                </a:lnTo>
                <a:lnTo>
                  <a:pt x="3238" y="1281"/>
                </a:lnTo>
                <a:lnTo>
                  <a:pt x="3244" y="1305"/>
                </a:lnTo>
                <a:lnTo>
                  <a:pt x="3247" y="1310"/>
                </a:lnTo>
                <a:lnTo>
                  <a:pt x="3253" y="1318"/>
                </a:lnTo>
                <a:lnTo>
                  <a:pt x="3262" y="1326"/>
                </a:lnTo>
                <a:lnTo>
                  <a:pt x="3272" y="1334"/>
                </a:lnTo>
                <a:lnTo>
                  <a:pt x="3279" y="1340"/>
                </a:lnTo>
                <a:lnTo>
                  <a:pt x="3285" y="1347"/>
                </a:lnTo>
                <a:lnTo>
                  <a:pt x="3298" y="1363"/>
                </a:lnTo>
                <a:lnTo>
                  <a:pt x="3310" y="1383"/>
                </a:lnTo>
                <a:lnTo>
                  <a:pt x="3321" y="1404"/>
                </a:lnTo>
                <a:lnTo>
                  <a:pt x="3331" y="1429"/>
                </a:lnTo>
                <a:lnTo>
                  <a:pt x="3338" y="1455"/>
                </a:lnTo>
                <a:lnTo>
                  <a:pt x="3345" y="1481"/>
                </a:lnTo>
                <a:lnTo>
                  <a:pt x="3350" y="1508"/>
                </a:lnTo>
                <a:lnTo>
                  <a:pt x="3352" y="1537"/>
                </a:lnTo>
                <a:lnTo>
                  <a:pt x="3352" y="1565"/>
                </a:lnTo>
                <a:lnTo>
                  <a:pt x="3350" y="1592"/>
                </a:lnTo>
                <a:lnTo>
                  <a:pt x="3346" y="1618"/>
                </a:lnTo>
                <a:lnTo>
                  <a:pt x="3338" y="1643"/>
                </a:lnTo>
                <a:lnTo>
                  <a:pt x="3329" y="1667"/>
                </a:lnTo>
                <a:lnTo>
                  <a:pt x="3317" y="1688"/>
                </a:lnTo>
                <a:lnTo>
                  <a:pt x="3301" y="1707"/>
                </a:lnTo>
                <a:lnTo>
                  <a:pt x="3281" y="1722"/>
                </a:lnTo>
                <a:lnTo>
                  <a:pt x="3259" y="1735"/>
                </a:lnTo>
                <a:lnTo>
                  <a:pt x="3243" y="1781"/>
                </a:lnTo>
                <a:lnTo>
                  <a:pt x="3221" y="1824"/>
                </a:lnTo>
                <a:lnTo>
                  <a:pt x="3194" y="1865"/>
                </a:lnTo>
                <a:lnTo>
                  <a:pt x="3164" y="1902"/>
                </a:lnTo>
                <a:lnTo>
                  <a:pt x="3128" y="1936"/>
                </a:lnTo>
                <a:lnTo>
                  <a:pt x="3090" y="1964"/>
                </a:lnTo>
                <a:lnTo>
                  <a:pt x="3048" y="1989"/>
                </a:lnTo>
                <a:lnTo>
                  <a:pt x="3004" y="2009"/>
                </a:lnTo>
                <a:lnTo>
                  <a:pt x="2956" y="2023"/>
                </a:lnTo>
                <a:lnTo>
                  <a:pt x="2906" y="2032"/>
                </a:lnTo>
                <a:lnTo>
                  <a:pt x="2855" y="2035"/>
                </a:lnTo>
                <a:lnTo>
                  <a:pt x="2804" y="2032"/>
                </a:lnTo>
                <a:lnTo>
                  <a:pt x="2755" y="2023"/>
                </a:lnTo>
                <a:lnTo>
                  <a:pt x="2708" y="2010"/>
                </a:lnTo>
                <a:lnTo>
                  <a:pt x="2664" y="1990"/>
                </a:lnTo>
                <a:lnTo>
                  <a:pt x="2623" y="1966"/>
                </a:lnTo>
                <a:lnTo>
                  <a:pt x="2584" y="1938"/>
                </a:lnTo>
                <a:lnTo>
                  <a:pt x="2550" y="1906"/>
                </a:lnTo>
                <a:lnTo>
                  <a:pt x="2519" y="1870"/>
                </a:lnTo>
                <a:lnTo>
                  <a:pt x="2493" y="1831"/>
                </a:lnTo>
                <a:lnTo>
                  <a:pt x="2471" y="1787"/>
                </a:lnTo>
                <a:lnTo>
                  <a:pt x="2453" y="1743"/>
                </a:lnTo>
                <a:lnTo>
                  <a:pt x="2407" y="1743"/>
                </a:lnTo>
                <a:lnTo>
                  <a:pt x="2355" y="1743"/>
                </a:lnTo>
                <a:lnTo>
                  <a:pt x="2298" y="1743"/>
                </a:lnTo>
                <a:lnTo>
                  <a:pt x="2239" y="1743"/>
                </a:lnTo>
                <a:lnTo>
                  <a:pt x="2177" y="1743"/>
                </a:lnTo>
                <a:lnTo>
                  <a:pt x="2112" y="1743"/>
                </a:lnTo>
                <a:lnTo>
                  <a:pt x="2045" y="1742"/>
                </a:lnTo>
                <a:lnTo>
                  <a:pt x="1975" y="1742"/>
                </a:lnTo>
                <a:lnTo>
                  <a:pt x="1904" y="1742"/>
                </a:lnTo>
                <a:lnTo>
                  <a:pt x="1831" y="1742"/>
                </a:lnTo>
                <a:lnTo>
                  <a:pt x="1760" y="1742"/>
                </a:lnTo>
                <a:lnTo>
                  <a:pt x="1687" y="1742"/>
                </a:lnTo>
                <a:lnTo>
                  <a:pt x="1614" y="1742"/>
                </a:lnTo>
                <a:lnTo>
                  <a:pt x="1542" y="1742"/>
                </a:lnTo>
                <a:lnTo>
                  <a:pt x="1471" y="1742"/>
                </a:lnTo>
                <a:lnTo>
                  <a:pt x="1402" y="1742"/>
                </a:lnTo>
                <a:lnTo>
                  <a:pt x="1334" y="1742"/>
                </a:lnTo>
                <a:lnTo>
                  <a:pt x="1269" y="1742"/>
                </a:lnTo>
                <a:lnTo>
                  <a:pt x="1206" y="1742"/>
                </a:lnTo>
                <a:lnTo>
                  <a:pt x="1147" y="1742"/>
                </a:lnTo>
                <a:lnTo>
                  <a:pt x="1092" y="1742"/>
                </a:lnTo>
                <a:lnTo>
                  <a:pt x="1040" y="1742"/>
                </a:lnTo>
                <a:lnTo>
                  <a:pt x="993" y="1742"/>
                </a:lnTo>
                <a:lnTo>
                  <a:pt x="951" y="1741"/>
                </a:lnTo>
                <a:lnTo>
                  <a:pt x="914" y="1741"/>
                </a:lnTo>
                <a:lnTo>
                  <a:pt x="883" y="1741"/>
                </a:lnTo>
                <a:lnTo>
                  <a:pt x="858" y="1741"/>
                </a:lnTo>
                <a:lnTo>
                  <a:pt x="840" y="1741"/>
                </a:lnTo>
                <a:lnTo>
                  <a:pt x="829" y="1741"/>
                </a:lnTo>
                <a:lnTo>
                  <a:pt x="825" y="1741"/>
                </a:lnTo>
                <a:lnTo>
                  <a:pt x="809" y="1784"/>
                </a:lnTo>
                <a:lnTo>
                  <a:pt x="787" y="1824"/>
                </a:lnTo>
                <a:lnTo>
                  <a:pt x="761" y="1863"/>
                </a:lnTo>
                <a:lnTo>
                  <a:pt x="731" y="1900"/>
                </a:lnTo>
                <a:lnTo>
                  <a:pt x="696" y="1932"/>
                </a:lnTo>
                <a:lnTo>
                  <a:pt x="657" y="1962"/>
                </a:lnTo>
                <a:lnTo>
                  <a:pt x="616" y="1987"/>
                </a:lnTo>
                <a:lnTo>
                  <a:pt x="571" y="2008"/>
                </a:lnTo>
                <a:lnTo>
                  <a:pt x="523" y="2023"/>
                </a:lnTo>
                <a:lnTo>
                  <a:pt x="473" y="2032"/>
                </a:lnTo>
                <a:lnTo>
                  <a:pt x="421" y="2035"/>
                </a:lnTo>
                <a:lnTo>
                  <a:pt x="368" y="2032"/>
                </a:lnTo>
                <a:lnTo>
                  <a:pt x="317" y="2023"/>
                </a:lnTo>
                <a:lnTo>
                  <a:pt x="269" y="2008"/>
                </a:lnTo>
                <a:lnTo>
                  <a:pt x="224" y="1986"/>
                </a:lnTo>
                <a:lnTo>
                  <a:pt x="181" y="1960"/>
                </a:lnTo>
                <a:lnTo>
                  <a:pt x="141" y="1930"/>
                </a:lnTo>
                <a:lnTo>
                  <a:pt x="106" y="1895"/>
                </a:lnTo>
                <a:lnTo>
                  <a:pt x="76" y="1856"/>
                </a:lnTo>
                <a:lnTo>
                  <a:pt x="49" y="1814"/>
                </a:lnTo>
                <a:lnTo>
                  <a:pt x="28" y="1769"/>
                </a:lnTo>
                <a:lnTo>
                  <a:pt x="12" y="1720"/>
                </a:lnTo>
                <a:lnTo>
                  <a:pt x="3" y="1671"/>
                </a:lnTo>
                <a:lnTo>
                  <a:pt x="0" y="1618"/>
                </a:lnTo>
                <a:lnTo>
                  <a:pt x="2" y="1573"/>
                </a:lnTo>
                <a:lnTo>
                  <a:pt x="9" y="1530"/>
                </a:lnTo>
                <a:lnTo>
                  <a:pt x="21" y="1488"/>
                </a:lnTo>
                <a:lnTo>
                  <a:pt x="37" y="1447"/>
                </a:lnTo>
                <a:lnTo>
                  <a:pt x="29" y="1437"/>
                </a:lnTo>
                <a:lnTo>
                  <a:pt x="25" y="1424"/>
                </a:lnTo>
                <a:lnTo>
                  <a:pt x="23" y="1406"/>
                </a:lnTo>
                <a:lnTo>
                  <a:pt x="23" y="1387"/>
                </a:lnTo>
                <a:lnTo>
                  <a:pt x="25" y="1366"/>
                </a:lnTo>
                <a:lnTo>
                  <a:pt x="28" y="1343"/>
                </a:lnTo>
                <a:lnTo>
                  <a:pt x="32" y="1321"/>
                </a:lnTo>
                <a:lnTo>
                  <a:pt x="37" y="1298"/>
                </a:lnTo>
                <a:lnTo>
                  <a:pt x="44" y="1277"/>
                </a:lnTo>
                <a:lnTo>
                  <a:pt x="49" y="1257"/>
                </a:lnTo>
                <a:lnTo>
                  <a:pt x="53" y="1239"/>
                </a:lnTo>
                <a:lnTo>
                  <a:pt x="57" y="1226"/>
                </a:lnTo>
                <a:lnTo>
                  <a:pt x="59" y="1216"/>
                </a:lnTo>
                <a:lnTo>
                  <a:pt x="73" y="1169"/>
                </a:lnTo>
                <a:lnTo>
                  <a:pt x="89" y="1124"/>
                </a:lnTo>
                <a:lnTo>
                  <a:pt x="108" y="1080"/>
                </a:lnTo>
                <a:lnTo>
                  <a:pt x="126" y="1036"/>
                </a:lnTo>
                <a:lnTo>
                  <a:pt x="141" y="990"/>
                </a:lnTo>
                <a:lnTo>
                  <a:pt x="153" y="946"/>
                </a:lnTo>
                <a:lnTo>
                  <a:pt x="159" y="902"/>
                </a:lnTo>
                <a:lnTo>
                  <a:pt x="163" y="857"/>
                </a:lnTo>
                <a:lnTo>
                  <a:pt x="166" y="812"/>
                </a:lnTo>
                <a:lnTo>
                  <a:pt x="170" y="768"/>
                </a:lnTo>
                <a:lnTo>
                  <a:pt x="176" y="724"/>
                </a:lnTo>
                <a:lnTo>
                  <a:pt x="187" y="665"/>
                </a:lnTo>
                <a:lnTo>
                  <a:pt x="203" y="608"/>
                </a:lnTo>
                <a:lnTo>
                  <a:pt x="220" y="540"/>
                </a:lnTo>
                <a:lnTo>
                  <a:pt x="239" y="476"/>
                </a:lnTo>
                <a:lnTo>
                  <a:pt x="260" y="420"/>
                </a:lnTo>
                <a:lnTo>
                  <a:pt x="282" y="367"/>
                </a:lnTo>
                <a:lnTo>
                  <a:pt x="305" y="320"/>
                </a:lnTo>
                <a:lnTo>
                  <a:pt x="329" y="277"/>
                </a:lnTo>
                <a:lnTo>
                  <a:pt x="354" y="238"/>
                </a:lnTo>
                <a:lnTo>
                  <a:pt x="380" y="205"/>
                </a:lnTo>
                <a:lnTo>
                  <a:pt x="405" y="175"/>
                </a:lnTo>
                <a:lnTo>
                  <a:pt x="431" y="148"/>
                </a:lnTo>
                <a:lnTo>
                  <a:pt x="457" y="125"/>
                </a:lnTo>
                <a:lnTo>
                  <a:pt x="483" y="106"/>
                </a:lnTo>
                <a:lnTo>
                  <a:pt x="508" y="89"/>
                </a:lnTo>
                <a:lnTo>
                  <a:pt x="531" y="75"/>
                </a:lnTo>
                <a:lnTo>
                  <a:pt x="536" y="73"/>
                </a:lnTo>
                <a:lnTo>
                  <a:pt x="540" y="70"/>
                </a:lnTo>
                <a:lnTo>
                  <a:pt x="571" y="55"/>
                </a:lnTo>
                <a:lnTo>
                  <a:pt x="604" y="44"/>
                </a:lnTo>
                <a:lnTo>
                  <a:pt x="639" y="36"/>
                </a:lnTo>
                <a:lnTo>
                  <a:pt x="674" y="29"/>
                </a:lnTo>
                <a:lnTo>
                  <a:pt x="709" y="25"/>
                </a:lnTo>
                <a:lnTo>
                  <a:pt x="745" y="22"/>
                </a:lnTo>
                <a:lnTo>
                  <a:pt x="779" y="20"/>
                </a:lnTo>
                <a:lnTo>
                  <a:pt x="858" y="14"/>
                </a:lnTo>
                <a:lnTo>
                  <a:pt x="937" y="9"/>
                </a:lnTo>
                <a:lnTo>
                  <a:pt x="1016" y="5"/>
                </a:lnTo>
                <a:lnTo>
                  <a:pt x="1094" y="1"/>
                </a:lnTo>
                <a:lnTo>
                  <a:pt x="117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4BA44A38-3ADC-4978-B5FF-09AB97C4A600}"/>
              </a:ext>
            </a:extLst>
          </p:cNvPr>
          <p:cNvGrpSpPr/>
          <p:nvPr/>
        </p:nvGrpSpPr>
        <p:grpSpPr>
          <a:xfrm>
            <a:off x="4812950" y="3624528"/>
            <a:ext cx="1185954" cy="119502"/>
            <a:chOff x="5578750" y="2376661"/>
            <a:chExt cx="1185954" cy="119502"/>
          </a:xfrm>
        </p:grpSpPr>
        <p:sp>
          <p:nvSpPr>
            <p:cNvPr id="327" name="Rectangle 326">
              <a:extLst>
                <a:ext uri="{FF2B5EF4-FFF2-40B4-BE49-F238E27FC236}">
                  <a16:creationId xmlns:a16="http://schemas.microsoft.com/office/drawing/2014/main" id="{938698C3-32C1-4576-81E6-6EC0CE671ECD}"/>
                </a:ext>
              </a:extLst>
            </p:cNvPr>
            <p:cNvSpPr/>
            <p:nvPr/>
          </p:nvSpPr>
          <p:spPr>
            <a:xfrm>
              <a:off x="5578750" y="2376661"/>
              <a:ext cx="1111612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29" name="Isosceles Triangle 328">
              <a:extLst>
                <a:ext uri="{FF2B5EF4-FFF2-40B4-BE49-F238E27FC236}">
                  <a16:creationId xmlns:a16="http://schemas.microsoft.com/office/drawing/2014/main" id="{6B9D734B-D2D5-4A50-8FCF-70EAE585280B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31" name="TextBox 330">
            <a:extLst>
              <a:ext uri="{FF2B5EF4-FFF2-40B4-BE49-F238E27FC236}">
                <a16:creationId xmlns:a16="http://schemas.microsoft.com/office/drawing/2014/main" id="{930E2C2E-14C7-4C27-B8D7-4648F28328F1}"/>
              </a:ext>
            </a:extLst>
          </p:cNvPr>
          <p:cNvSpPr txBox="1"/>
          <p:nvPr/>
        </p:nvSpPr>
        <p:spPr>
          <a:xfrm>
            <a:off x="6045039" y="3587527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Minibuses</a:t>
            </a:r>
          </a:p>
        </p:txBody>
      </p:sp>
      <p:sp>
        <p:nvSpPr>
          <p:cNvPr id="334" name="Freeform 100">
            <a:extLst>
              <a:ext uri="{FF2B5EF4-FFF2-40B4-BE49-F238E27FC236}">
                <a16:creationId xmlns:a16="http://schemas.microsoft.com/office/drawing/2014/main" id="{1ECA283B-FC87-4F84-82AF-D98B404AC7AC}"/>
              </a:ext>
            </a:extLst>
          </p:cNvPr>
          <p:cNvSpPr>
            <a:spLocks noEditPoints="1"/>
          </p:cNvSpPr>
          <p:nvPr/>
        </p:nvSpPr>
        <p:spPr bwMode="auto">
          <a:xfrm>
            <a:off x="5167241" y="3518231"/>
            <a:ext cx="335232" cy="183790"/>
          </a:xfrm>
          <a:custGeom>
            <a:avLst/>
            <a:gdLst>
              <a:gd name="T0" fmla="*/ 327 w 3011"/>
              <a:gd name="T1" fmla="*/ 1823 h 2052"/>
              <a:gd name="T2" fmla="*/ 233 w 3011"/>
              <a:gd name="T3" fmla="*/ 1761 h 2052"/>
              <a:gd name="T4" fmla="*/ 4 w 3011"/>
              <a:gd name="T5" fmla="*/ 946 h 2052"/>
              <a:gd name="T6" fmla="*/ 44 w 3011"/>
              <a:gd name="T7" fmla="*/ 199 h 2052"/>
              <a:gd name="T8" fmla="*/ 1240 w 3011"/>
              <a:gd name="T9" fmla="*/ 4 h 2052"/>
              <a:gd name="T10" fmla="*/ 2757 w 3011"/>
              <a:gd name="T11" fmla="*/ 295 h 2052"/>
              <a:gd name="T12" fmla="*/ 2979 w 3011"/>
              <a:gd name="T13" fmla="*/ 1602 h 2052"/>
              <a:gd name="T14" fmla="*/ 2674 w 3011"/>
              <a:gd name="T15" fmla="*/ 1824 h 2052"/>
              <a:gd name="T16" fmla="*/ 2341 w 3011"/>
              <a:gd name="T17" fmla="*/ 2048 h 2052"/>
              <a:gd name="T18" fmla="*/ 2007 w 3011"/>
              <a:gd name="T19" fmla="*/ 1823 h 2052"/>
              <a:gd name="T20" fmla="*/ 1501 w 3011"/>
              <a:gd name="T21" fmla="*/ 1761 h 2052"/>
              <a:gd name="T22" fmla="*/ 994 w 3011"/>
              <a:gd name="T23" fmla="*/ 1823 h 2052"/>
              <a:gd name="T24" fmla="*/ 558 w 3011"/>
              <a:gd name="T25" fmla="*/ 2042 h 2052"/>
              <a:gd name="T26" fmla="*/ 894 w 3011"/>
              <a:gd name="T27" fmla="*/ 1686 h 2052"/>
              <a:gd name="T28" fmla="*/ 427 w 3011"/>
              <a:gd name="T29" fmla="*/ 1686 h 2052"/>
              <a:gd name="T30" fmla="*/ 661 w 3011"/>
              <a:gd name="T31" fmla="*/ 1934 h 2052"/>
              <a:gd name="T32" fmla="*/ 2434 w 3011"/>
              <a:gd name="T33" fmla="*/ 1909 h 2052"/>
              <a:gd name="T34" fmla="*/ 2179 w 3011"/>
              <a:gd name="T35" fmla="*/ 1524 h 2052"/>
              <a:gd name="T36" fmla="*/ 2247 w 3011"/>
              <a:gd name="T37" fmla="*/ 1909 h 2052"/>
              <a:gd name="T38" fmla="*/ 2434 w 3011"/>
              <a:gd name="T39" fmla="*/ 1909 h 2052"/>
              <a:gd name="T40" fmla="*/ 963 w 3011"/>
              <a:gd name="T41" fmla="*/ 762 h 2052"/>
              <a:gd name="T42" fmla="*/ 917 w 3011"/>
              <a:gd name="T43" fmla="*/ 353 h 2052"/>
              <a:gd name="T44" fmla="*/ 379 w 3011"/>
              <a:gd name="T45" fmla="*/ 321 h 2052"/>
              <a:gd name="T46" fmla="*/ 307 w 3011"/>
              <a:gd name="T47" fmla="*/ 582 h 2052"/>
              <a:gd name="T48" fmla="*/ 639 w 3011"/>
              <a:gd name="T49" fmla="*/ 854 h 2052"/>
              <a:gd name="T50" fmla="*/ 916 w 3011"/>
              <a:gd name="T51" fmla="*/ 808 h 2052"/>
              <a:gd name="T52" fmla="*/ 1923 w 3011"/>
              <a:gd name="T53" fmla="*/ 762 h 2052"/>
              <a:gd name="T54" fmla="*/ 1877 w 3011"/>
              <a:gd name="T55" fmla="*/ 353 h 2052"/>
              <a:gd name="T56" fmla="*/ 1245 w 3011"/>
              <a:gd name="T57" fmla="*/ 353 h 2052"/>
              <a:gd name="T58" fmla="*/ 1199 w 3011"/>
              <a:gd name="T59" fmla="*/ 762 h 2052"/>
              <a:gd name="T60" fmla="*/ 1291 w 3011"/>
              <a:gd name="T61" fmla="*/ 855 h 2052"/>
              <a:gd name="T62" fmla="*/ 1830 w 3011"/>
              <a:gd name="T63" fmla="*/ 855 h 2052"/>
              <a:gd name="T64" fmla="*/ 2841 w 3011"/>
              <a:gd name="T65" fmla="*/ 848 h 2052"/>
              <a:gd name="T66" fmla="*/ 2637 w 3011"/>
              <a:gd name="T67" fmla="*/ 321 h 2052"/>
              <a:gd name="T68" fmla="*/ 2205 w 3011"/>
              <a:gd name="T69" fmla="*/ 353 h 2052"/>
              <a:gd name="T70" fmla="*/ 2159 w 3011"/>
              <a:gd name="T71" fmla="*/ 762 h 2052"/>
              <a:gd name="T72" fmla="*/ 2251 w 3011"/>
              <a:gd name="T73" fmla="*/ 855 h 2052"/>
              <a:gd name="T74" fmla="*/ 2841 w 3011"/>
              <a:gd name="T75" fmla="*/ 848 h 2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11" h="2052">
                <a:moveTo>
                  <a:pt x="558" y="2042"/>
                </a:moveTo>
                <a:cubicBezTo>
                  <a:pt x="457" y="2010"/>
                  <a:pt x="365" y="1922"/>
                  <a:pt x="327" y="1823"/>
                </a:cubicBezTo>
                <a:lnTo>
                  <a:pt x="304" y="1761"/>
                </a:lnTo>
                <a:lnTo>
                  <a:pt x="233" y="1761"/>
                </a:lnTo>
                <a:cubicBezTo>
                  <a:pt x="137" y="1761"/>
                  <a:pt x="61" y="1729"/>
                  <a:pt x="27" y="1674"/>
                </a:cubicBezTo>
                <a:cubicBezTo>
                  <a:pt x="0" y="1631"/>
                  <a:pt x="0" y="1616"/>
                  <a:pt x="4" y="946"/>
                </a:cubicBezTo>
                <a:lnTo>
                  <a:pt x="7" y="261"/>
                </a:lnTo>
                <a:lnTo>
                  <a:pt x="44" y="199"/>
                </a:lnTo>
                <a:cubicBezTo>
                  <a:pt x="87" y="126"/>
                  <a:pt x="145" y="74"/>
                  <a:pt x="227" y="36"/>
                </a:cubicBezTo>
                <a:cubicBezTo>
                  <a:pt x="286" y="8"/>
                  <a:pt x="306" y="8"/>
                  <a:pt x="1240" y="4"/>
                </a:cubicBezTo>
                <a:cubicBezTo>
                  <a:pt x="2249" y="0"/>
                  <a:pt x="2420" y="7"/>
                  <a:pt x="2532" y="55"/>
                </a:cubicBezTo>
                <a:cubicBezTo>
                  <a:pt x="2619" y="92"/>
                  <a:pt x="2704" y="183"/>
                  <a:pt x="2757" y="295"/>
                </a:cubicBezTo>
                <a:cubicBezTo>
                  <a:pt x="2808" y="403"/>
                  <a:pt x="2958" y="798"/>
                  <a:pt x="2982" y="888"/>
                </a:cubicBezTo>
                <a:cubicBezTo>
                  <a:pt x="3011" y="992"/>
                  <a:pt x="3008" y="1529"/>
                  <a:pt x="2979" y="1602"/>
                </a:cubicBezTo>
                <a:cubicBezTo>
                  <a:pt x="2950" y="1674"/>
                  <a:pt x="2873" y="1729"/>
                  <a:pt x="2774" y="1749"/>
                </a:cubicBezTo>
                <a:cubicBezTo>
                  <a:pt x="2699" y="1764"/>
                  <a:pt x="2696" y="1766"/>
                  <a:pt x="2674" y="1824"/>
                </a:cubicBezTo>
                <a:cubicBezTo>
                  <a:pt x="2645" y="1900"/>
                  <a:pt x="2587" y="1966"/>
                  <a:pt x="2509" y="2012"/>
                </a:cubicBezTo>
                <a:cubicBezTo>
                  <a:pt x="2456" y="2043"/>
                  <a:pt x="2433" y="2048"/>
                  <a:pt x="2341" y="2048"/>
                </a:cubicBezTo>
                <a:cubicBezTo>
                  <a:pt x="2249" y="2048"/>
                  <a:pt x="2226" y="2043"/>
                  <a:pt x="2173" y="2012"/>
                </a:cubicBezTo>
                <a:cubicBezTo>
                  <a:pt x="2094" y="1965"/>
                  <a:pt x="2037" y="1900"/>
                  <a:pt x="2007" y="1823"/>
                </a:cubicBezTo>
                <a:lnTo>
                  <a:pt x="1984" y="1761"/>
                </a:lnTo>
                <a:lnTo>
                  <a:pt x="1501" y="1761"/>
                </a:lnTo>
                <a:lnTo>
                  <a:pt x="1018" y="1761"/>
                </a:lnTo>
                <a:lnTo>
                  <a:pt x="994" y="1823"/>
                </a:lnTo>
                <a:cubicBezTo>
                  <a:pt x="943" y="1957"/>
                  <a:pt x="826" y="2042"/>
                  <a:pt x="683" y="2049"/>
                </a:cubicBezTo>
                <a:cubicBezTo>
                  <a:pt x="634" y="2052"/>
                  <a:pt x="578" y="2049"/>
                  <a:pt x="558" y="2042"/>
                </a:cubicBezTo>
                <a:close/>
                <a:moveTo>
                  <a:pt x="754" y="1909"/>
                </a:moveTo>
                <a:cubicBezTo>
                  <a:pt x="850" y="1865"/>
                  <a:pt x="894" y="1795"/>
                  <a:pt x="894" y="1686"/>
                </a:cubicBezTo>
                <a:cubicBezTo>
                  <a:pt x="894" y="1484"/>
                  <a:pt x="636" y="1379"/>
                  <a:pt x="499" y="1524"/>
                </a:cubicBezTo>
                <a:cubicBezTo>
                  <a:pt x="442" y="1585"/>
                  <a:pt x="427" y="1617"/>
                  <a:pt x="427" y="1686"/>
                </a:cubicBezTo>
                <a:cubicBezTo>
                  <a:pt x="427" y="1795"/>
                  <a:pt x="471" y="1865"/>
                  <a:pt x="567" y="1909"/>
                </a:cubicBezTo>
                <a:cubicBezTo>
                  <a:pt x="597" y="1923"/>
                  <a:pt x="639" y="1934"/>
                  <a:pt x="661" y="1934"/>
                </a:cubicBezTo>
                <a:cubicBezTo>
                  <a:pt x="683" y="1934"/>
                  <a:pt x="725" y="1923"/>
                  <a:pt x="754" y="1909"/>
                </a:cubicBezTo>
                <a:close/>
                <a:moveTo>
                  <a:pt x="2434" y="1909"/>
                </a:moveTo>
                <a:cubicBezTo>
                  <a:pt x="2530" y="1865"/>
                  <a:pt x="2574" y="1795"/>
                  <a:pt x="2574" y="1686"/>
                </a:cubicBezTo>
                <a:cubicBezTo>
                  <a:pt x="2574" y="1484"/>
                  <a:pt x="2316" y="1379"/>
                  <a:pt x="2179" y="1524"/>
                </a:cubicBezTo>
                <a:cubicBezTo>
                  <a:pt x="2122" y="1585"/>
                  <a:pt x="2107" y="1617"/>
                  <a:pt x="2107" y="1686"/>
                </a:cubicBezTo>
                <a:cubicBezTo>
                  <a:pt x="2107" y="1795"/>
                  <a:pt x="2151" y="1865"/>
                  <a:pt x="2247" y="1909"/>
                </a:cubicBezTo>
                <a:cubicBezTo>
                  <a:pt x="2277" y="1923"/>
                  <a:pt x="2319" y="1934"/>
                  <a:pt x="2341" y="1934"/>
                </a:cubicBezTo>
                <a:cubicBezTo>
                  <a:pt x="2363" y="1934"/>
                  <a:pt x="2405" y="1923"/>
                  <a:pt x="2434" y="1909"/>
                </a:cubicBezTo>
                <a:close/>
                <a:moveTo>
                  <a:pt x="916" y="808"/>
                </a:moveTo>
                <a:lnTo>
                  <a:pt x="963" y="762"/>
                </a:lnTo>
                <a:lnTo>
                  <a:pt x="958" y="574"/>
                </a:lnTo>
                <a:cubicBezTo>
                  <a:pt x="954" y="386"/>
                  <a:pt x="954" y="385"/>
                  <a:pt x="917" y="353"/>
                </a:cubicBezTo>
                <a:cubicBezTo>
                  <a:pt x="880" y="322"/>
                  <a:pt x="874" y="321"/>
                  <a:pt x="629" y="321"/>
                </a:cubicBezTo>
                <a:lnTo>
                  <a:pt x="379" y="321"/>
                </a:lnTo>
                <a:lnTo>
                  <a:pt x="343" y="359"/>
                </a:lnTo>
                <a:cubicBezTo>
                  <a:pt x="308" y="396"/>
                  <a:pt x="307" y="398"/>
                  <a:pt x="307" y="582"/>
                </a:cubicBezTo>
                <a:cubicBezTo>
                  <a:pt x="307" y="781"/>
                  <a:pt x="317" y="816"/>
                  <a:pt x="379" y="841"/>
                </a:cubicBezTo>
                <a:cubicBezTo>
                  <a:pt x="395" y="848"/>
                  <a:pt x="512" y="853"/>
                  <a:pt x="639" y="854"/>
                </a:cubicBezTo>
                <a:lnTo>
                  <a:pt x="870" y="855"/>
                </a:lnTo>
                <a:lnTo>
                  <a:pt x="916" y="808"/>
                </a:lnTo>
                <a:close/>
                <a:moveTo>
                  <a:pt x="1876" y="808"/>
                </a:moveTo>
                <a:lnTo>
                  <a:pt x="1923" y="762"/>
                </a:lnTo>
                <a:lnTo>
                  <a:pt x="1918" y="574"/>
                </a:lnTo>
                <a:cubicBezTo>
                  <a:pt x="1914" y="386"/>
                  <a:pt x="1914" y="385"/>
                  <a:pt x="1877" y="353"/>
                </a:cubicBezTo>
                <a:cubicBezTo>
                  <a:pt x="1840" y="322"/>
                  <a:pt x="1836" y="321"/>
                  <a:pt x="1561" y="321"/>
                </a:cubicBezTo>
                <a:cubicBezTo>
                  <a:pt x="1286" y="321"/>
                  <a:pt x="1282" y="322"/>
                  <a:pt x="1245" y="353"/>
                </a:cubicBezTo>
                <a:cubicBezTo>
                  <a:pt x="1208" y="385"/>
                  <a:pt x="1207" y="386"/>
                  <a:pt x="1203" y="574"/>
                </a:cubicBezTo>
                <a:lnTo>
                  <a:pt x="1199" y="762"/>
                </a:lnTo>
                <a:lnTo>
                  <a:pt x="1245" y="808"/>
                </a:lnTo>
                <a:lnTo>
                  <a:pt x="1291" y="855"/>
                </a:lnTo>
                <a:lnTo>
                  <a:pt x="1561" y="855"/>
                </a:lnTo>
                <a:lnTo>
                  <a:pt x="1830" y="855"/>
                </a:lnTo>
                <a:lnTo>
                  <a:pt x="1876" y="808"/>
                </a:lnTo>
                <a:close/>
                <a:moveTo>
                  <a:pt x="2841" y="848"/>
                </a:moveTo>
                <a:cubicBezTo>
                  <a:pt x="2841" y="837"/>
                  <a:pt x="2723" y="526"/>
                  <a:pt x="2680" y="423"/>
                </a:cubicBezTo>
                <a:lnTo>
                  <a:pt x="2637" y="321"/>
                </a:lnTo>
                <a:lnTo>
                  <a:pt x="2440" y="321"/>
                </a:lnTo>
                <a:cubicBezTo>
                  <a:pt x="2250" y="321"/>
                  <a:pt x="2241" y="322"/>
                  <a:pt x="2205" y="353"/>
                </a:cubicBezTo>
                <a:cubicBezTo>
                  <a:pt x="2168" y="385"/>
                  <a:pt x="2167" y="386"/>
                  <a:pt x="2163" y="574"/>
                </a:cubicBezTo>
                <a:lnTo>
                  <a:pt x="2159" y="762"/>
                </a:lnTo>
                <a:lnTo>
                  <a:pt x="2205" y="808"/>
                </a:lnTo>
                <a:lnTo>
                  <a:pt x="2251" y="855"/>
                </a:lnTo>
                <a:lnTo>
                  <a:pt x="2546" y="855"/>
                </a:lnTo>
                <a:cubicBezTo>
                  <a:pt x="2708" y="855"/>
                  <a:pt x="2841" y="852"/>
                  <a:pt x="2841" y="848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E3CFA0DD-3E26-4EE0-A05D-41B0A0CDE4C2}"/>
              </a:ext>
            </a:extLst>
          </p:cNvPr>
          <p:cNvGrpSpPr/>
          <p:nvPr/>
        </p:nvGrpSpPr>
        <p:grpSpPr>
          <a:xfrm>
            <a:off x="2604329" y="3623761"/>
            <a:ext cx="1897898" cy="119502"/>
            <a:chOff x="4866806" y="2376661"/>
            <a:chExt cx="1897898" cy="119502"/>
          </a:xfrm>
        </p:grpSpPr>
        <p:sp>
          <p:nvSpPr>
            <p:cNvPr id="340" name="Rectangle 339">
              <a:extLst>
                <a:ext uri="{FF2B5EF4-FFF2-40B4-BE49-F238E27FC236}">
                  <a16:creationId xmlns:a16="http://schemas.microsoft.com/office/drawing/2014/main" id="{A1C0BB24-A907-4AE9-940F-FF0E457DE04B}"/>
                </a:ext>
              </a:extLst>
            </p:cNvPr>
            <p:cNvSpPr/>
            <p:nvPr/>
          </p:nvSpPr>
          <p:spPr>
            <a:xfrm>
              <a:off x="4866806" y="2376661"/>
              <a:ext cx="1823555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43" name="Isosceles Triangle 342">
              <a:extLst>
                <a:ext uri="{FF2B5EF4-FFF2-40B4-BE49-F238E27FC236}">
                  <a16:creationId xmlns:a16="http://schemas.microsoft.com/office/drawing/2014/main" id="{CB657617-C935-450C-9CBC-3300375117A1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46" name="TextBox 345">
            <a:extLst>
              <a:ext uri="{FF2B5EF4-FFF2-40B4-BE49-F238E27FC236}">
                <a16:creationId xmlns:a16="http://schemas.microsoft.com/office/drawing/2014/main" id="{ABAE58B5-F5A0-48D3-93F4-809C92E0369D}"/>
              </a:ext>
            </a:extLst>
          </p:cNvPr>
          <p:cNvSpPr txBox="1"/>
          <p:nvPr/>
        </p:nvSpPr>
        <p:spPr>
          <a:xfrm>
            <a:off x="1963915" y="3393616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Trams and railways</a:t>
            </a:r>
          </a:p>
        </p:txBody>
      </p:sp>
      <p:sp>
        <p:nvSpPr>
          <p:cNvPr id="349" name="Freeform 75">
            <a:extLst>
              <a:ext uri="{FF2B5EF4-FFF2-40B4-BE49-F238E27FC236}">
                <a16:creationId xmlns:a16="http://schemas.microsoft.com/office/drawing/2014/main" id="{B16297DC-BE5D-44BD-988C-3ADD3D29FB10}"/>
              </a:ext>
            </a:extLst>
          </p:cNvPr>
          <p:cNvSpPr>
            <a:spLocks noEditPoints="1"/>
          </p:cNvSpPr>
          <p:nvPr/>
        </p:nvSpPr>
        <p:spPr bwMode="auto">
          <a:xfrm>
            <a:off x="3399313" y="3413445"/>
            <a:ext cx="275500" cy="311657"/>
          </a:xfrm>
          <a:custGeom>
            <a:avLst/>
            <a:gdLst>
              <a:gd name="T0" fmla="*/ 1693 w 2458"/>
              <a:gd name="T1" fmla="*/ 1955 h 3456"/>
              <a:gd name="T2" fmla="*/ 1606 w 2458"/>
              <a:gd name="T3" fmla="*/ 2061 h 3456"/>
              <a:gd name="T4" fmla="*/ 1606 w 2458"/>
              <a:gd name="T5" fmla="*/ 2203 h 3456"/>
              <a:gd name="T6" fmla="*/ 1693 w 2458"/>
              <a:gd name="T7" fmla="*/ 2308 h 3456"/>
              <a:gd name="T8" fmla="*/ 1831 w 2458"/>
              <a:gd name="T9" fmla="*/ 2333 h 3456"/>
              <a:gd name="T10" fmla="*/ 1950 w 2458"/>
              <a:gd name="T11" fmla="*/ 2263 h 3456"/>
              <a:gd name="T12" fmla="*/ 1998 w 2458"/>
              <a:gd name="T13" fmla="*/ 2132 h 3456"/>
              <a:gd name="T14" fmla="*/ 1950 w 2458"/>
              <a:gd name="T15" fmla="*/ 2000 h 3456"/>
              <a:gd name="T16" fmla="*/ 1831 w 2458"/>
              <a:gd name="T17" fmla="*/ 1931 h 3456"/>
              <a:gd name="T18" fmla="*/ 518 w 2458"/>
              <a:gd name="T19" fmla="*/ 1941 h 3456"/>
              <a:gd name="T20" fmla="*/ 414 w 2458"/>
              <a:gd name="T21" fmla="*/ 2029 h 3456"/>
              <a:gd name="T22" fmla="*/ 390 w 2458"/>
              <a:gd name="T23" fmla="*/ 2169 h 3456"/>
              <a:gd name="T24" fmla="*/ 459 w 2458"/>
              <a:gd name="T25" fmla="*/ 2288 h 3456"/>
              <a:gd name="T26" fmla="*/ 589 w 2458"/>
              <a:gd name="T27" fmla="*/ 2336 h 3456"/>
              <a:gd name="T28" fmla="*/ 720 w 2458"/>
              <a:gd name="T29" fmla="*/ 2288 h 3456"/>
              <a:gd name="T30" fmla="*/ 788 w 2458"/>
              <a:gd name="T31" fmla="*/ 2169 h 3456"/>
              <a:gd name="T32" fmla="*/ 764 w 2458"/>
              <a:gd name="T33" fmla="*/ 2029 h 3456"/>
              <a:gd name="T34" fmla="*/ 659 w 2458"/>
              <a:gd name="T35" fmla="*/ 1941 h 3456"/>
              <a:gd name="T36" fmla="*/ 618 w 2458"/>
              <a:gd name="T37" fmla="*/ 512 h 3456"/>
              <a:gd name="T38" fmla="*/ 523 w 2458"/>
              <a:gd name="T39" fmla="*/ 521 h 3456"/>
              <a:gd name="T40" fmla="*/ 441 w 2458"/>
              <a:gd name="T41" fmla="*/ 557 h 3456"/>
              <a:gd name="T42" fmla="*/ 398 w 2458"/>
              <a:gd name="T43" fmla="*/ 637 h 3456"/>
              <a:gd name="T44" fmla="*/ 400 w 2458"/>
              <a:gd name="T45" fmla="*/ 1069 h 3456"/>
              <a:gd name="T46" fmla="*/ 434 w 2458"/>
              <a:gd name="T47" fmla="*/ 1199 h 3456"/>
              <a:gd name="T48" fmla="*/ 502 w 2458"/>
              <a:gd name="T49" fmla="*/ 1261 h 3456"/>
              <a:gd name="T50" fmla="*/ 608 w 2458"/>
              <a:gd name="T51" fmla="*/ 1280 h 3456"/>
              <a:gd name="T52" fmla="*/ 1904 w 2458"/>
              <a:gd name="T53" fmla="*/ 1276 h 3456"/>
              <a:gd name="T54" fmla="*/ 1965 w 2458"/>
              <a:gd name="T55" fmla="*/ 1229 h 3456"/>
              <a:gd name="T56" fmla="*/ 1983 w 2458"/>
              <a:gd name="T57" fmla="*/ 1114 h 3456"/>
              <a:gd name="T58" fmla="*/ 1984 w 2458"/>
              <a:gd name="T59" fmla="*/ 668 h 3456"/>
              <a:gd name="T60" fmla="*/ 1965 w 2458"/>
              <a:gd name="T61" fmla="*/ 558 h 3456"/>
              <a:gd name="T62" fmla="*/ 1901 w 2458"/>
              <a:gd name="T63" fmla="*/ 516 h 3456"/>
              <a:gd name="T64" fmla="*/ 904 w 2458"/>
              <a:gd name="T65" fmla="*/ 128 h 3456"/>
              <a:gd name="T66" fmla="*/ 844 w 2458"/>
              <a:gd name="T67" fmla="*/ 172 h 3456"/>
              <a:gd name="T68" fmla="*/ 853 w 2458"/>
              <a:gd name="T69" fmla="*/ 358 h 3456"/>
              <a:gd name="T70" fmla="*/ 1412 w 2458"/>
              <a:gd name="T71" fmla="*/ 384 h 3456"/>
              <a:gd name="T72" fmla="*/ 1472 w 2458"/>
              <a:gd name="T73" fmla="*/ 341 h 3456"/>
              <a:gd name="T74" fmla="*/ 1463 w 2458"/>
              <a:gd name="T75" fmla="*/ 154 h 3456"/>
              <a:gd name="T76" fmla="*/ 904 w 2458"/>
              <a:gd name="T77" fmla="*/ 128 h 3456"/>
              <a:gd name="T78" fmla="*/ 2054 w 2458"/>
              <a:gd name="T79" fmla="*/ 7 h 3456"/>
              <a:gd name="T80" fmla="*/ 2171 w 2458"/>
              <a:gd name="T81" fmla="*/ 61 h 3456"/>
              <a:gd name="T82" fmla="*/ 2230 w 2458"/>
              <a:gd name="T83" fmla="*/ 176 h 3456"/>
              <a:gd name="T84" fmla="*/ 2237 w 2458"/>
              <a:gd name="T85" fmla="*/ 2268 h 3456"/>
              <a:gd name="T86" fmla="*/ 2234 w 2458"/>
              <a:gd name="T87" fmla="*/ 2382 h 3456"/>
              <a:gd name="T88" fmla="*/ 2212 w 2458"/>
              <a:gd name="T89" fmla="*/ 2487 h 3456"/>
              <a:gd name="T90" fmla="*/ 2157 w 2458"/>
              <a:gd name="T91" fmla="*/ 2569 h 3456"/>
              <a:gd name="T92" fmla="*/ 2051 w 2458"/>
              <a:gd name="T93" fmla="*/ 2617 h 3456"/>
              <a:gd name="T94" fmla="*/ 2458 w 2458"/>
              <a:gd name="T95" fmla="*/ 3456 h 3456"/>
              <a:gd name="T96" fmla="*/ 289 w 2458"/>
              <a:gd name="T97" fmla="*/ 3456 h 3456"/>
              <a:gd name="T98" fmla="*/ 420 w 2458"/>
              <a:gd name="T99" fmla="*/ 2623 h 3456"/>
              <a:gd name="T100" fmla="*/ 305 w 2458"/>
              <a:gd name="T101" fmla="*/ 2615 h 3456"/>
              <a:gd name="T102" fmla="*/ 209 w 2458"/>
              <a:gd name="T103" fmla="*/ 2586 h 3456"/>
              <a:gd name="T104" fmla="*/ 134 w 2458"/>
              <a:gd name="T105" fmla="*/ 2516 h 3456"/>
              <a:gd name="T106" fmla="*/ 90 w 2458"/>
              <a:gd name="T107" fmla="*/ 2386 h 3456"/>
              <a:gd name="T108" fmla="*/ 79 w 2458"/>
              <a:gd name="T109" fmla="*/ 256 h 3456"/>
              <a:gd name="T110" fmla="*/ 103 w 2458"/>
              <a:gd name="T111" fmla="*/ 115 h 3456"/>
              <a:gd name="T112" fmla="*/ 171 w 2458"/>
              <a:gd name="T113" fmla="*/ 37 h 3456"/>
              <a:gd name="T114" fmla="*/ 276 w 2458"/>
              <a:gd name="T115" fmla="*/ 7 h 3456"/>
              <a:gd name="T116" fmla="*/ 412 w 2458"/>
              <a:gd name="T117" fmla="*/ 0 h 3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458" h="3456">
                <a:moveTo>
                  <a:pt x="1795" y="1928"/>
                </a:moveTo>
                <a:lnTo>
                  <a:pt x="1759" y="1931"/>
                </a:lnTo>
                <a:lnTo>
                  <a:pt x="1725" y="1941"/>
                </a:lnTo>
                <a:lnTo>
                  <a:pt x="1693" y="1955"/>
                </a:lnTo>
                <a:lnTo>
                  <a:pt x="1664" y="1976"/>
                </a:lnTo>
                <a:lnTo>
                  <a:pt x="1641" y="2000"/>
                </a:lnTo>
                <a:lnTo>
                  <a:pt x="1620" y="2029"/>
                </a:lnTo>
                <a:lnTo>
                  <a:pt x="1606" y="2061"/>
                </a:lnTo>
                <a:lnTo>
                  <a:pt x="1596" y="2095"/>
                </a:lnTo>
                <a:lnTo>
                  <a:pt x="1593" y="2132"/>
                </a:lnTo>
                <a:lnTo>
                  <a:pt x="1596" y="2169"/>
                </a:lnTo>
                <a:lnTo>
                  <a:pt x="1606" y="2203"/>
                </a:lnTo>
                <a:lnTo>
                  <a:pt x="1620" y="2235"/>
                </a:lnTo>
                <a:lnTo>
                  <a:pt x="1641" y="2263"/>
                </a:lnTo>
                <a:lnTo>
                  <a:pt x="1664" y="2288"/>
                </a:lnTo>
                <a:lnTo>
                  <a:pt x="1693" y="2308"/>
                </a:lnTo>
                <a:lnTo>
                  <a:pt x="1725" y="2323"/>
                </a:lnTo>
                <a:lnTo>
                  <a:pt x="1759" y="2333"/>
                </a:lnTo>
                <a:lnTo>
                  <a:pt x="1795" y="2336"/>
                </a:lnTo>
                <a:lnTo>
                  <a:pt x="1831" y="2333"/>
                </a:lnTo>
                <a:lnTo>
                  <a:pt x="1866" y="2323"/>
                </a:lnTo>
                <a:lnTo>
                  <a:pt x="1897" y="2308"/>
                </a:lnTo>
                <a:lnTo>
                  <a:pt x="1925" y="2288"/>
                </a:lnTo>
                <a:lnTo>
                  <a:pt x="1950" y="2263"/>
                </a:lnTo>
                <a:lnTo>
                  <a:pt x="1970" y="2235"/>
                </a:lnTo>
                <a:lnTo>
                  <a:pt x="1985" y="2203"/>
                </a:lnTo>
                <a:lnTo>
                  <a:pt x="1995" y="2169"/>
                </a:lnTo>
                <a:lnTo>
                  <a:pt x="1998" y="2132"/>
                </a:lnTo>
                <a:lnTo>
                  <a:pt x="1995" y="2095"/>
                </a:lnTo>
                <a:lnTo>
                  <a:pt x="1985" y="2061"/>
                </a:lnTo>
                <a:lnTo>
                  <a:pt x="1970" y="2029"/>
                </a:lnTo>
                <a:lnTo>
                  <a:pt x="1950" y="2000"/>
                </a:lnTo>
                <a:lnTo>
                  <a:pt x="1925" y="1976"/>
                </a:lnTo>
                <a:lnTo>
                  <a:pt x="1897" y="1955"/>
                </a:lnTo>
                <a:lnTo>
                  <a:pt x="1866" y="1941"/>
                </a:lnTo>
                <a:lnTo>
                  <a:pt x="1831" y="1931"/>
                </a:lnTo>
                <a:lnTo>
                  <a:pt x="1795" y="1928"/>
                </a:lnTo>
                <a:close/>
                <a:moveTo>
                  <a:pt x="589" y="1928"/>
                </a:moveTo>
                <a:lnTo>
                  <a:pt x="552" y="1931"/>
                </a:lnTo>
                <a:lnTo>
                  <a:pt x="518" y="1941"/>
                </a:lnTo>
                <a:lnTo>
                  <a:pt x="487" y="1955"/>
                </a:lnTo>
                <a:lnTo>
                  <a:pt x="459" y="1976"/>
                </a:lnTo>
                <a:lnTo>
                  <a:pt x="434" y="2000"/>
                </a:lnTo>
                <a:lnTo>
                  <a:pt x="414" y="2029"/>
                </a:lnTo>
                <a:lnTo>
                  <a:pt x="399" y="2061"/>
                </a:lnTo>
                <a:lnTo>
                  <a:pt x="390" y="2095"/>
                </a:lnTo>
                <a:lnTo>
                  <a:pt x="386" y="2132"/>
                </a:lnTo>
                <a:lnTo>
                  <a:pt x="390" y="2169"/>
                </a:lnTo>
                <a:lnTo>
                  <a:pt x="399" y="2203"/>
                </a:lnTo>
                <a:lnTo>
                  <a:pt x="414" y="2235"/>
                </a:lnTo>
                <a:lnTo>
                  <a:pt x="434" y="2263"/>
                </a:lnTo>
                <a:lnTo>
                  <a:pt x="459" y="2288"/>
                </a:lnTo>
                <a:lnTo>
                  <a:pt x="487" y="2308"/>
                </a:lnTo>
                <a:lnTo>
                  <a:pt x="518" y="2323"/>
                </a:lnTo>
                <a:lnTo>
                  <a:pt x="552" y="2333"/>
                </a:lnTo>
                <a:lnTo>
                  <a:pt x="589" y="2336"/>
                </a:lnTo>
                <a:lnTo>
                  <a:pt x="625" y="2333"/>
                </a:lnTo>
                <a:lnTo>
                  <a:pt x="659" y="2323"/>
                </a:lnTo>
                <a:lnTo>
                  <a:pt x="690" y="2308"/>
                </a:lnTo>
                <a:lnTo>
                  <a:pt x="720" y="2288"/>
                </a:lnTo>
                <a:lnTo>
                  <a:pt x="743" y="2263"/>
                </a:lnTo>
                <a:lnTo>
                  <a:pt x="764" y="2235"/>
                </a:lnTo>
                <a:lnTo>
                  <a:pt x="778" y="2203"/>
                </a:lnTo>
                <a:lnTo>
                  <a:pt x="788" y="2169"/>
                </a:lnTo>
                <a:lnTo>
                  <a:pt x="791" y="2132"/>
                </a:lnTo>
                <a:lnTo>
                  <a:pt x="788" y="2095"/>
                </a:lnTo>
                <a:lnTo>
                  <a:pt x="778" y="2061"/>
                </a:lnTo>
                <a:lnTo>
                  <a:pt x="764" y="2029"/>
                </a:lnTo>
                <a:lnTo>
                  <a:pt x="743" y="2000"/>
                </a:lnTo>
                <a:lnTo>
                  <a:pt x="720" y="1976"/>
                </a:lnTo>
                <a:lnTo>
                  <a:pt x="690" y="1955"/>
                </a:lnTo>
                <a:lnTo>
                  <a:pt x="659" y="1941"/>
                </a:lnTo>
                <a:lnTo>
                  <a:pt x="625" y="1931"/>
                </a:lnTo>
                <a:lnTo>
                  <a:pt x="589" y="1928"/>
                </a:lnTo>
                <a:close/>
                <a:moveTo>
                  <a:pt x="641" y="512"/>
                </a:moveTo>
                <a:lnTo>
                  <a:pt x="618" y="512"/>
                </a:lnTo>
                <a:lnTo>
                  <a:pt x="594" y="513"/>
                </a:lnTo>
                <a:lnTo>
                  <a:pt x="570" y="514"/>
                </a:lnTo>
                <a:lnTo>
                  <a:pt x="546" y="516"/>
                </a:lnTo>
                <a:lnTo>
                  <a:pt x="523" y="521"/>
                </a:lnTo>
                <a:lnTo>
                  <a:pt x="500" y="526"/>
                </a:lnTo>
                <a:lnTo>
                  <a:pt x="479" y="534"/>
                </a:lnTo>
                <a:lnTo>
                  <a:pt x="459" y="545"/>
                </a:lnTo>
                <a:lnTo>
                  <a:pt x="441" y="557"/>
                </a:lnTo>
                <a:lnTo>
                  <a:pt x="426" y="572"/>
                </a:lnTo>
                <a:lnTo>
                  <a:pt x="413" y="591"/>
                </a:lnTo>
                <a:lnTo>
                  <a:pt x="405" y="612"/>
                </a:lnTo>
                <a:lnTo>
                  <a:pt x="398" y="637"/>
                </a:lnTo>
                <a:lnTo>
                  <a:pt x="396" y="668"/>
                </a:lnTo>
                <a:lnTo>
                  <a:pt x="396" y="972"/>
                </a:lnTo>
                <a:lnTo>
                  <a:pt x="397" y="1024"/>
                </a:lnTo>
                <a:lnTo>
                  <a:pt x="400" y="1069"/>
                </a:lnTo>
                <a:lnTo>
                  <a:pt x="406" y="1110"/>
                </a:lnTo>
                <a:lnTo>
                  <a:pt x="412" y="1145"/>
                </a:lnTo>
                <a:lnTo>
                  <a:pt x="422" y="1174"/>
                </a:lnTo>
                <a:lnTo>
                  <a:pt x="434" y="1199"/>
                </a:lnTo>
                <a:lnTo>
                  <a:pt x="447" y="1220"/>
                </a:lnTo>
                <a:lnTo>
                  <a:pt x="463" y="1237"/>
                </a:lnTo>
                <a:lnTo>
                  <a:pt x="482" y="1252"/>
                </a:lnTo>
                <a:lnTo>
                  <a:pt x="502" y="1261"/>
                </a:lnTo>
                <a:lnTo>
                  <a:pt x="525" y="1269"/>
                </a:lnTo>
                <a:lnTo>
                  <a:pt x="550" y="1275"/>
                </a:lnTo>
                <a:lnTo>
                  <a:pt x="578" y="1278"/>
                </a:lnTo>
                <a:lnTo>
                  <a:pt x="608" y="1280"/>
                </a:lnTo>
                <a:lnTo>
                  <a:pt x="641" y="1280"/>
                </a:lnTo>
                <a:lnTo>
                  <a:pt x="1847" y="1280"/>
                </a:lnTo>
                <a:lnTo>
                  <a:pt x="1878" y="1279"/>
                </a:lnTo>
                <a:lnTo>
                  <a:pt x="1904" y="1276"/>
                </a:lnTo>
                <a:lnTo>
                  <a:pt x="1925" y="1268"/>
                </a:lnTo>
                <a:lnTo>
                  <a:pt x="1943" y="1259"/>
                </a:lnTo>
                <a:lnTo>
                  <a:pt x="1956" y="1245"/>
                </a:lnTo>
                <a:lnTo>
                  <a:pt x="1965" y="1229"/>
                </a:lnTo>
                <a:lnTo>
                  <a:pt x="1973" y="1207"/>
                </a:lnTo>
                <a:lnTo>
                  <a:pt x="1978" y="1181"/>
                </a:lnTo>
                <a:lnTo>
                  <a:pt x="1982" y="1150"/>
                </a:lnTo>
                <a:lnTo>
                  <a:pt x="1983" y="1114"/>
                </a:lnTo>
                <a:lnTo>
                  <a:pt x="1984" y="1073"/>
                </a:lnTo>
                <a:lnTo>
                  <a:pt x="1984" y="1026"/>
                </a:lnTo>
                <a:lnTo>
                  <a:pt x="1984" y="972"/>
                </a:lnTo>
                <a:lnTo>
                  <a:pt x="1984" y="668"/>
                </a:lnTo>
                <a:lnTo>
                  <a:pt x="1983" y="633"/>
                </a:lnTo>
                <a:lnTo>
                  <a:pt x="1979" y="603"/>
                </a:lnTo>
                <a:lnTo>
                  <a:pt x="1974" y="579"/>
                </a:lnTo>
                <a:lnTo>
                  <a:pt x="1965" y="558"/>
                </a:lnTo>
                <a:lnTo>
                  <a:pt x="1954" y="543"/>
                </a:lnTo>
                <a:lnTo>
                  <a:pt x="1940" y="531"/>
                </a:lnTo>
                <a:lnTo>
                  <a:pt x="1923" y="522"/>
                </a:lnTo>
                <a:lnTo>
                  <a:pt x="1901" y="516"/>
                </a:lnTo>
                <a:lnTo>
                  <a:pt x="1877" y="513"/>
                </a:lnTo>
                <a:lnTo>
                  <a:pt x="1847" y="512"/>
                </a:lnTo>
                <a:lnTo>
                  <a:pt x="641" y="512"/>
                </a:lnTo>
                <a:close/>
                <a:moveTo>
                  <a:pt x="904" y="128"/>
                </a:moveTo>
                <a:lnTo>
                  <a:pt x="884" y="131"/>
                </a:lnTo>
                <a:lnTo>
                  <a:pt x="867" y="140"/>
                </a:lnTo>
                <a:lnTo>
                  <a:pt x="853" y="154"/>
                </a:lnTo>
                <a:lnTo>
                  <a:pt x="844" y="172"/>
                </a:lnTo>
                <a:lnTo>
                  <a:pt x="841" y="192"/>
                </a:lnTo>
                <a:lnTo>
                  <a:pt x="841" y="320"/>
                </a:lnTo>
                <a:lnTo>
                  <a:pt x="844" y="341"/>
                </a:lnTo>
                <a:lnTo>
                  <a:pt x="853" y="358"/>
                </a:lnTo>
                <a:lnTo>
                  <a:pt x="867" y="371"/>
                </a:lnTo>
                <a:lnTo>
                  <a:pt x="884" y="381"/>
                </a:lnTo>
                <a:lnTo>
                  <a:pt x="904" y="384"/>
                </a:lnTo>
                <a:lnTo>
                  <a:pt x="1412" y="384"/>
                </a:lnTo>
                <a:lnTo>
                  <a:pt x="1432" y="381"/>
                </a:lnTo>
                <a:lnTo>
                  <a:pt x="1449" y="371"/>
                </a:lnTo>
                <a:lnTo>
                  <a:pt x="1463" y="358"/>
                </a:lnTo>
                <a:lnTo>
                  <a:pt x="1472" y="341"/>
                </a:lnTo>
                <a:lnTo>
                  <a:pt x="1475" y="320"/>
                </a:lnTo>
                <a:lnTo>
                  <a:pt x="1475" y="192"/>
                </a:lnTo>
                <a:lnTo>
                  <a:pt x="1472" y="172"/>
                </a:lnTo>
                <a:lnTo>
                  <a:pt x="1463" y="154"/>
                </a:lnTo>
                <a:lnTo>
                  <a:pt x="1449" y="140"/>
                </a:lnTo>
                <a:lnTo>
                  <a:pt x="1432" y="131"/>
                </a:lnTo>
                <a:lnTo>
                  <a:pt x="1412" y="128"/>
                </a:lnTo>
                <a:lnTo>
                  <a:pt x="904" y="128"/>
                </a:lnTo>
                <a:close/>
                <a:moveTo>
                  <a:pt x="450" y="0"/>
                </a:moveTo>
                <a:lnTo>
                  <a:pt x="1974" y="0"/>
                </a:lnTo>
                <a:lnTo>
                  <a:pt x="2016" y="1"/>
                </a:lnTo>
                <a:lnTo>
                  <a:pt x="2054" y="7"/>
                </a:lnTo>
                <a:lnTo>
                  <a:pt x="2089" y="16"/>
                </a:lnTo>
                <a:lnTo>
                  <a:pt x="2120" y="28"/>
                </a:lnTo>
                <a:lnTo>
                  <a:pt x="2147" y="43"/>
                </a:lnTo>
                <a:lnTo>
                  <a:pt x="2171" y="61"/>
                </a:lnTo>
                <a:lnTo>
                  <a:pt x="2192" y="84"/>
                </a:lnTo>
                <a:lnTo>
                  <a:pt x="2208" y="112"/>
                </a:lnTo>
                <a:lnTo>
                  <a:pt x="2221" y="141"/>
                </a:lnTo>
                <a:lnTo>
                  <a:pt x="2230" y="176"/>
                </a:lnTo>
                <a:lnTo>
                  <a:pt x="2236" y="214"/>
                </a:lnTo>
                <a:lnTo>
                  <a:pt x="2237" y="256"/>
                </a:lnTo>
                <a:lnTo>
                  <a:pt x="2237" y="2240"/>
                </a:lnTo>
                <a:lnTo>
                  <a:pt x="2237" y="2268"/>
                </a:lnTo>
                <a:lnTo>
                  <a:pt x="2237" y="2297"/>
                </a:lnTo>
                <a:lnTo>
                  <a:pt x="2237" y="2325"/>
                </a:lnTo>
                <a:lnTo>
                  <a:pt x="2236" y="2353"/>
                </a:lnTo>
                <a:lnTo>
                  <a:pt x="2234" y="2382"/>
                </a:lnTo>
                <a:lnTo>
                  <a:pt x="2230" y="2409"/>
                </a:lnTo>
                <a:lnTo>
                  <a:pt x="2226" y="2436"/>
                </a:lnTo>
                <a:lnTo>
                  <a:pt x="2220" y="2461"/>
                </a:lnTo>
                <a:lnTo>
                  <a:pt x="2212" y="2487"/>
                </a:lnTo>
                <a:lnTo>
                  <a:pt x="2202" y="2509"/>
                </a:lnTo>
                <a:lnTo>
                  <a:pt x="2189" y="2531"/>
                </a:lnTo>
                <a:lnTo>
                  <a:pt x="2174" y="2552"/>
                </a:lnTo>
                <a:lnTo>
                  <a:pt x="2157" y="2569"/>
                </a:lnTo>
                <a:lnTo>
                  <a:pt x="2135" y="2586"/>
                </a:lnTo>
                <a:lnTo>
                  <a:pt x="2110" y="2599"/>
                </a:lnTo>
                <a:lnTo>
                  <a:pt x="2082" y="2610"/>
                </a:lnTo>
                <a:lnTo>
                  <a:pt x="2051" y="2617"/>
                </a:lnTo>
                <a:lnTo>
                  <a:pt x="2014" y="2623"/>
                </a:lnTo>
                <a:lnTo>
                  <a:pt x="1974" y="2624"/>
                </a:lnTo>
                <a:lnTo>
                  <a:pt x="1920" y="2624"/>
                </a:lnTo>
                <a:lnTo>
                  <a:pt x="2458" y="3456"/>
                </a:lnTo>
                <a:lnTo>
                  <a:pt x="2133" y="3456"/>
                </a:lnTo>
                <a:lnTo>
                  <a:pt x="1754" y="2876"/>
                </a:lnTo>
                <a:lnTo>
                  <a:pt x="681" y="2859"/>
                </a:lnTo>
                <a:lnTo>
                  <a:pt x="289" y="3456"/>
                </a:lnTo>
                <a:lnTo>
                  <a:pt x="0" y="3456"/>
                </a:lnTo>
                <a:lnTo>
                  <a:pt x="545" y="2624"/>
                </a:lnTo>
                <a:lnTo>
                  <a:pt x="450" y="2624"/>
                </a:lnTo>
                <a:lnTo>
                  <a:pt x="420" y="2623"/>
                </a:lnTo>
                <a:lnTo>
                  <a:pt x="390" y="2623"/>
                </a:lnTo>
                <a:lnTo>
                  <a:pt x="361" y="2621"/>
                </a:lnTo>
                <a:lnTo>
                  <a:pt x="333" y="2619"/>
                </a:lnTo>
                <a:lnTo>
                  <a:pt x="305" y="2615"/>
                </a:lnTo>
                <a:lnTo>
                  <a:pt x="279" y="2611"/>
                </a:lnTo>
                <a:lnTo>
                  <a:pt x="254" y="2604"/>
                </a:lnTo>
                <a:lnTo>
                  <a:pt x="230" y="2597"/>
                </a:lnTo>
                <a:lnTo>
                  <a:pt x="209" y="2586"/>
                </a:lnTo>
                <a:lnTo>
                  <a:pt x="187" y="2573"/>
                </a:lnTo>
                <a:lnTo>
                  <a:pt x="168" y="2557"/>
                </a:lnTo>
                <a:lnTo>
                  <a:pt x="150" y="2538"/>
                </a:lnTo>
                <a:lnTo>
                  <a:pt x="134" y="2516"/>
                </a:lnTo>
                <a:lnTo>
                  <a:pt x="120" y="2490"/>
                </a:lnTo>
                <a:lnTo>
                  <a:pt x="108" y="2459"/>
                </a:lnTo>
                <a:lnTo>
                  <a:pt x="97" y="2425"/>
                </a:lnTo>
                <a:lnTo>
                  <a:pt x="90" y="2386"/>
                </a:lnTo>
                <a:lnTo>
                  <a:pt x="83" y="2343"/>
                </a:lnTo>
                <a:lnTo>
                  <a:pt x="80" y="2295"/>
                </a:lnTo>
                <a:lnTo>
                  <a:pt x="79" y="2240"/>
                </a:lnTo>
                <a:lnTo>
                  <a:pt x="79" y="256"/>
                </a:lnTo>
                <a:lnTo>
                  <a:pt x="80" y="213"/>
                </a:lnTo>
                <a:lnTo>
                  <a:pt x="84" y="176"/>
                </a:lnTo>
                <a:lnTo>
                  <a:pt x="92" y="143"/>
                </a:lnTo>
                <a:lnTo>
                  <a:pt x="103" y="115"/>
                </a:lnTo>
                <a:lnTo>
                  <a:pt x="116" y="90"/>
                </a:lnTo>
                <a:lnTo>
                  <a:pt x="132" y="69"/>
                </a:lnTo>
                <a:lnTo>
                  <a:pt x="149" y="52"/>
                </a:lnTo>
                <a:lnTo>
                  <a:pt x="171" y="37"/>
                </a:lnTo>
                <a:lnTo>
                  <a:pt x="194" y="27"/>
                </a:lnTo>
                <a:lnTo>
                  <a:pt x="219" y="18"/>
                </a:lnTo>
                <a:lnTo>
                  <a:pt x="247" y="11"/>
                </a:lnTo>
                <a:lnTo>
                  <a:pt x="276" y="7"/>
                </a:lnTo>
                <a:lnTo>
                  <a:pt x="307" y="4"/>
                </a:lnTo>
                <a:lnTo>
                  <a:pt x="340" y="1"/>
                </a:lnTo>
                <a:lnTo>
                  <a:pt x="375" y="0"/>
                </a:lnTo>
                <a:lnTo>
                  <a:pt x="412" y="0"/>
                </a:lnTo>
                <a:lnTo>
                  <a:pt x="45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36382755-600A-4B81-AF65-B517BA092FEF}"/>
              </a:ext>
            </a:extLst>
          </p:cNvPr>
          <p:cNvGrpSpPr/>
          <p:nvPr/>
        </p:nvGrpSpPr>
        <p:grpSpPr>
          <a:xfrm>
            <a:off x="3345055" y="3881493"/>
            <a:ext cx="2846894" cy="119502"/>
            <a:chOff x="3917810" y="2376661"/>
            <a:chExt cx="2846894" cy="119502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4CF3468D-6452-43DB-8D23-665376BE7813}"/>
                </a:ext>
              </a:extLst>
            </p:cNvPr>
            <p:cNvSpPr/>
            <p:nvPr/>
          </p:nvSpPr>
          <p:spPr>
            <a:xfrm>
              <a:off x="3917810" y="2376661"/>
              <a:ext cx="2772552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56" name="Isosceles Triangle 355">
              <a:extLst>
                <a:ext uri="{FF2B5EF4-FFF2-40B4-BE49-F238E27FC236}">
                  <a16:creationId xmlns:a16="http://schemas.microsoft.com/office/drawing/2014/main" id="{EB58C704-C9E4-44DF-95CD-2C1F51D2F4C1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57" name="TextBox 356">
            <a:extLst>
              <a:ext uri="{FF2B5EF4-FFF2-40B4-BE49-F238E27FC236}">
                <a16:creationId xmlns:a16="http://schemas.microsoft.com/office/drawing/2014/main" id="{3EF11BC4-2A79-497C-8392-0EE91637E6F9}"/>
              </a:ext>
            </a:extLst>
          </p:cNvPr>
          <p:cNvSpPr txBox="1"/>
          <p:nvPr/>
        </p:nvSpPr>
        <p:spPr>
          <a:xfrm>
            <a:off x="2101550" y="3844492"/>
            <a:ext cx="2009313" cy="18312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Passenger ships</a:t>
            </a:r>
          </a:p>
        </p:txBody>
      </p:sp>
      <p:sp>
        <p:nvSpPr>
          <p:cNvPr id="360" name="Freeform 93">
            <a:extLst>
              <a:ext uri="{FF2B5EF4-FFF2-40B4-BE49-F238E27FC236}">
                <a16:creationId xmlns:a16="http://schemas.microsoft.com/office/drawing/2014/main" id="{D259F853-3D39-48FD-A42D-D4FC0279CA82}"/>
              </a:ext>
            </a:extLst>
          </p:cNvPr>
          <p:cNvSpPr>
            <a:spLocks noEditPoints="1"/>
          </p:cNvSpPr>
          <p:nvPr/>
        </p:nvSpPr>
        <p:spPr bwMode="auto">
          <a:xfrm>
            <a:off x="4502227" y="3723212"/>
            <a:ext cx="427085" cy="242559"/>
          </a:xfrm>
          <a:custGeom>
            <a:avLst/>
            <a:gdLst>
              <a:gd name="T0" fmla="*/ 4513 w 5118"/>
              <a:gd name="T1" fmla="*/ 3375 h 3614"/>
              <a:gd name="T2" fmla="*/ 4400 w 5118"/>
              <a:gd name="T3" fmla="*/ 3515 h 3614"/>
              <a:gd name="T4" fmla="*/ 4242 w 5118"/>
              <a:gd name="T5" fmla="*/ 3597 h 3614"/>
              <a:gd name="T6" fmla="*/ 560 w 5118"/>
              <a:gd name="T7" fmla="*/ 3614 h 3614"/>
              <a:gd name="T8" fmla="*/ 492 w 5118"/>
              <a:gd name="T9" fmla="*/ 3582 h 3614"/>
              <a:gd name="T10" fmla="*/ 473 w 5118"/>
              <a:gd name="T11" fmla="*/ 3512 h 3614"/>
              <a:gd name="T12" fmla="*/ 498 w 5118"/>
              <a:gd name="T13" fmla="*/ 3447 h 3614"/>
              <a:gd name="T14" fmla="*/ 499 w 5118"/>
              <a:gd name="T15" fmla="*/ 3333 h 3614"/>
              <a:gd name="T16" fmla="*/ 445 w 5118"/>
              <a:gd name="T17" fmla="*/ 3234 h 3614"/>
              <a:gd name="T18" fmla="*/ 352 w 5118"/>
              <a:gd name="T19" fmla="*/ 3158 h 3614"/>
              <a:gd name="T20" fmla="*/ 209 w 5118"/>
              <a:gd name="T21" fmla="*/ 2993 h 3614"/>
              <a:gd name="T22" fmla="*/ 119 w 5118"/>
              <a:gd name="T23" fmla="*/ 2795 h 3614"/>
              <a:gd name="T24" fmla="*/ 88 w 5118"/>
              <a:gd name="T25" fmla="*/ 2577 h 3614"/>
              <a:gd name="T26" fmla="*/ 3260 w 5118"/>
              <a:gd name="T27" fmla="*/ 2290 h 3614"/>
              <a:gd name="T28" fmla="*/ 3297 w 5118"/>
              <a:gd name="T29" fmla="*/ 2180 h 3614"/>
              <a:gd name="T30" fmla="*/ 3393 w 5118"/>
              <a:gd name="T31" fmla="*/ 2120 h 3614"/>
              <a:gd name="T32" fmla="*/ 699 w 5118"/>
              <a:gd name="T33" fmla="*/ 1870 h 3614"/>
              <a:gd name="T34" fmla="*/ 699 w 5118"/>
              <a:gd name="T35" fmla="*/ 1606 h 3614"/>
              <a:gd name="T36" fmla="*/ 4169 w 5118"/>
              <a:gd name="T37" fmla="*/ 1415 h 3614"/>
              <a:gd name="T38" fmla="*/ 4225 w 5118"/>
              <a:gd name="T39" fmla="*/ 1471 h 3614"/>
              <a:gd name="T40" fmla="*/ 4225 w 5118"/>
              <a:gd name="T41" fmla="*/ 1879 h 3614"/>
              <a:gd name="T42" fmla="*/ 4169 w 5118"/>
              <a:gd name="T43" fmla="*/ 1935 h 3614"/>
              <a:gd name="T44" fmla="*/ 3407 w 5118"/>
              <a:gd name="T45" fmla="*/ 1935 h 3614"/>
              <a:gd name="T46" fmla="*/ 3352 w 5118"/>
              <a:gd name="T47" fmla="*/ 1879 h 3614"/>
              <a:gd name="T48" fmla="*/ 3352 w 5118"/>
              <a:gd name="T49" fmla="*/ 1471 h 3614"/>
              <a:gd name="T50" fmla="*/ 3407 w 5118"/>
              <a:gd name="T51" fmla="*/ 1415 h 3614"/>
              <a:gd name="T52" fmla="*/ 2114 w 5118"/>
              <a:gd name="T53" fmla="*/ 1322 h 3614"/>
              <a:gd name="T54" fmla="*/ 2185 w 5118"/>
              <a:gd name="T55" fmla="*/ 1358 h 3614"/>
              <a:gd name="T56" fmla="*/ 2202 w 5118"/>
              <a:gd name="T57" fmla="*/ 2115 h 3614"/>
              <a:gd name="T58" fmla="*/ 2167 w 5118"/>
              <a:gd name="T59" fmla="*/ 2186 h 3614"/>
              <a:gd name="T60" fmla="*/ 1410 w 5118"/>
              <a:gd name="T61" fmla="*/ 2203 h 3614"/>
              <a:gd name="T62" fmla="*/ 1338 w 5118"/>
              <a:gd name="T63" fmla="*/ 2168 h 3614"/>
              <a:gd name="T64" fmla="*/ 1321 w 5118"/>
              <a:gd name="T65" fmla="*/ 1410 h 3614"/>
              <a:gd name="T66" fmla="*/ 1357 w 5118"/>
              <a:gd name="T67" fmla="*/ 1339 h 3614"/>
              <a:gd name="T68" fmla="*/ 699 w 5118"/>
              <a:gd name="T69" fmla="*/ 1184 h 3614"/>
              <a:gd name="T70" fmla="*/ 986 w 5118"/>
              <a:gd name="T71" fmla="*/ 1184 h 3614"/>
              <a:gd name="T72" fmla="*/ 3083 w 5118"/>
              <a:gd name="T73" fmla="*/ 1056 h 3614"/>
              <a:gd name="T74" fmla="*/ 3155 w 5118"/>
              <a:gd name="T75" fmla="*/ 1094 h 3614"/>
              <a:gd name="T76" fmla="*/ 3172 w 5118"/>
              <a:gd name="T77" fmla="*/ 2115 h 3614"/>
              <a:gd name="T78" fmla="*/ 3136 w 5118"/>
              <a:gd name="T79" fmla="*/ 2186 h 3614"/>
              <a:gd name="T80" fmla="*/ 2466 w 5118"/>
              <a:gd name="T81" fmla="*/ 2203 h 3614"/>
              <a:gd name="T82" fmla="*/ 2396 w 5118"/>
              <a:gd name="T83" fmla="*/ 2168 h 3614"/>
              <a:gd name="T84" fmla="*/ 2379 w 5118"/>
              <a:gd name="T85" fmla="*/ 1145 h 3614"/>
              <a:gd name="T86" fmla="*/ 2415 w 5118"/>
              <a:gd name="T87" fmla="*/ 1074 h 3614"/>
              <a:gd name="T88" fmla="*/ 617 w 5118"/>
              <a:gd name="T89" fmla="*/ 0 h 3614"/>
              <a:gd name="T90" fmla="*/ 932 w 5118"/>
              <a:gd name="T91" fmla="*/ 523 h 3614"/>
              <a:gd name="T92" fmla="*/ 704 w 5118"/>
              <a:gd name="T93" fmla="*/ 881 h 3614"/>
              <a:gd name="T94" fmla="*/ 1145 w 5118"/>
              <a:gd name="T95" fmla="*/ 2203 h 3614"/>
              <a:gd name="T96" fmla="*/ 0 w 5118"/>
              <a:gd name="T97" fmla="*/ 1056 h 3614"/>
              <a:gd name="T98" fmla="*/ 617 w 5118"/>
              <a:gd name="T99" fmla="*/ 625 h 3614"/>
              <a:gd name="T100" fmla="*/ 617 w 5118"/>
              <a:gd name="T101" fmla="*/ 523 h 3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18" h="3614">
                <a:moveTo>
                  <a:pt x="3434" y="2115"/>
                </a:moveTo>
                <a:lnTo>
                  <a:pt x="5118" y="2115"/>
                </a:lnTo>
                <a:lnTo>
                  <a:pt x="4513" y="3375"/>
                </a:lnTo>
                <a:lnTo>
                  <a:pt x="4482" y="3428"/>
                </a:lnTo>
                <a:lnTo>
                  <a:pt x="4443" y="3475"/>
                </a:lnTo>
                <a:lnTo>
                  <a:pt x="4400" y="3515"/>
                </a:lnTo>
                <a:lnTo>
                  <a:pt x="4352" y="3549"/>
                </a:lnTo>
                <a:lnTo>
                  <a:pt x="4299" y="3577"/>
                </a:lnTo>
                <a:lnTo>
                  <a:pt x="4242" y="3597"/>
                </a:lnTo>
                <a:lnTo>
                  <a:pt x="4183" y="3610"/>
                </a:lnTo>
                <a:lnTo>
                  <a:pt x="4122" y="3614"/>
                </a:lnTo>
                <a:lnTo>
                  <a:pt x="560" y="3614"/>
                </a:lnTo>
                <a:lnTo>
                  <a:pt x="534" y="3610"/>
                </a:lnTo>
                <a:lnTo>
                  <a:pt x="510" y="3599"/>
                </a:lnTo>
                <a:lnTo>
                  <a:pt x="492" y="3582"/>
                </a:lnTo>
                <a:lnTo>
                  <a:pt x="479" y="3561"/>
                </a:lnTo>
                <a:lnTo>
                  <a:pt x="473" y="3537"/>
                </a:lnTo>
                <a:lnTo>
                  <a:pt x="473" y="3512"/>
                </a:lnTo>
                <a:lnTo>
                  <a:pt x="481" y="3485"/>
                </a:lnTo>
                <a:lnTo>
                  <a:pt x="482" y="3482"/>
                </a:lnTo>
                <a:lnTo>
                  <a:pt x="498" y="3447"/>
                </a:lnTo>
                <a:lnTo>
                  <a:pt x="506" y="3408"/>
                </a:lnTo>
                <a:lnTo>
                  <a:pt x="506" y="3371"/>
                </a:lnTo>
                <a:lnTo>
                  <a:pt x="499" y="3333"/>
                </a:lnTo>
                <a:lnTo>
                  <a:pt x="489" y="3298"/>
                </a:lnTo>
                <a:lnTo>
                  <a:pt x="470" y="3263"/>
                </a:lnTo>
                <a:lnTo>
                  <a:pt x="445" y="3234"/>
                </a:lnTo>
                <a:lnTo>
                  <a:pt x="416" y="3208"/>
                </a:lnTo>
                <a:lnTo>
                  <a:pt x="411" y="3205"/>
                </a:lnTo>
                <a:lnTo>
                  <a:pt x="352" y="3158"/>
                </a:lnTo>
                <a:lnTo>
                  <a:pt x="299" y="3108"/>
                </a:lnTo>
                <a:lnTo>
                  <a:pt x="251" y="3052"/>
                </a:lnTo>
                <a:lnTo>
                  <a:pt x="209" y="2993"/>
                </a:lnTo>
                <a:lnTo>
                  <a:pt x="174" y="2930"/>
                </a:lnTo>
                <a:lnTo>
                  <a:pt x="143" y="2865"/>
                </a:lnTo>
                <a:lnTo>
                  <a:pt x="119" y="2795"/>
                </a:lnTo>
                <a:lnTo>
                  <a:pt x="102" y="2723"/>
                </a:lnTo>
                <a:lnTo>
                  <a:pt x="92" y="2652"/>
                </a:lnTo>
                <a:lnTo>
                  <a:pt x="88" y="2577"/>
                </a:lnTo>
                <a:lnTo>
                  <a:pt x="88" y="2292"/>
                </a:lnTo>
                <a:lnTo>
                  <a:pt x="3260" y="2292"/>
                </a:lnTo>
                <a:lnTo>
                  <a:pt x="3260" y="2290"/>
                </a:lnTo>
                <a:lnTo>
                  <a:pt x="3265" y="2250"/>
                </a:lnTo>
                <a:lnTo>
                  <a:pt x="3277" y="2213"/>
                </a:lnTo>
                <a:lnTo>
                  <a:pt x="3297" y="2180"/>
                </a:lnTo>
                <a:lnTo>
                  <a:pt x="3325" y="2154"/>
                </a:lnTo>
                <a:lnTo>
                  <a:pt x="3358" y="2134"/>
                </a:lnTo>
                <a:lnTo>
                  <a:pt x="3393" y="2120"/>
                </a:lnTo>
                <a:lnTo>
                  <a:pt x="3434" y="2115"/>
                </a:lnTo>
                <a:close/>
                <a:moveTo>
                  <a:pt x="699" y="1606"/>
                </a:moveTo>
                <a:lnTo>
                  <a:pt x="699" y="1870"/>
                </a:lnTo>
                <a:lnTo>
                  <a:pt x="986" y="1870"/>
                </a:lnTo>
                <a:lnTo>
                  <a:pt x="986" y="1606"/>
                </a:lnTo>
                <a:lnTo>
                  <a:pt x="699" y="1606"/>
                </a:lnTo>
                <a:close/>
                <a:moveTo>
                  <a:pt x="3435" y="1410"/>
                </a:moveTo>
                <a:lnTo>
                  <a:pt x="4141" y="1410"/>
                </a:lnTo>
                <a:lnTo>
                  <a:pt x="4169" y="1415"/>
                </a:lnTo>
                <a:lnTo>
                  <a:pt x="4192" y="1427"/>
                </a:lnTo>
                <a:lnTo>
                  <a:pt x="4212" y="1446"/>
                </a:lnTo>
                <a:lnTo>
                  <a:pt x="4225" y="1471"/>
                </a:lnTo>
                <a:lnTo>
                  <a:pt x="4228" y="1499"/>
                </a:lnTo>
                <a:lnTo>
                  <a:pt x="4228" y="1851"/>
                </a:lnTo>
                <a:lnTo>
                  <a:pt x="4225" y="1879"/>
                </a:lnTo>
                <a:lnTo>
                  <a:pt x="4212" y="1902"/>
                </a:lnTo>
                <a:lnTo>
                  <a:pt x="4192" y="1923"/>
                </a:lnTo>
                <a:lnTo>
                  <a:pt x="4169" y="1935"/>
                </a:lnTo>
                <a:lnTo>
                  <a:pt x="4141" y="1940"/>
                </a:lnTo>
                <a:lnTo>
                  <a:pt x="3435" y="1940"/>
                </a:lnTo>
                <a:lnTo>
                  <a:pt x="3407" y="1935"/>
                </a:lnTo>
                <a:lnTo>
                  <a:pt x="3384" y="1923"/>
                </a:lnTo>
                <a:lnTo>
                  <a:pt x="3364" y="1902"/>
                </a:lnTo>
                <a:lnTo>
                  <a:pt x="3352" y="1879"/>
                </a:lnTo>
                <a:lnTo>
                  <a:pt x="3347" y="1851"/>
                </a:lnTo>
                <a:lnTo>
                  <a:pt x="3347" y="1499"/>
                </a:lnTo>
                <a:lnTo>
                  <a:pt x="3352" y="1471"/>
                </a:lnTo>
                <a:lnTo>
                  <a:pt x="3364" y="1446"/>
                </a:lnTo>
                <a:lnTo>
                  <a:pt x="3384" y="1427"/>
                </a:lnTo>
                <a:lnTo>
                  <a:pt x="3407" y="1415"/>
                </a:lnTo>
                <a:lnTo>
                  <a:pt x="3435" y="1410"/>
                </a:lnTo>
                <a:close/>
                <a:moveTo>
                  <a:pt x="1410" y="1322"/>
                </a:moveTo>
                <a:lnTo>
                  <a:pt x="2114" y="1322"/>
                </a:lnTo>
                <a:lnTo>
                  <a:pt x="2142" y="1327"/>
                </a:lnTo>
                <a:lnTo>
                  <a:pt x="2167" y="1339"/>
                </a:lnTo>
                <a:lnTo>
                  <a:pt x="2185" y="1358"/>
                </a:lnTo>
                <a:lnTo>
                  <a:pt x="2198" y="1382"/>
                </a:lnTo>
                <a:lnTo>
                  <a:pt x="2202" y="1410"/>
                </a:lnTo>
                <a:lnTo>
                  <a:pt x="2202" y="2115"/>
                </a:lnTo>
                <a:lnTo>
                  <a:pt x="2198" y="2143"/>
                </a:lnTo>
                <a:lnTo>
                  <a:pt x="2185" y="2168"/>
                </a:lnTo>
                <a:lnTo>
                  <a:pt x="2167" y="2186"/>
                </a:lnTo>
                <a:lnTo>
                  <a:pt x="2142" y="2199"/>
                </a:lnTo>
                <a:lnTo>
                  <a:pt x="2114" y="2203"/>
                </a:lnTo>
                <a:lnTo>
                  <a:pt x="1410" y="2203"/>
                </a:lnTo>
                <a:lnTo>
                  <a:pt x="1382" y="2199"/>
                </a:lnTo>
                <a:lnTo>
                  <a:pt x="1357" y="2186"/>
                </a:lnTo>
                <a:lnTo>
                  <a:pt x="1338" y="2168"/>
                </a:lnTo>
                <a:lnTo>
                  <a:pt x="1326" y="2143"/>
                </a:lnTo>
                <a:lnTo>
                  <a:pt x="1321" y="2115"/>
                </a:lnTo>
                <a:lnTo>
                  <a:pt x="1321" y="1410"/>
                </a:lnTo>
                <a:lnTo>
                  <a:pt x="1326" y="1382"/>
                </a:lnTo>
                <a:lnTo>
                  <a:pt x="1338" y="1358"/>
                </a:lnTo>
                <a:lnTo>
                  <a:pt x="1357" y="1339"/>
                </a:lnTo>
                <a:lnTo>
                  <a:pt x="1382" y="1327"/>
                </a:lnTo>
                <a:lnTo>
                  <a:pt x="1410" y="1322"/>
                </a:lnTo>
                <a:close/>
                <a:moveTo>
                  <a:pt x="699" y="1184"/>
                </a:moveTo>
                <a:lnTo>
                  <a:pt x="699" y="1448"/>
                </a:lnTo>
                <a:lnTo>
                  <a:pt x="986" y="1448"/>
                </a:lnTo>
                <a:lnTo>
                  <a:pt x="986" y="1184"/>
                </a:lnTo>
                <a:lnTo>
                  <a:pt x="699" y="1184"/>
                </a:lnTo>
                <a:close/>
                <a:moveTo>
                  <a:pt x="2466" y="1056"/>
                </a:moveTo>
                <a:lnTo>
                  <a:pt x="3083" y="1056"/>
                </a:lnTo>
                <a:lnTo>
                  <a:pt x="3111" y="1061"/>
                </a:lnTo>
                <a:lnTo>
                  <a:pt x="3136" y="1074"/>
                </a:lnTo>
                <a:lnTo>
                  <a:pt x="3155" y="1094"/>
                </a:lnTo>
                <a:lnTo>
                  <a:pt x="3167" y="1117"/>
                </a:lnTo>
                <a:lnTo>
                  <a:pt x="3172" y="1145"/>
                </a:lnTo>
                <a:lnTo>
                  <a:pt x="3172" y="2115"/>
                </a:lnTo>
                <a:lnTo>
                  <a:pt x="3167" y="2143"/>
                </a:lnTo>
                <a:lnTo>
                  <a:pt x="3155" y="2168"/>
                </a:lnTo>
                <a:lnTo>
                  <a:pt x="3136" y="2186"/>
                </a:lnTo>
                <a:lnTo>
                  <a:pt x="3111" y="2199"/>
                </a:lnTo>
                <a:lnTo>
                  <a:pt x="3083" y="2203"/>
                </a:lnTo>
                <a:lnTo>
                  <a:pt x="2466" y="2203"/>
                </a:lnTo>
                <a:lnTo>
                  <a:pt x="2438" y="2199"/>
                </a:lnTo>
                <a:lnTo>
                  <a:pt x="2415" y="2186"/>
                </a:lnTo>
                <a:lnTo>
                  <a:pt x="2396" y="2168"/>
                </a:lnTo>
                <a:lnTo>
                  <a:pt x="2384" y="2143"/>
                </a:lnTo>
                <a:lnTo>
                  <a:pt x="2379" y="2115"/>
                </a:lnTo>
                <a:lnTo>
                  <a:pt x="2379" y="1145"/>
                </a:lnTo>
                <a:lnTo>
                  <a:pt x="2384" y="1117"/>
                </a:lnTo>
                <a:lnTo>
                  <a:pt x="2396" y="1094"/>
                </a:lnTo>
                <a:lnTo>
                  <a:pt x="2415" y="1074"/>
                </a:lnTo>
                <a:lnTo>
                  <a:pt x="2438" y="1061"/>
                </a:lnTo>
                <a:lnTo>
                  <a:pt x="2466" y="1056"/>
                </a:lnTo>
                <a:close/>
                <a:moveTo>
                  <a:pt x="617" y="0"/>
                </a:moveTo>
                <a:lnTo>
                  <a:pt x="704" y="0"/>
                </a:lnTo>
                <a:lnTo>
                  <a:pt x="704" y="523"/>
                </a:lnTo>
                <a:lnTo>
                  <a:pt x="932" y="523"/>
                </a:lnTo>
                <a:lnTo>
                  <a:pt x="932" y="625"/>
                </a:lnTo>
                <a:lnTo>
                  <a:pt x="704" y="625"/>
                </a:lnTo>
                <a:lnTo>
                  <a:pt x="704" y="881"/>
                </a:lnTo>
                <a:lnTo>
                  <a:pt x="1365" y="881"/>
                </a:lnTo>
                <a:lnTo>
                  <a:pt x="1145" y="1056"/>
                </a:lnTo>
                <a:lnTo>
                  <a:pt x="1145" y="2203"/>
                </a:lnTo>
                <a:lnTo>
                  <a:pt x="264" y="2203"/>
                </a:lnTo>
                <a:lnTo>
                  <a:pt x="264" y="1056"/>
                </a:lnTo>
                <a:lnTo>
                  <a:pt x="0" y="1056"/>
                </a:lnTo>
                <a:lnTo>
                  <a:pt x="0" y="881"/>
                </a:lnTo>
                <a:lnTo>
                  <a:pt x="617" y="881"/>
                </a:lnTo>
                <a:lnTo>
                  <a:pt x="617" y="625"/>
                </a:lnTo>
                <a:lnTo>
                  <a:pt x="389" y="625"/>
                </a:lnTo>
                <a:lnTo>
                  <a:pt x="389" y="523"/>
                </a:lnTo>
                <a:lnTo>
                  <a:pt x="617" y="523"/>
                </a:lnTo>
                <a:lnTo>
                  <a:pt x="617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E951934C-A191-44BF-B4C7-F60276D50474}"/>
              </a:ext>
            </a:extLst>
          </p:cNvPr>
          <p:cNvGrpSpPr/>
          <p:nvPr/>
        </p:nvGrpSpPr>
        <p:grpSpPr>
          <a:xfrm>
            <a:off x="6223000" y="3881493"/>
            <a:ext cx="4974144" cy="119502"/>
            <a:chOff x="1790560" y="2376661"/>
            <a:chExt cx="4974144" cy="119502"/>
          </a:xfrm>
        </p:grpSpPr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6BEF45C3-CB1A-45D0-8BD9-E2BD6C109305}"/>
                </a:ext>
              </a:extLst>
            </p:cNvPr>
            <p:cNvSpPr/>
            <p:nvPr/>
          </p:nvSpPr>
          <p:spPr>
            <a:xfrm>
              <a:off x="1790560" y="2376661"/>
              <a:ext cx="4899802" cy="119502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63" name="Isosceles Triangle 362">
              <a:extLst>
                <a:ext uri="{FF2B5EF4-FFF2-40B4-BE49-F238E27FC236}">
                  <a16:creationId xmlns:a16="http://schemas.microsoft.com/office/drawing/2014/main" id="{42E977D9-6F6B-4DC0-B1C2-E97466B773B0}"/>
                </a:ext>
              </a:extLst>
            </p:cNvPr>
            <p:cNvSpPr/>
            <p:nvPr/>
          </p:nvSpPr>
          <p:spPr>
            <a:xfrm>
              <a:off x="6627758" y="2376661"/>
              <a:ext cx="136946" cy="119502"/>
            </a:xfrm>
            <a:prstGeom prst="triangl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65" name="Freeform 163">
            <a:extLst>
              <a:ext uri="{FF2B5EF4-FFF2-40B4-BE49-F238E27FC236}">
                <a16:creationId xmlns:a16="http://schemas.microsoft.com/office/drawing/2014/main" id="{AD839593-0062-4090-B1C0-5802F54E1D5D}"/>
              </a:ext>
            </a:extLst>
          </p:cNvPr>
          <p:cNvSpPr>
            <a:spLocks noEditPoints="1"/>
          </p:cNvSpPr>
          <p:nvPr/>
        </p:nvSpPr>
        <p:spPr bwMode="auto">
          <a:xfrm>
            <a:off x="10020095" y="3725102"/>
            <a:ext cx="566595" cy="249222"/>
          </a:xfrm>
          <a:custGeom>
            <a:avLst/>
            <a:gdLst>
              <a:gd name="T0" fmla="*/ 4000 w 5118"/>
              <a:gd name="T1" fmla="*/ 1572 h 2799"/>
              <a:gd name="T2" fmla="*/ 4031 w 5118"/>
              <a:gd name="T3" fmla="*/ 1622 h 2799"/>
              <a:gd name="T4" fmla="*/ 4111 w 5118"/>
              <a:gd name="T5" fmla="*/ 2441 h 2799"/>
              <a:gd name="T6" fmla="*/ 4049 w 5118"/>
              <a:gd name="T7" fmla="*/ 2597 h 2799"/>
              <a:gd name="T8" fmla="*/ 3930 w 5118"/>
              <a:gd name="T9" fmla="*/ 2717 h 2799"/>
              <a:gd name="T10" fmla="*/ 3763 w 5118"/>
              <a:gd name="T11" fmla="*/ 2796 h 2799"/>
              <a:gd name="T12" fmla="*/ 3677 w 5118"/>
              <a:gd name="T13" fmla="*/ 2788 h 2799"/>
              <a:gd name="T14" fmla="*/ 2973 w 5118"/>
              <a:gd name="T15" fmla="*/ 2006 h 2799"/>
              <a:gd name="T16" fmla="*/ 2958 w 5118"/>
              <a:gd name="T17" fmla="*/ 1943 h 2799"/>
              <a:gd name="T18" fmla="*/ 3001 w 5118"/>
              <a:gd name="T19" fmla="*/ 1896 h 2799"/>
              <a:gd name="T20" fmla="*/ 1044 w 5118"/>
              <a:gd name="T21" fmla="*/ 0 h 2799"/>
              <a:gd name="T22" fmla="*/ 2950 w 5118"/>
              <a:gd name="T23" fmla="*/ 485 h 2799"/>
              <a:gd name="T24" fmla="*/ 3294 w 5118"/>
              <a:gd name="T25" fmla="*/ 357 h 2799"/>
              <a:gd name="T26" fmla="*/ 3617 w 5118"/>
              <a:gd name="T27" fmla="*/ 250 h 2799"/>
              <a:gd name="T28" fmla="*/ 3905 w 5118"/>
              <a:gd name="T29" fmla="*/ 172 h 2799"/>
              <a:gd name="T30" fmla="*/ 4153 w 5118"/>
              <a:gd name="T31" fmla="*/ 127 h 2799"/>
              <a:gd name="T32" fmla="*/ 4409 w 5118"/>
              <a:gd name="T33" fmla="*/ 121 h 2799"/>
              <a:gd name="T34" fmla="*/ 3980 w 5118"/>
              <a:gd name="T35" fmla="*/ 546 h 2799"/>
              <a:gd name="T36" fmla="*/ 4901 w 5118"/>
              <a:gd name="T37" fmla="*/ 199 h 2799"/>
              <a:gd name="T38" fmla="*/ 5017 w 5118"/>
              <a:gd name="T39" fmla="*/ 262 h 2799"/>
              <a:gd name="T40" fmla="*/ 5092 w 5118"/>
              <a:gd name="T41" fmla="*/ 354 h 2799"/>
              <a:gd name="T42" fmla="*/ 5118 w 5118"/>
              <a:gd name="T43" fmla="*/ 478 h 2799"/>
              <a:gd name="T44" fmla="*/ 5071 w 5118"/>
              <a:gd name="T45" fmla="*/ 642 h 2799"/>
              <a:gd name="T46" fmla="*/ 4941 w 5118"/>
              <a:gd name="T47" fmla="*/ 805 h 2799"/>
              <a:gd name="T48" fmla="*/ 4736 w 5118"/>
              <a:gd name="T49" fmla="*/ 968 h 2799"/>
              <a:gd name="T50" fmla="*/ 4471 w 5118"/>
              <a:gd name="T51" fmla="*/ 1129 h 2799"/>
              <a:gd name="T52" fmla="*/ 4153 w 5118"/>
              <a:gd name="T53" fmla="*/ 1285 h 2799"/>
              <a:gd name="T54" fmla="*/ 3797 w 5118"/>
              <a:gd name="T55" fmla="*/ 1437 h 2799"/>
              <a:gd name="T56" fmla="*/ 3412 w 5118"/>
              <a:gd name="T57" fmla="*/ 1583 h 2799"/>
              <a:gd name="T58" fmla="*/ 3012 w 5118"/>
              <a:gd name="T59" fmla="*/ 1720 h 2799"/>
              <a:gd name="T60" fmla="*/ 2604 w 5118"/>
              <a:gd name="T61" fmla="*/ 1847 h 2799"/>
              <a:gd name="T62" fmla="*/ 2204 w 5118"/>
              <a:gd name="T63" fmla="*/ 1961 h 2799"/>
              <a:gd name="T64" fmla="*/ 1819 w 5118"/>
              <a:gd name="T65" fmla="*/ 2065 h 2799"/>
              <a:gd name="T66" fmla="*/ 1464 w 5118"/>
              <a:gd name="T67" fmla="*/ 2154 h 2799"/>
              <a:gd name="T68" fmla="*/ 1148 w 5118"/>
              <a:gd name="T69" fmla="*/ 2227 h 2799"/>
              <a:gd name="T70" fmla="*/ 882 w 5118"/>
              <a:gd name="T71" fmla="*/ 2284 h 2799"/>
              <a:gd name="T72" fmla="*/ 681 w 5118"/>
              <a:gd name="T73" fmla="*/ 2321 h 2799"/>
              <a:gd name="T74" fmla="*/ 551 w 5118"/>
              <a:gd name="T75" fmla="*/ 2338 h 2799"/>
              <a:gd name="T76" fmla="*/ 442 w 5118"/>
              <a:gd name="T77" fmla="*/ 2337 h 2799"/>
              <a:gd name="T78" fmla="*/ 319 w 5118"/>
              <a:gd name="T79" fmla="*/ 2317 h 2799"/>
              <a:gd name="T80" fmla="*/ 219 w 5118"/>
              <a:gd name="T81" fmla="*/ 2273 h 2799"/>
              <a:gd name="T82" fmla="*/ 154 w 5118"/>
              <a:gd name="T83" fmla="*/ 2200 h 2799"/>
              <a:gd name="T84" fmla="*/ 144 w 5118"/>
              <a:gd name="T85" fmla="*/ 2106 h 2799"/>
              <a:gd name="T86" fmla="*/ 200 w 5118"/>
              <a:gd name="T87" fmla="*/ 2013 h 2799"/>
              <a:gd name="T88" fmla="*/ 318 w 5118"/>
              <a:gd name="T89" fmla="*/ 1898 h 2799"/>
              <a:gd name="T90" fmla="*/ 6 w 5118"/>
              <a:gd name="T91" fmla="*/ 1338 h 2799"/>
              <a:gd name="T92" fmla="*/ 8 w 5118"/>
              <a:gd name="T93" fmla="*/ 1253 h 2799"/>
              <a:gd name="T94" fmla="*/ 59 w 5118"/>
              <a:gd name="T95" fmla="*/ 1186 h 2799"/>
              <a:gd name="T96" fmla="*/ 185 w 5118"/>
              <a:gd name="T97" fmla="*/ 1135 h 2799"/>
              <a:gd name="T98" fmla="*/ 332 w 5118"/>
              <a:gd name="T99" fmla="*/ 1134 h 2799"/>
              <a:gd name="T100" fmla="*/ 969 w 5118"/>
              <a:gd name="T101" fmla="*/ 1454 h 2799"/>
              <a:gd name="T102" fmla="*/ 1377 w 5118"/>
              <a:gd name="T103" fmla="*/ 1223 h 2799"/>
              <a:gd name="T104" fmla="*/ 614 w 5118"/>
              <a:gd name="T105" fmla="*/ 380 h 2799"/>
              <a:gd name="T106" fmla="*/ 558 w 5118"/>
              <a:gd name="T107" fmla="*/ 307 h 2799"/>
              <a:gd name="T108" fmla="*/ 558 w 5118"/>
              <a:gd name="T109" fmla="*/ 220 h 2799"/>
              <a:gd name="T110" fmla="*/ 616 w 5118"/>
              <a:gd name="T111" fmla="*/ 149 h 2799"/>
              <a:gd name="T112" fmla="*/ 833 w 5118"/>
              <a:gd name="T113" fmla="*/ 33 h 2799"/>
              <a:gd name="T114" fmla="*/ 1044 w 5118"/>
              <a:gd name="T115" fmla="*/ 0 h 2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18" h="2799">
                <a:moveTo>
                  <a:pt x="3961" y="1561"/>
                </a:moveTo>
                <a:lnTo>
                  <a:pt x="3981" y="1565"/>
                </a:lnTo>
                <a:lnTo>
                  <a:pt x="4000" y="1572"/>
                </a:lnTo>
                <a:lnTo>
                  <a:pt x="4015" y="1585"/>
                </a:lnTo>
                <a:lnTo>
                  <a:pt x="4026" y="1602"/>
                </a:lnTo>
                <a:lnTo>
                  <a:pt x="4031" y="1622"/>
                </a:lnTo>
                <a:lnTo>
                  <a:pt x="4113" y="2326"/>
                </a:lnTo>
                <a:lnTo>
                  <a:pt x="4116" y="2385"/>
                </a:lnTo>
                <a:lnTo>
                  <a:pt x="4111" y="2441"/>
                </a:lnTo>
                <a:lnTo>
                  <a:pt x="4098" y="2496"/>
                </a:lnTo>
                <a:lnTo>
                  <a:pt x="4077" y="2549"/>
                </a:lnTo>
                <a:lnTo>
                  <a:pt x="4049" y="2597"/>
                </a:lnTo>
                <a:lnTo>
                  <a:pt x="4015" y="2642"/>
                </a:lnTo>
                <a:lnTo>
                  <a:pt x="3977" y="2682"/>
                </a:lnTo>
                <a:lnTo>
                  <a:pt x="3930" y="2717"/>
                </a:lnTo>
                <a:lnTo>
                  <a:pt x="3879" y="2746"/>
                </a:lnTo>
                <a:lnTo>
                  <a:pt x="3790" y="2786"/>
                </a:lnTo>
                <a:lnTo>
                  <a:pt x="3763" y="2796"/>
                </a:lnTo>
                <a:lnTo>
                  <a:pt x="3735" y="2799"/>
                </a:lnTo>
                <a:lnTo>
                  <a:pt x="3705" y="2796"/>
                </a:lnTo>
                <a:lnTo>
                  <a:pt x="3677" y="2788"/>
                </a:lnTo>
                <a:lnTo>
                  <a:pt x="3652" y="2772"/>
                </a:lnTo>
                <a:lnTo>
                  <a:pt x="3631" y="2752"/>
                </a:lnTo>
                <a:lnTo>
                  <a:pt x="2973" y="2006"/>
                </a:lnTo>
                <a:lnTo>
                  <a:pt x="2961" y="1986"/>
                </a:lnTo>
                <a:lnTo>
                  <a:pt x="2956" y="1965"/>
                </a:lnTo>
                <a:lnTo>
                  <a:pt x="2958" y="1943"/>
                </a:lnTo>
                <a:lnTo>
                  <a:pt x="2967" y="1924"/>
                </a:lnTo>
                <a:lnTo>
                  <a:pt x="2981" y="1907"/>
                </a:lnTo>
                <a:lnTo>
                  <a:pt x="3001" y="1896"/>
                </a:lnTo>
                <a:lnTo>
                  <a:pt x="3941" y="1566"/>
                </a:lnTo>
                <a:lnTo>
                  <a:pt x="3961" y="1561"/>
                </a:lnTo>
                <a:close/>
                <a:moveTo>
                  <a:pt x="1044" y="0"/>
                </a:moveTo>
                <a:lnTo>
                  <a:pt x="1115" y="6"/>
                </a:lnTo>
                <a:lnTo>
                  <a:pt x="1186" y="20"/>
                </a:lnTo>
                <a:lnTo>
                  <a:pt x="2950" y="485"/>
                </a:lnTo>
                <a:lnTo>
                  <a:pt x="3068" y="441"/>
                </a:lnTo>
                <a:lnTo>
                  <a:pt x="3182" y="397"/>
                </a:lnTo>
                <a:lnTo>
                  <a:pt x="3294" y="357"/>
                </a:lnTo>
                <a:lnTo>
                  <a:pt x="3404" y="318"/>
                </a:lnTo>
                <a:lnTo>
                  <a:pt x="3513" y="282"/>
                </a:lnTo>
                <a:lnTo>
                  <a:pt x="3617" y="250"/>
                </a:lnTo>
                <a:lnTo>
                  <a:pt x="3716" y="220"/>
                </a:lnTo>
                <a:lnTo>
                  <a:pt x="3812" y="196"/>
                </a:lnTo>
                <a:lnTo>
                  <a:pt x="3905" y="172"/>
                </a:lnTo>
                <a:lnTo>
                  <a:pt x="3992" y="154"/>
                </a:lnTo>
                <a:lnTo>
                  <a:pt x="4076" y="138"/>
                </a:lnTo>
                <a:lnTo>
                  <a:pt x="4153" y="127"/>
                </a:lnTo>
                <a:lnTo>
                  <a:pt x="4225" y="121"/>
                </a:lnTo>
                <a:lnTo>
                  <a:pt x="4291" y="120"/>
                </a:lnTo>
                <a:lnTo>
                  <a:pt x="4409" y="121"/>
                </a:lnTo>
                <a:lnTo>
                  <a:pt x="4524" y="126"/>
                </a:lnTo>
                <a:lnTo>
                  <a:pt x="3992" y="366"/>
                </a:lnTo>
                <a:lnTo>
                  <a:pt x="3980" y="546"/>
                </a:lnTo>
                <a:lnTo>
                  <a:pt x="4802" y="168"/>
                </a:lnTo>
                <a:lnTo>
                  <a:pt x="4853" y="182"/>
                </a:lnTo>
                <a:lnTo>
                  <a:pt x="4901" y="199"/>
                </a:lnTo>
                <a:lnTo>
                  <a:pt x="4944" y="217"/>
                </a:lnTo>
                <a:lnTo>
                  <a:pt x="4983" y="237"/>
                </a:lnTo>
                <a:lnTo>
                  <a:pt x="5017" y="262"/>
                </a:lnTo>
                <a:lnTo>
                  <a:pt x="5048" y="289"/>
                </a:lnTo>
                <a:lnTo>
                  <a:pt x="5073" y="320"/>
                </a:lnTo>
                <a:lnTo>
                  <a:pt x="5092" y="354"/>
                </a:lnTo>
                <a:lnTo>
                  <a:pt x="5106" y="391"/>
                </a:lnTo>
                <a:lnTo>
                  <a:pt x="5115" y="433"/>
                </a:lnTo>
                <a:lnTo>
                  <a:pt x="5118" y="478"/>
                </a:lnTo>
                <a:lnTo>
                  <a:pt x="5113" y="532"/>
                </a:lnTo>
                <a:lnTo>
                  <a:pt x="5098" y="586"/>
                </a:lnTo>
                <a:lnTo>
                  <a:pt x="5071" y="642"/>
                </a:lnTo>
                <a:lnTo>
                  <a:pt x="5037" y="696"/>
                </a:lnTo>
                <a:lnTo>
                  <a:pt x="4994" y="751"/>
                </a:lnTo>
                <a:lnTo>
                  <a:pt x="4941" y="805"/>
                </a:lnTo>
                <a:lnTo>
                  <a:pt x="4881" y="859"/>
                </a:lnTo>
                <a:lnTo>
                  <a:pt x="4812" y="915"/>
                </a:lnTo>
                <a:lnTo>
                  <a:pt x="4736" y="968"/>
                </a:lnTo>
                <a:lnTo>
                  <a:pt x="4654" y="1022"/>
                </a:lnTo>
                <a:lnTo>
                  <a:pt x="4566" y="1076"/>
                </a:lnTo>
                <a:lnTo>
                  <a:pt x="4471" y="1129"/>
                </a:lnTo>
                <a:lnTo>
                  <a:pt x="4370" y="1182"/>
                </a:lnTo>
                <a:lnTo>
                  <a:pt x="4265" y="1234"/>
                </a:lnTo>
                <a:lnTo>
                  <a:pt x="4153" y="1285"/>
                </a:lnTo>
                <a:lnTo>
                  <a:pt x="4039" y="1337"/>
                </a:lnTo>
                <a:lnTo>
                  <a:pt x="3919" y="1388"/>
                </a:lnTo>
                <a:lnTo>
                  <a:pt x="3797" y="1437"/>
                </a:lnTo>
                <a:lnTo>
                  <a:pt x="3671" y="1487"/>
                </a:lnTo>
                <a:lnTo>
                  <a:pt x="3544" y="1535"/>
                </a:lnTo>
                <a:lnTo>
                  <a:pt x="3412" y="1583"/>
                </a:lnTo>
                <a:lnTo>
                  <a:pt x="3280" y="1630"/>
                </a:lnTo>
                <a:lnTo>
                  <a:pt x="3147" y="1675"/>
                </a:lnTo>
                <a:lnTo>
                  <a:pt x="3012" y="1720"/>
                </a:lnTo>
                <a:lnTo>
                  <a:pt x="2875" y="1763"/>
                </a:lnTo>
                <a:lnTo>
                  <a:pt x="2740" y="1805"/>
                </a:lnTo>
                <a:lnTo>
                  <a:pt x="2604" y="1847"/>
                </a:lnTo>
                <a:lnTo>
                  <a:pt x="2469" y="1886"/>
                </a:lnTo>
                <a:lnTo>
                  <a:pt x="2336" y="1924"/>
                </a:lnTo>
                <a:lnTo>
                  <a:pt x="2204" y="1961"/>
                </a:lnTo>
                <a:lnTo>
                  <a:pt x="2072" y="1997"/>
                </a:lnTo>
                <a:lnTo>
                  <a:pt x="1945" y="2031"/>
                </a:lnTo>
                <a:lnTo>
                  <a:pt x="1819" y="2065"/>
                </a:lnTo>
                <a:lnTo>
                  <a:pt x="1697" y="2096"/>
                </a:lnTo>
                <a:lnTo>
                  <a:pt x="1579" y="2126"/>
                </a:lnTo>
                <a:lnTo>
                  <a:pt x="1464" y="2154"/>
                </a:lnTo>
                <a:lnTo>
                  <a:pt x="1354" y="2180"/>
                </a:lnTo>
                <a:lnTo>
                  <a:pt x="1248" y="2205"/>
                </a:lnTo>
                <a:lnTo>
                  <a:pt x="1148" y="2227"/>
                </a:lnTo>
                <a:lnTo>
                  <a:pt x="1053" y="2248"/>
                </a:lnTo>
                <a:lnTo>
                  <a:pt x="965" y="2267"/>
                </a:lnTo>
                <a:lnTo>
                  <a:pt x="882" y="2284"/>
                </a:lnTo>
                <a:lnTo>
                  <a:pt x="808" y="2298"/>
                </a:lnTo>
                <a:lnTo>
                  <a:pt x="740" y="2310"/>
                </a:lnTo>
                <a:lnTo>
                  <a:pt x="681" y="2321"/>
                </a:lnTo>
                <a:lnTo>
                  <a:pt x="628" y="2329"/>
                </a:lnTo>
                <a:lnTo>
                  <a:pt x="585" y="2335"/>
                </a:lnTo>
                <a:lnTo>
                  <a:pt x="551" y="2338"/>
                </a:lnTo>
                <a:lnTo>
                  <a:pt x="527" y="2340"/>
                </a:lnTo>
                <a:lnTo>
                  <a:pt x="484" y="2340"/>
                </a:lnTo>
                <a:lnTo>
                  <a:pt x="442" y="2337"/>
                </a:lnTo>
                <a:lnTo>
                  <a:pt x="400" y="2332"/>
                </a:lnTo>
                <a:lnTo>
                  <a:pt x="360" y="2326"/>
                </a:lnTo>
                <a:lnTo>
                  <a:pt x="319" y="2317"/>
                </a:lnTo>
                <a:lnTo>
                  <a:pt x="282" y="2306"/>
                </a:lnTo>
                <a:lnTo>
                  <a:pt x="248" y="2290"/>
                </a:lnTo>
                <a:lnTo>
                  <a:pt x="219" y="2273"/>
                </a:lnTo>
                <a:lnTo>
                  <a:pt x="192" y="2253"/>
                </a:lnTo>
                <a:lnTo>
                  <a:pt x="171" y="2228"/>
                </a:lnTo>
                <a:lnTo>
                  <a:pt x="154" y="2200"/>
                </a:lnTo>
                <a:lnTo>
                  <a:pt x="143" y="2168"/>
                </a:lnTo>
                <a:lnTo>
                  <a:pt x="140" y="2132"/>
                </a:lnTo>
                <a:lnTo>
                  <a:pt x="144" y="2106"/>
                </a:lnTo>
                <a:lnTo>
                  <a:pt x="155" y="2078"/>
                </a:lnTo>
                <a:lnTo>
                  <a:pt x="174" y="2047"/>
                </a:lnTo>
                <a:lnTo>
                  <a:pt x="200" y="2013"/>
                </a:lnTo>
                <a:lnTo>
                  <a:pt x="233" y="1977"/>
                </a:lnTo>
                <a:lnTo>
                  <a:pt x="271" y="1938"/>
                </a:lnTo>
                <a:lnTo>
                  <a:pt x="318" y="1898"/>
                </a:lnTo>
                <a:lnTo>
                  <a:pt x="318" y="1898"/>
                </a:lnTo>
                <a:lnTo>
                  <a:pt x="17" y="1366"/>
                </a:lnTo>
                <a:lnTo>
                  <a:pt x="6" y="1338"/>
                </a:lnTo>
                <a:lnTo>
                  <a:pt x="0" y="1309"/>
                </a:lnTo>
                <a:lnTo>
                  <a:pt x="2" y="1281"/>
                </a:lnTo>
                <a:lnTo>
                  <a:pt x="8" y="1253"/>
                </a:lnTo>
                <a:lnTo>
                  <a:pt x="20" y="1228"/>
                </a:lnTo>
                <a:lnTo>
                  <a:pt x="37" y="1205"/>
                </a:lnTo>
                <a:lnTo>
                  <a:pt x="59" y="1186"/>
                </a:lnTo>
                <a:lnTo>
                  <a:pt x="85" y="1171"/>
                </a:lnTo>
                <a:lnTo>
                  <a:pt x="138" y="1151"/>
                </a:lnTo>
                <a:lnTo>
                  <a:pt x="185" y="1135"/>
                </a:lnTo>
                <a:lnTo>
                  <a:pt x="234" y="1127"/>
                </a:lnTo>
                <a:lnTo>
                  <a:pt x="282" y="1127"/>
                </a:lnTo>
                <a:lnTo>
                  <a:pt x="332" y="1134"/>
                </a:lnTo>
                <a:lnTo>
                  <a:pt x="378" y="1146"/>
                </a:lnTo>
                <a:lnTo>
                  <a:pt x="425" y="1166"/>
                </a:lnTo>
                <a:lnTo>
                  <a:pt x="969" y="1454"/>
                </a:lnTo>
                <a:lnTo>
                  <a:pt x="1100" y="1379"/>
                </a:lnTo>
                <a:lnTo>
                  <a:pt x="1236" y="1301"/>
                </a:lnTo>
                <a:lnTo>
                  <a:pt x="1377" y="1223"/>
                </a:lnTo>
                <a:lnTo>
                  <a:pt x="1523" y="1146"/>
                </a:lnTo>
                <a:lnTo>
                  <a:pt x="1673" y="1067"/>
                </a:lnTo>
                <a:lnTo>
                  <a:pt x="614" y="380"/>
                </a:lnTo>
                <a:lnTo>
                  <a:pt x="589" y="360"/>
                </a:lnTo>
                <a:lnTo>
                  <a:pt x="571" y="335"/>
                </a:lnTo>
                <a:lnTo>
                  <a:pt x="558" y="307"/>
                </a:lnTo>
                <a:lnTo>
                  <a:pt x="552" y="279"/>
                </a:lnTo>
                <a:lnTo>
                  <a:pt x="552" y="250"/>
                </a:lnTo>
                <a:lnTo>
                  <a:pt x="558" y="220"/>
                </a:lnTo>
                <a:lnTo>
                  <a:pt x="572" y="194"/>
                </a:lnTo>
                <a:lnTo>
                  <a:pt x="591" y="169"/>
                </a:lnTo>
                <a:lnTo>
                  <a:pt x="616" y="149"/>
                </a:lnTo>
                <a:lnTo>
                  <a:pt x="703" y="95"/>
                </a:lnTo>
                <a:lnTo>
                  <a:pt x="766" y="61"/>
                </a:lnTo>
                <a:lnTo>
                  <a:pt x="833" y="33"/>
                </a:lnTo>
                <a:lnTo>
                  <a:pt x="901" y="14"/>
                </a:lnTo>
                <a:lnTo>
                  <a:pt x="972" y="3"/>
                </a:lnTo>
                <a:lnTo>
                  <a:pt x="1044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67" name="Freeform 167">
            <a:extLst>
              <a:ext uri="{FF2B5EF4-FFF2-40B4-BE49-F238E27FC236}">
                <a16:creationId xmlns:a16="http://schemas.microsoft.com/office/drawing/2014/main" id="{AC6B0CCB-7045-4851-9FF8-1D365F4EC5C0}"/>
              </a:ext>
            </a:extLst>
          </p:cNvPr>
          <p:cNvSpPr>
            <a:spLocks noEditPoints="1"/>
          </p:cNvSpPr>
          <p:nvPr/>
        </p:nvSpPr>
        <p:spPr bwMode="auto">
          <a:xfrm>
            <a:off x="8956136" y="3681778"/>
            <a:ext cx="921861" cy="269195"/>
          </a:xfrm>
          <a:custGeom>
            <a:avLst/>
            <a:gdLst>
              <a:gd name="T0" fmla="*/ 15150 w 15320"/>
              <a:gd name="T1" fmla="*/ 4462 h 5561"/>
              <a:gd name="T2" fmla="*/ 0 w 15320"/>
              <a:gd name="T3" fmla="*/ 3340 h 5561"/>
              <a:gd name="T4" fmla="*/ 15320 w 15320"/>
              <a:gd name="T5" fmla="*/ 3631 h 5561"/>
              <a:gd name="T6" fmla="*/ 8120 w 15320"/>
              <a:gd name="T7" fmla="*/ 2508 h 5561"/>
              <a:gd name="T8" fmla="*/ 9573 w 15320"/>
              <a:gd name="T9" fmla="*/ 2761 h 5561"/>
              <a:gd name="T10" fmla="*/ 13108 w 15320"/>
              <a:gd name="T11" fmla="*/ 1621 h 5561"/>
              <a:gd name="T12" fmla="*/ 13027 w 15320"/>
              <a:gd name="T13" fmla="*/ 3455 h 5561"/>
              <a:gd name="T14" fmla="*/ 3853 w 15320"/>
              <a:gd name="T15" fmla="*/ 3068 h 5561"/>
              <a:gd name="T16" fmla="*/ 3926 w 15320"/>
              <a:gd name="T17" fmla="*/ 3248 h 5561"/>
              <a:gd name="T18" fmla="*/ 3930 w 15320"/>
              <a:gd name="T19" fmla="*/ 3431 h 5561"/>
              <a:gd name="T20" fmla="*/ 5397 w 15320"/>
              <a:gd name="T21" fmla="*/ 3438 h 5561"/>
              <a:gd name="T22" fmla="*/ 6850 w 15320"/>
              <a:gd name="T23" fmla="*/ 3075 h 5561"/>
              <a:gd name="T24" fmla="*/ 7414 w 15320"/>
              <a:gd name="T25" fmla="*/ 3068 h 5561"/>
              <a:gd name="T26" fmla="*/ 9806 w 15320"/>
              <a:gd name="T27" fmla="*/ 3424 h 5561"/>
              <a:gd name="T28" fmla="*/ 10273 w 15320"/>
              <a:gd name="T29" fmla="*/ 3441 h 5561"/>
              <a:gd name="T30" fmla="*/ 11744 w 15320"/>
              <a:gd name="T31" fmla="*/ 3252 h 5561"/>
              <a:gd name="T32" fmla="*/ 12277 w 15320"/>
              <a:gd name="T33" fmla="*/ 3071 h 5561"/>
              <a:gd name="T34" fmla="*/ 13893 w 15320"/>
              <a:gd name="T35" fmla="*/ 3068 h 5561"/>
              <a:gd name="T36" fmla="*/ 13893 w 15320"/>
              <a:gd name="T37" fmla="*/ 3255 h 5561"/>
              <a:gd name="T38" fmla="*/ 2383 w 15320"/>
              <a:gd name="T39" fmla="*/ 3071 h 5561"/>
              <a:gd name="T40" fmla="*/ 2853 w 15320"/>
              <a:gd name="T41" fmla="*/ 2655 h 5561"/>
              <a:gd name="T42" fmla="*/ 2920 w 15320"/>
              <a:gd name="T43" fmla="*/ 2655 h 5561"/>
              <a:gd name="T44" fmla="*/ 2920 w 15320"/>
              <a:gd name="T45" fmla="*/ 2835 h 5561"/>
              <a:gd name="T46" fmla="*/ 4860 w 15320"/>
              <a:gd name="T47" fmla="*/ 3008 h 5561"/>
              <a:gd name="T48" fmla="*/ 5867 w 15320"/>
              <a:gd name="T49" fmla="*/ 2835 h 5561"/>
              <a:gd name="T50" fmla="*/ 6407 w 15320"/>
              <a:gd name="T51" fmla="*/ 2655 h 5561"/>
              <a:gd name="T52" fmla="*/ 6947 w 15320"/>
              <a:gd name="T53" fmla="*/ 2835 h 5561"/>
              <a:gd name="T54" fmla="*/ 6947 w 15320"/>
              <a:gd name="T55" fmla="*/ 3015 h 5561"/>
              <a:gd name="T56" fmla="*/ 10733 w 15320"/>
              <a:gd name="T57" fmla="*/ 3015 h 5561"/>
              <a:gd name="T58" fmla="*/ 11273 w 15320"/>
              <a:gd name="T59" fmla="*/ 2655 h 5561"/>
              <a:gd name="T60" fmla="*/ 11813 w 15320"/>
              <a:gd name="T61" fmla="*/ 2655 h 5561"/>
              <a:gd name="T62" fmla="*/ 11813 w 15320"/>
              <a:gd name="T63" fmla="*/ 2835 h 5561"/>
              <a:gd name="T64" fmla="*/ 14363 w 15320"/>
              <a:gd name="T65" fmla="*/ 3011 h 5561"/>
              <a:gd name="T66" fmla="*/ 2853 w 15320"/>
              <a:gd name="T67" fmla="*/ 2408 h 5561"/>
              <a:gd name="T68" fmla="*/ 3387 w 15320"/>
              <a:gd name="T69" fmla="*/ 2228 h 5561"/>
              <a:gd name="T70" fmla="*/ 3922 w 15320"/>
              <a:gd name="T71" fmla="*/ 2408 h 5561"/>
              <a:gd name="T72" fmla="*/ 3923 w 15320"/>
              <a:gd name="T73" fmla="*/ 2588 h 5561"/>
              <a:gd name="T74" fmla="*/ 5867 w 15320"/>
              <a:gd name="T75" fmla="*/ 2588 h 5561"/>
              <a:gd name="T76" fmla="*/ 6880 w 15320"/>
              <a:gd name="T77" fmla="*/ 2228 h 5561"/>
              <a:gd name="T78" fmla="*/ 6947 w 15320"/>
              <a:gd name="T79" fmla="*/ 2228 h 5561"/>
              <a:gd name="T80" fmla="*/ 6947 w 15320"/>
              <a:gd name="T81" fmla="*/ 2408 h 5561"/>
              <a:gd name="T82" fmla="*/ 10267 w 15320"/>
              <a:gd name="T83" fmla="*/ 2588 h 5561"/>
              <a:gd name="T84" fmla="*/ 11747 w 15320"/>
              <a:gd name="T85" fmla="*/ 2408 h 5561"/>
              <a:gd name="T86" fmla="*/ 12280 w 15320"/>
              <a:gd name="T87" fmla="*/ 2228 h 5561"/>
              <a:gd name="T88" fmla="*/ 13893 w 15320"/>
              <a:gd name="T89" fmla="*/ 2408 h 5561"/>
              <a:gd name="T90" fmla="*/ 13893 w 15320"/>
              <a:gd name="T91" fmla="*/ 2588 h 5561"/>
              <a:gd name="T92" fmla="*/ 2853 w 15320"/>
              <a:gd name="T93" fmla="*/ 2161 h 5561"/>
              <a:gd name="T94" fmla="*/ 3853 w 15320"/>
              <a:gd name="T95" fmla="*/ 1801 h 5561"/>
              <a:gd name="T96" fmla="*/ 3922 w 15320"/>
              <a:gd name="T97" fmla="*/ 1953 h 5561"/>
              <a:gd name="T98" fmla="*/ 3934 w 15320"/>
              <a:gd name="T99" fmla="*/ 2161 h 5561"/>
              <a:gd name="T100" fmla="*/ 5867 w 15320"/>
              <a:gd name="T101" fmla="*/ 2161 h 5561"/>
              <a:gd name="T102" fmla="*/ 6880 w 15320"/>
              <a:gd name="T103" fmla="*/ 1801 h 5561"/>
              <a:gd name="T104" fmla="*/ 6947 w 15320"/>
              <a:gd name="T105" fmla="*/ 1801 h 5561"/>
              <a:gd name="T106" fmla="*/ 6947 w 15320"/>
              <a:gd name="T107" fmla="*/ 1981 h 5561"/>
              <a:gd name="T108" fmla="*/ 10266 w 15320"/>
              <a:gd name="T109" fmla="*/ 2161 h 5561"/>
              <a:gd name="T110" fmla="*/ 11747 w 15320"/>
              <a:gd name="T111" fmla="*/ 1981 h 5561"/>
              <a:gd name="T112" fmla="*/ 12280 w 15320"/>
              <a:gd name="T113" fmla="*/ 1801 h 5561"/>
              <a:gd name="T114" fmla="*/ 13893 w 15320"/>
              <a:gd name="T115" fmla="*/ 1981 h 5561"/>
              <a:gd name="T116" fmla="*/ 13893 w 15320"/>
              <a:gd name="T117" fmla="*/ 2161 h 5561"/>
              <a:gd name="T118" fmla="*/ 8840 w 15320"/>
              <a:gd name="T119" fmla="*/ 521 h 5561"/>
              <a:gd name="T120" fmla="*/ 9195 w 15320"/>
              <a:gd name="T121" fmla="*/ 1445 h 5561"/>
              <a:gd name="T122" fmla="*/ 8404 w 15320"/>
              <a:gd name="T123" fmla="*/ 1161 h 5561"/>
              <a:gd name="T124" fmla="*/ 8773 w 15320"/>
              <a:gd name="T125" fmla="*/ 1268 h 5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320" h="5561">
                <a:moveTo>
                  <a:pt x="1747" y="5550"/>
                </a:moveTo>
                <a:cubicBezTo>
                  <a:pt x="1747" y="5516"/>
                  <a:pt x="1812" y="5447"/>
                  <a:pt x="1860" y="5431"/>
                </a:cubicBezTo>
                <a:cubicBezTo>
                  <a:pt x="1940" y="5403"/>
                  <a:pt x="2040" y="5358"/>
                  <a:pt x="2041" y="5349"/>
                </a:cubicBezTo>
                <a:cubicBezTo>
                  <a:pt x="2041" y="5345"/>
                  <a:pt x="1838" y="5142"/>
                  <a:pt x="1591" y="4898"/>
                </a:cubicBezTo>
                <a:lnTo>
                  <a:pt x="1140" y="4456"/>
                </a:lnTo>
                <a:lnTo>
                  <a:pt x="8141" y="4455"/>
                </a:lnTo>
                <a:cubicBezTo>
                  <a:pt x="11992" y="4455"/>
                  <a:pt x="15146" y="4458"/>
                  <a:pt x="15150" y="4462"/>
                </a:cubicBezTo>
                <a:cubicBezTo>
                  <a:pt x="15154" y="4466"/>
                  <a:pt x="15152" y="4491"/>
                  <a:pt x="15146" y="4519"/>
                </a:cubicBezTo>
                <a:cubicBezTo>
                  <a:pt x="15139" y="4546"/>
                  <a:pt x="15122" y="4631"/>
                  <a:pt x="15108" y="4708"/>
                </a:cubicBezTo>
                <a:cubicBezTo>
                  <a:pt x="15063" y="4946"/>
                  <a:pt x="14950" y="5499"/>
                  <a:pt x="14938" y="5538"/>
                </a:cubicBezTo>
                <a:cubicBezTo>
                  <a:pt x="14932" y="5560"/>
                  <a:pt x="14606" y="5561"/>
                  <a:pt x="8339" y="5561"/>
                </a:cubicBezTo>
                <a:cubicBezTo>
                  <a:pt x="4713" y="5561"/>
                  <a:pt x="1747" y="5556"/>
                  <a:pt x="1747" y="5550"/>
                </a:cubicBezTo>
                <a:close/>
                <a:moveTo>
                  <a:pt x="740" y="4071"/>
                </a:moveTo>
                <a:cubicBezTo>
                  <a:pt x="167" y="3509"/>
                  <a:pt x="0" y="3345"/>
                  <a:pt x="0" y="3340"/>
                </a:cubicBezTo>
                <a:cubicBezTo>
                  <a:pt x="0" y="3337"/>
                  <a:pt x="584" y="3335"/>
                  <a:pt x="1298" y="3335"/>
                </a:cubicBezTo>
                <a:lnTo>
                  <a:pt x="2596" y="3336"/>
                </a:lnTo>
                <a:lnTo>
                  <a:pt x="2927" y="3469"/>
                </a:lnTo>
                <a:lnTo>
                  <a:pt x="3258" y="3602"/>
                </a:lnTo>
                <a:lnTo>
                  <a:pt x="9289" y="3601"/>
                </a:lnTo>
                <a:lnTo>
                  <a:pt x="15320" y="3601"/>
                </a:lnTo>
                <a:lnTo>
                  <a:pt x="15320" y="3631"/>
                </a:lnTo>
                <a:cubicBezTo>
                  <a:pt x="15320" y="3648"/>
                  <a:pt x="15297" y="3775"/>
                  <a:pt x="15268" y="3915"/>
                </a:cubicBezTo>
                <a:cubicBezTo>
                  <a:pt x="15240" y="4054"/>
                  <a:pt x="15213" y="4190"/>
                  <a:pt x="15208" y="4218"/>
                </a:cubicBezTo>
                <a:lnTo>
                  <a:pt x="15199" y="4268"/>
                </a:lnTo>
                <a:lnTo>
                  <a:pt x="8069" y="4268"/>
                </a:lnTo>
                <a:lnTo>
                  <a:pt x="940" y="4267"/>
                </a:lnTo>
                <a:lnTo>
                  <a:pt x="740" y="4071"/>
                </a:lnTo>
                <a:close/>
                <a:moveTo>
                  <a:pt x="8120" y="2508"/>
                </a:moveTo>
                <a:lnTo>
                  <a:pt x="8120" y="1561"/>
                </a:lnTo>
                <a:lnTo>
                  <a:pt x="8697" y="1562"/>
                </a:lnTo>
                <a:lnTo>
                  <a:pt x="9273" y="1562"/>
                </a:lnTo>
                <a:lnTo>
                  <a:pt x="9326" y="1652"/>
                </a:lnTo>
                <a:cubicBezTo>
                  <a:pt x="9355" y="1701"/>
                  <a:pt x="9422" y="1814"/>
                  <a:pt x="9476" y="1904"/>
                </a:cubicBezTo>
                <a:lnTo>
                  <a:pt x="9573" y="2067"/>
                </a:lnTo>
                <a:lnTo>
                  <a:pt x="9573" y="2761"/>
                </a:lnTo>
                <a:lnTo>
                  <a:pt x="9573" y="3455"/>
                </a:lnTo>
                <a:lnTo>
                  <a:pt x="8847" y="3455"/>
                </a:lnTo>
                <a:lnTo>
                  <a:pt x="8120" y="3455"/>
                </a:lnTo>
                <a:lnTo>
                  <a:pt x="8120" y="2508"/>
                </a:lnTo>
                <a:close/>
                <a:moveTo>
                  <a:pt x="13027" y="2716"/>
                </a:moveTo>
                <a:cubicBezTo>
                  <a:pt x="13027" y="2022"/>
                  <a:pt x="13028" y="1970"/>
                  <a:pt x="13054" y="1859"/>
                </a:cubicBezTo>
                <a:cubicBezTo>
                  <a:pt x="13068" y="1794"/>
                  <a:pt x="13093" y="1687"/>
                  <a:pt x="13108" y="1621"/>
                </a:cubicBezTo>
                <a:cubicBezTo>
                  <a:pt x="13123" y="1555"/>
                  <a:pt x="13138" y="1491"/>
                  <a:pt x="13142" y="1478"/>
                </a:cubicBezTo>
                <a:cubicBezTo>
                  <a:pt x="13148" y="1456"/>
                  <a:pt x="13168" y="1454"/>
                  <a:pt x="13384" y="1458"/>
                </a:cubicBezTo>
                <a:lnTo>
                  <a:pt x="13620" y="1461"/>
                </a:lnTo>
                <a:lnTo>
                  <a:pt x="13620" y="2455"/>
                </a:lnTo>
                <a:lnTo>
                  <a:pt x="13620" y="3448"/>
                </a:lnTo>
                <a:lnTo>
                  <a:pt x="13323" y="3452"/>
                </a:lnTo>
                <a:lnTo>
                  <a:pt x="13027" y="3455"/>
                </a:lnTo>
                <a:lnTo>
                  <a:pt x="13027" y="2716"/>
                </a:lnTo>
                <a:close/>
                <a:moveTo>
                  <a:pt x="3063" y="3384"/>
                </a:moveTo>
                <a:lnTo>
                  <a:pt x="2920" y="3328"/>
                </a:lnTo>
                <a:lnTo>
                  <a:pt x="2920" y="3198"/>
                </a:lnTo>
                <a:lnTo>
                  <a:pt x="2920" y="3068"/>
                </a:lnTo>
                <a:lnTo>
                  <a:pt x="3387" y="3068"/>
                </a:lnTo>
                <a:lnTo>
                  <a:pt x="3853" y="3068"/>
                </a:lnTo>
                <a:lnTo>
                  <a:pt x="3853" y="3254"/>
                </a:lnTo>
                <a:lnTo>
                  <a:pt x="3853" y="3440"/>
                </a:lnTo>
                <a:lnTo>
                  <a:pt x="3530" y="3440"/>
                </a:lnTo>
                <a:lnTo>
                  <a:pt x="3207" y="3440"/>
                </a:lnTo>
                <a:lnTo>
                  <a:pt x="3063" y="3384"/>
                </a:lnTo>
                <a:close/>
                <a:moveTo>
                  <a:pt x="3930" y="3431"/>
                </a:moveTo>
                <a:cubicBezTo>
                  <a:pt x="3928" y="3426"/>
                  <a:pt x="3926" y="3343"/>
                  <a:pt x="3926" y="3248"/>
                </a:cubicBezTo>
                <a:lnTo>
                  <a:pt x="3927" y="3075"/>
                </a:lnTo>
                <a:lnTo>
                  <a:pt x="4393" y="3075"/>
                </a:lnTo>
                <a:lnTo>
                  <a:pt x="4860" y="3075"/>
                </a:lnTo>
                <a:lnTo>
                  <a:pt x="4860" y="3255"/>
                </a:lnTo>
                <a:lnTo>
                  <a:pt x="4860" y="3435"/>
                </a:lnTo>
                <a:lnTo>
                  <a:pt x="4398" y="3438"/>
                </a:lnTo>
                <a:cubicBezTo>
                  <a:pt x="4143" y="3440"/>
                  <a:pt x="3933" y="3437"/>
                  <a:pt x="3930" y="3431"/>
                </a:cubicBezTo>
                <a:close/>
                <a:moveTo>
                  <a:pt x="4933" y="3255"/>
                </a:moveTo>
                <a:lnTo>
                  <a:pt x="4933" y="3068"/>
                </a:lnTo>
                <a:lnTo>
                  <a:pt x="5400" y="3068"/>
                </a:lnTo>
                <a:lnTo>
                  <a:pt x="5867" y="3068"/>
                </a:lnTo>
                <a:lnTo>
                  <a:pt x="5864" y="3251"/>
                </a:lnTo>
                <a:lnTo>
                  <a:pt x="5860" y="3435"/>
                </a:lnTo>
                <a:lnTo>
                  <a:pt x="5397" y="3438"/>
                </a:lnTo>
                <a:lnTo>
                  <a:pt x="4933" y="3442"/>
                </a:lnTo>
                <a:lnTo>
                  <a:pt x="4933" y="3255"/>
                </a:lnTo>
                <a:close/>
                <a:moveTo>
                  <a:pt x="5939" y="3424"/>
                </a:moveTo>
                <a:cubicBezTo>
                  <a:pt x="5936" y="3414"/>
                  <a:pt x="5934" y="3332"/>
                  <a:pt x="5936" y="3241"/>
                </a:cubicBezTo>
                <a:lnTo>
                  <a:pt x="5940" y="3075"/>
                </a:lnTo>
                <a:lnTo>
                  <a:pt x="6380" y="3071"/>
                </a:lnTo>
                <a:cubicBezTo>
                  <a:pt x="6622" y="3069"/>
                  <a:pt x="6834" y="3070"/>
                  <a:pt x="6850" y="3075"/>
                </a:cubicBezTo>
                <a:cubicBezTo>
                  <a:pt x="6880" y="3082"/>
                  <a:pt x="6881" y="3084"/>
                  <a:pt x="6877" y="3258"/>
                </a:cubicBezTo>
                <a:lnTo>
                  <a:pt x="6873" y="3435"/>
                </a:lnTo>
                <a:lnTo>
                  <a:pt x="6410" y="3438"/>
                </a:lnTo>
                <a:cubicBezTo>
                  <a:pt x="6036" y="3441"/>
                  <a:pt x="5945" y="3438"/>
                  <a:pt x="5939" y="3424"/>
                </a:cubicBezTo>
                <a:close/>
                <a:moveTo>
                  <a:pt x="6947" y="3254"/>
                </a:moveTo>
                <a:lnTo>
                  <a:pt x="6947" y="3068"/>
                </a:lnTo>
                <a:lnTo>
                  <a:pt x="7414" y="3068"/>
                </a:lnTo>
                <a:lnTo>
                  <a:pt x="7881" y="3068"/>
                </a:lnTo>
                <a:lnTo>
                  <a:pt x="7877" y="3251"/>
                </a:lnTo>
                <a:lnTo>
                  <a:pt x="7873" y="3435"/>
                </a:lnTo>
                <a:lnTo>
                  <a:pt x="7410" y="3437"/>
                </a:lnTo>
                <a:lnTo>
                  <a:pt x="6947" y="3440"/>
                </a:lnTo>
                <a:lnTo>
                  <a:pt x="6947" y="3254"/>
                </a:lnTo>
                <a:close/>
                <a:moveTo>
                  <a:pt x="9806" y="3424"/>
                </a:moveTo>
                <a:cubicBezTo>
                  <a:pt x="9802" y="3414"/>
                  <a:pt x="9801" y="3332"/>
                  <a:pt x="9803" y="3241"/>
                </a:cubicBezTo>
                <a:lnTo>
                  <a:pt x="9807" y="3075"/>
                </a:lnTo>
                <a:lnTo>
                  <a:pt x="10270" y="3071"/>
                </a:lnTo>
                <a:lnTo>
                  <a:pt x="10733" y="3068"/>
                </a:lnTo>
                <a:lnTo>
                  <a:pt x="10733" y="3254"/>
                </a:lnTo>
                <a:lnTo>
                  <a:pt x="10733" y="3441"/>
                </a:lnTo>
                <a:lnTo>
                  <a:pt x="10273" y="3441"/>
                </a:lnTo>
                <a:cubicBezTo>
                  <a:pt x="9906" y="3441"/>
                  <a:pt x="9811" y="3438"/>
                  <a:pt x="9806" y="3424"/>
                </a:cubicBezTo>
                <a:close/>
                <a:moveTo>
                  <a:pt x="10806" y="3424"/>
                </a:moveTo>
                <a:cubicBezTo>
                  <a:pt x="10802" y="3414"/>
                  <a:pt x="10801" y="3332"/>
                  <a:pt x="10803" y="3241"/>
                </a:cubicBezTo>
                <a:lnTo>
                  <a:pt x="10807" y="3075"/>
                </a:lnTo>
                <a:lnTo>
                  <a:pt x="11277" y="3072"/>
                </a:lnTo>
                <a:lnTo>
                  <a:pt x="11747" y="3069"/>
                </a:lnTo>
                <a:lnTo>
                  <a:pt x="11744" y="3252"/>
                </a:lnTo>
                <a:lnTo>
                  <a:pt x="11740" y="3435"/>
                </a:lnTo>
                <a:lnTo>
                  <a:pt x="11276" y="3438"/>
                </a:lnTo>
                <a:cubicBezTo>
                  <a:pt x="10902" y="3441"/>
                  <a:pt x="10811" y="3438"/>
                  <a:pt x="10806" y="3424"/>
                </a:cubicBezTo>
                <a:close/>
                <a:moveTo>
                  <a:pt x="11822" y="3432"/>
                </a:moveTo>
                <a:cubicBezTo>
                  <a:pt x="11817" y="3427"/>
                  <a:pt x="11813" y="3343"/>
                  <a:pt x="11813" y="3246"/>
                </a:cubicBezTo>
                <a:lnTo>
                  <a:pt x="11813" y="3068"/>
                </a:lnTo>
                <a:lnTo>
                  <a:pt x="12277" y="3071"/>
                </a:lnTo>
                <a:lnTo>
                  <a:pt x="12740" y="3075"/>
                </a:lnTo>
                <a:lnTo>
                  <a:pt x="12740" y="3255"/>
                </a:lnTo>
                <a:lnTo>
                  <a:pt x="12740" y="3435"/>
                </a:lnTo>
                <a:lnTo>
                  <a:pt x="12285" y="3437"/>
                </a:lnTo>
                <a:cubicBezTo>
                  <a:pt x="12035" y="3439"/>
                  <a:pt x="11826" y="3436"/>
                  <a:pt x="11822" y="3432"/>
                </a:cubicBezTo>
                <a:close/>
                <a:moveTo>
                  <a:pt x="13893" y="3255"/>
                </a:moveTo>
                <a:lnTo>
                  <a:pt x="13893" y="3068"/>
                </a:lnTo>
                <a:lnTo>
                  <a:pt x="14363" y="3071"/>
                </a:lnTo>
                <a:lnTo>
                  <a:pt x="14833" y="3075"/>
                </a:lnTo>
                <a:lnTo>
                  <a:pt x="14833" y="3255"/>
                </a:lnTo>
                <a:lnTo>
                  <a:pt x="14833" y="3435"/>
                </a:lnTo>
                <a:lnTo>
                  <a:pt x="14363" y="3438"/>
                </a:lnTo>
                <a:lnTo>
                  <a:pt x="13893" y="3442"/>
                </a:lnTo>
                <a:lnTo>
                  <a:pt x="13893" y="3255"/>
                </a:lnTo>
                <a:close/>
                <a:moveTo>
                  <a:pt x="2747" y="3257"/>
                </a:moveTo>
                <a:lnTo>
                  <a:pt x="2673" y="3221"/>
                </a:lnTo>
                <a:lnTo>
                  <a:pt x="2297" y="3217"/>
                </a:lnTo>
                <a:lnTo>
                  <a:pt x="1920" y="3213"/>
                </a:lnTo>
                <a:lnTo>
                  <a:pt x="1920" y="3141"/>
                </a:lnTo>
                <a:lnTo>
                  <a:pt x="1920" y="3068"/>
                </a:lnTo>
                <a:lnTo>
                  <a:pt x="2383" y="3071"/>
                </a:lnTo>
                <a:lnTo>
                  <a:pt x="2847" y="3075"/>
                </a:lnTo>
                <a:lnTo>
                  <a:pt x="2851" y="3185"/>
                </a:lnTo>
                <a:cubicBezTo>
                  <a:pt x="2855" y="3311"/>
                  <a:pt x="2856" y="3310"/>
                  <a:pt x="2747" y="3257"/>
                </a:cubicBezTo>
                <a:close/>
                <a:moveTo>
                  <a:pt x="1920" y="2835"/>
                </a:moveTo>
                <a:lnTo>
                  <a:pt x="1920" y="2655"/>
                </a:lnTo>
                <a:lnTo>
                  <a:pt x="2387" y="2655"/>
                </a:lnTo>
                <a:lnTo>
                  <a:pt x="2853" y="2655"/>
                </a:lnTo>
                <a:lnTo>
                  <a:pt x="2853" y="2835"/>
                </a:lnTo>
                <a:lnTo>
                  <a:pt x="2853" y="3015"/>
                </a:lnTo>
                <a:lnTo>
                  <a:pt x="2387" y="3015"/>
                </a:lnTo>
                <a:lnTo>
                  <a:pt x="1920" y="3015"/>
                </a:lnTo>
                <a:lnTo>
                  <a:pt x="1920" y="2835"/>
                </a:lnTo>
                <a:close/>
                <a:moveTo>
                  <a:pt x="2920" y="2835"/>
                </a:moveTo>
                <a:lnTo>
                  <a:pt x="2920" y="2655"/>
                </a:lnTo>
                <a:lnTo>
                  <a:pt x="3387" y="2655"/>
                </a:lnTo>
                <a:lnTo>
                  <a:pt x="3853" y="2655"/>
                </a:lnTo>
                <a:lnTo>
                  <a:pt x="3853" y="2835"/>
                </a:lnTo>
                <a:lnTo>
                  <a:pt x="3853" y="3015"/>
                </a:lnTo>
                <a:lnTo>
                  <a:pt x="3387" y="3015"/>
                </a:lnTo>
                <a:lnTo>
                  <a:pt x="2920" y="3015"/>
                </a:lnTo>
                <a:lnTo>
                  <a:pt x="2920" y="2835"/>
                </a:lnTo>
                <a:close/>
                <a:moveTo>
                  <a:pt x="3928" y="3003"/>
                </a:moveTo>
                <a:cubicBezTo>
                  <a:pt x="3924" y="2997"/>
                  <a:pt x="3921" y="2916"/>
                  <a:pt x="3922" y="2823"/>
                </a:cubicBezTo>
                <a:lnTo>
                  <a:pt x="3924" y="2655"/>
                </a:lnTo>
                <a:lnTo>
                  <a:pt x="4395" y="2655"/>
                </a:lnTo>
                <a:lnTo>
                  <a:pt x="4867" y="2655"/>
                </a:lnTo>
                <a:lnTo>
                  <a:pt x="4864" y="2831"/>
                </a:lnTo>
                <a:lnTo>
                  <a:pt x="4860" y="3008"/>
                </a:lnTo>
                <a:lnTo>
                  <a:pt x="4397" y="3011"/>
                </a:lnTo>
                <a:cubicBezTo>
                  <a:pt x="4143" y="3013"/>
                  <a:pt x="3932" y="3009"/>
                  <a:pt x="3928" y="3003"/>
                </a:cubicBezTo>
                <a:close/>
                <a:moveTo>
                  <a:pt x="4933" y="2835"/>
                </a:moveTo>
                <a:lnTo>
                  <a:pt x="4933" y="2655"/>
                </a:lnTo>
                <a:lnTo>
                  <a:pt x="5400" y="2655"/>
                </a:lnTo>
                <a:lnTo>
                  <a:pt x="5867" y="2655"/>
                </a:lnTo>
                <a:lnTo>
                  <a:pt x="5867" y="2835"/>
                </a:lnTo>
                <a:lnTo>
                  <a:pt x="5867" y="3015"/>
                </a:lnTo>
                <a:lnTo>
                  <a:pt x="5400" y="3015"/>
                </a:lnTo>
                <a:lnTo>
                  <a:pt x="4933" y="3015"/>
                </a:lnTo>
                <a:lnTo>
                  <a:pt x="4933" y="2835"/>
                </a:lnTo>
                <a:close/>
                <a:moveTo>
                  <a:pt x="5933" y="2835"/>
                </a:moveTo>
                <a:lnTo>
                  <a:pt x="5933" y="2655"/>
                </a:lnTo>
                <a:lnTo>
                  <a:pt x="6407" y="2655"/>
                </a:lnTo>
                <a:lnTo>
                  <a:pt x="6880" y="2655"/>
                </a:lnTo>
                <a:lnTo>
                  <a:pt x="6880" y="2835"/>
                </a:lnTo>
                <a:lnTo>
                  <a:pt x="6880" y="3015"/>
                </a:lnTo>
                <a:lnTo>
                  <a:pt x="6407" y="3015"/>
                </a:lnTo>
                <a:lnTo>
                  <a:pt x="5933" y="3015"/>
                </a:lnTo>
                <a:lnTo>
                  <a:pt x="5933" y="2835"/>
                </a:lnTo>
                <a:close/>
                <a:moveTo>
                  <a:pt x="6947" y="2835"/>
                </a:moveTo>
                <a:lnTo>
                  <a:pt x="6947" y="2655"/>
                </a:lnTo>
                <a:lnTo>
                  <a:pt x="7413" y="2655"/>
                </a:lnTo>
                <a:lnTo>
                  <a:pt x="7880" y="2655"/>
                </a:lnTo>
                <a:lnTo>
                  <a:pt x="7880" y="2835"/>
                </a:lnTo>
                <a:lnTo>
                  <a:pt x="7880" y="3015"/>
                </a:lnTo>
                <a:lnTo>
                  <a:pt x="7413" y="3015"/>
                </a:lnTo>
                <a:lnTo>
                  <a:pt x="6947" y="3015"/>
                </a:lnTo>
                <a:lnTo>
                  <a:pt x="6947" y="2835"/>
                </a:lnTo>
                <a:close/>
                <a:moveTo>
                  <a:pt x="9800" y="2835"/>
                </a:moveTo>
                <a:lnTo>
                  <a:pt x="9800" y="2655"/>
                </a:lnTo>
                <a:lnTo>
                  <a:pt x="10267" y="2655"/>
                </a:lnTo>
                <a:lnTo>
                  <a:pt x="10733" y="2655"/>
                </a:lnTo>
                <a:lnTo>
                  <a:pt x="10733" y="2835"/>
                </a:lnTo>
                <a:lnTo>
                  <a:pt x="10733" y="3015"/>
                </a:lnTo>
                <a:lnTo>
                  <a:pt x="10267" y="3015"/>
                </a:lnTo>
                <a:lnTo>
                  <a:pt x="9800" y="3015"/>
                </a:lnTo>
                <a:lnTo>
                  <a:pt x="9800" y="2835"/>
                </a:lnTo>
                <a:close/>
                <a:moveTo>
                  <a:pt x="10809" y="3006"/>
                </a:moveTo>
                <a:cubicBezTo>
                  <a:pt x="10804" y="3001"/>
                  <a:pt x="10800" y="2920"/>
                  <a:pt x="10800" y="2826"/>
                </a:cubicBezTo>
                <a:lnTo>
                  <a:pt x="10800" y="2655"/>
                </a:lnTo>
                <a:lnTo>
                  <a:pt x="11273" y="2655"/>
                </a:lnTo>
                <a:lnTo>
                  <a:pt x="11747" y="2655"/>
                </a:lnTo>
                <a:lnTo>
                  <a:pt x="11747" y="2835"/>
                </a:lnTo>
                <a:lnTo>
                  <a:pt x="11747" y="3015"/>
                </a:lnTo>
                <a:lnTo>
                  <a:pt x="11282" y="3015"/>
                </a:lnTo>
                <a:cubicBezTo>
                  <a:pt x="11027" y="3015"/>
                  <a:pt x="10814" y="3011"/>
                  <a:pt x="10809" y="3006"/>
                </a:cubicBezTo>
                <a:close/>
                <a:moveTo>
                  <a:pt x="11813" y="2835"/>
                </a:moveTo>
                <a:lnTo>
                  <a:pt x="11813" y="2655"/>
                </a:lnTo>
                <a:lnTo>
                  <a:pt x="12280" y="2655"/>
                </a:lnTo>
                <a:lnTo>
                  <a:pt x="12747" y="2655"/>
                </a:lnTo>
                <a:lnTo>
                  <a:pt x="12747" y="2835"/>
                </a:lnTo>
                <a:lnTo>
                  <a:pt x="12747" y="3015"/>
                </a:lnTo>
                <a:lnTo>
                  <a:pt x="12280" y="3015"/>
                </a:lnTo>
                <a:lnTo>
                  <a:pt x="11813" y="3015"/>
                </a:lnTo>
                <a:lnTo>
                  <a:pt x="11813" y="2835"/>
                </a:lnTo>
                <a:close/>
                <a:moveTo>
                  <a:pt x="13893" y="2835"/>
                </a:moveTo>
                <a:lnTo>
                  <a:pt x="13893" y="2655"/>
                </a:lnTo>
                <a:lnTo>
                  <a:pt x="14367" y="2655"/>
                </a:lnTo>
                <a:lnTo>
                  <a:pt x="14841" y="2655"/>
                </a:lnTo>
                <a:lnTo>
                  <a:pt x="14837" y="2831"/>
                </a:lnTo>
                <a:lnTo>
                  <a:pt x="14833" y="3008"/>
                </a:lnTo>
                <a:lnTo>
                  <a:pt x="14363" y="3011"/>
                </a:lnTo>
                <a:lnTo>
                  <a:pt x="13893" y="3015"/>
                </a:lnTo>
                <a:lnTo>
                  <a:pt x="13893" y="2835"/>
                </a:lnTo>
                <a:close/>
                <a:moveTo>
                  <a:pt x="1920" y="2408"/>
                </a:moveTo>
                <a:lnTo>
                  <a:pt x="1920" y="2228"/>
                </a:lnTo>
                <a:lnTo>
                  <a:pt x="2387" y="2228"/>
                </a:lnTo>
                <a:lnTo>
                  <a:pt x="2853" y="2228"/>
                </a:lnTo>
                <a:lnTo>
                  <a:pt x="2853" y="2408"/>
                </a:lnTo>
                <a:lnTo>
                  <a:pt x="2853" y="2588"/>
                </a:lnTo>
                <a:lnTo>
                  <a:pt x="2387" y="2588"/>
                </a:lnTo>
                <a:lnTo>
                  <a:pt x="1920" y="2588"/>
                </a:lnTo>
                <a:lnTo>
                  <a:pt x="1920" y="2408"/>
                </a:lnTo>
                <a:close/>
                <a:moveTo>
                  <a:pt x="2920" y="2408"/>
                </a:moveTo>
                <a:lnTo>
                  <a:pt x="2920" y="2228"/>
                </a:lnTo>
                <a:lnTo>
                  <a:pt x="3387" y="2228"/>
                </a:lnTo>
                <a:lnTo>
                  <a:pt x="3853" y="2228"/>
                </a:lnTo>
                <a:lnTo>
                  <a:pt x="3853" y="2408"/>
                </a:lnTo>
                <a:lnTo>
                  <a:pt x="3853" y="2588"/>
                </a:lnTo>
                <a:lnTo>
                  <a:pt x="3387" y="2588"/>
                </a:lnTo>
                <a:lnTo>
                  <a:pt x="2920" y="2588"/>
                </a:lnTo>
                <a:lnTo>
                  <a:pt x="2920" y="2408"/>
                </a:lnTo>
                <a:close/>
                <a:moveTo>
                  <a:pt x="3922" y="2408"/>
                </a:moveTo>
                <a:lnTo>
                  <a:pt x="3921" y="2228"/>
                </a:lnTo>
                <a:lnTo>
                  <a:pt x="4393" y="2228"/>
                </a:lnTo>
                <a:lnTo>
                  <a:pt x="4865" y="2228"/>
                </a:lnTo>
                <a:lnTo>
                  <a:pt x="4866" y="2408"/>
                </a:lnTo>
                <a:lnTo>
                  <a:pt x="4866" y="2588"/>
                </a:lnTo>
                <a:lnTo>
                  <a:pt x="4394" y="2588"/>
                </a:lnTo>
                <a:lnTo>
                  <a:pt x="3923" y="2588"/>
                </a:lnTo>
                <a:lnTo>
                  <a:pt x="3922" y="2408"/>
                </a:lnTo>
                <a:close/>
                <a:moveTo>
                  <a:pt x="4933" y="2408"/>
                </a:moveTo>
                <a:lnTo>
                  <a:pt x="4933" y="2228"/>
                </a:lnTo>
                <a:lnTo>
                  <a:pt x="5400" y="2228"/>
                </a:lnTo>
                <a:lnTo>
                  <a:pt x="5867" y="2228"/>
                </a:lnTo>
                <a:lnTo>
                  <a:pt x="5867" y="2408"/>
                </a:lnTo>
                <a:lnTo>
                  <a:pt x="5867" y="2588"/>
                </a:lnTo>
                <a:lnTo>
                  <a:pt x="5400" y="2588"/>
                </a:lnTo>
                <a:lnTo>
                  <a:pt x="4933" y="2588"/>
                </a:lnTo>
                <a:lnTo>
                  <a:pt x="4933" y="2408"/>
                </a:lnTo>
                <a:close/>
                <a:moveTo>
                  <a:pt x="5933" y="2408"/>
                </a:moveTo>
                <a:lnTo>
                  <a:pt x="5933" y="2228"/>
                </a:lnTo>
                <a:lnTo>
                  <a:pt x="6407" y="2228"/>
                </a:lnTo>
                <a:lnTo>
                  <a:pt x="6880" y="2228"/>
                </a:lnTo>
                <a:lnTo>
                  <a:pt x="6880" y="2408"/>
                </a:lnTo>
                <a:lnTo>
                  <a:pt x="6880" y="2588"/>
                </a:lnTo>
                <a:lnTo>
                  <a:pt x="6407" y="2588"/>
                </a:lnTo>
                <a:lnTo>
                  <a:pt x="5933" y="2588"/>
                </a:lnTo>
                <a:lnTo>
                  <a:pt x="5933" y="2408"/>
                </a:lnTo>
                <a:close/>
                <a:moveTo>
                  <a:pt x="6947" y="2408"/>
                </a:moveTo>
                <a:lnTo>
                  <a:pt x="6947" y="2228"/>
                </a:lnTo>
                <a:lnTo>
                  <a:pt x="7413" y="2228"/>
                </a:lnTo>
                <a:lnTo>
                  <a:pt x="7880" y="2228"/>
                </a:lnTo>
                <a:lnTo>
                  <a:pt x="7880" y="2408"/>
                </a:lnTo>
                <a:lnTo>
                  <a:pt x="7880" y="2588"/>
                </a:lnTo>
                <a:lnTo>
                  <a:pt x="7413" y="2588"/>
                </a:lnTo>
                <a:lnTo>
                  <a:pt x="6947" y="2588"/>
                </a:lnTo>
                <a:lnTo>
                  <a:pt x="6947" y="2408"/>
                </a:lnTo>
                <a:close/>
                <a:moveTo>
                  <a:pt x="9800" y="2408"/>
                </a:moveTo>
                <a:lnTo>
                  <a:pt x="9800" y="2228"/>
                </a:lnTo>
                <a:lnTo>
                  <a:pt x="10267" y="2228"/>
                </a:lnTo>
                <a:lnTo>
                  <a:pt x="10733" y="2228"/>
                </a:lnTo>
                <a:lnTo>
                  <a:pt x="10733" y="2408"/>
                </a:lnTo>
                <a:lnTo>
                  <a:pt x="10733" y="2588"/>
                </a:lnTo>
                <a:lnTo>
                  <a:pt x="10267" y="2588"/>
                </a:lnTo>
                <a:lnTo>
                  <a:pt x="9800" y="2588"/>
                </a:lnTo>
                <a:lnTo>
                  <a:pt x="9800" y="2408"/>
                </a:lnTo>
                <a:close/>
                <a:moveTo>
                  <a:pt x="10800" y="2408"/>
                </a:moveTo>
                <a:lnTo>
                  <a:pt x="10800" y="2228"/>
                </a:lnTo>
                <a:lnTo>
                  <a:pt x="11273" y="2228"/>
                </a:lnTo>
                <a:lnTo>
                  <a:pt x="11747" y="2228"/>
                </a:lnTo>
                <a:lnTo>
                  <a:pt x="11747" y="2408"/>
                </a:lnTo>
                <a:lnTo>
                  <a:pt x="11747" y="2588"/>
                </a:lnTo>
                <a:lnTo>
                  <a:pt x="11273" y="2588"/>
                </a:lnTo>
                <a:lnTo>
                  <a:pt x="10800" y="2588"/>
                </a:lnTo>
                <a:lnTo>
                  <a:pt x="10800" y="2408"/>
                </a:lnTo>
                <a:close/>
                <a:moveTo>
                  <a:pt x="11813" y="2408"/>
                </a:moveTo>
                <a:lnTo>
                  <a:pt x="11813" y="2228"/>
                </a:lnTo>
                <a:lnTo>
                  <a:pt x="12280" y="2228"/>
                </a:lnTo>
                <a:lnTo>
                  <a:pt x="12747" y="2228"/>
                </a:lnTo>
                <a:lnTo>
                  <a:pt x="12747" y="2408"/>
                </a:lnTo>
                <a:lnTo>
                  <a:pt x="12747" y="2588"/>
                </a:lnTo>
                <a:lnTo>
                  <a:pt x="12280" y="2588"/>
                </a:lnTo>
                <a:lnTo>
                  <a:pt x="11813" y="2588"/>
                </a:lnTo>
                <a:lnTo>
                  <a:pt x="11813" y="2408"/>
                </a:lnTo>
                <a:close/>
                <a:moveTo>
                  <a:pt x="13893" y="2408"/>
                </a:moveTo>
                <a:lnTo>
                  <a:pt x="13893" y="2228"/>
                </a:lnTo>
                <a:lnTo>
                  <a:pt x="14365" y="2228"/>
                </a:lnTo>
                <a:lnTo>
                  <a:pt x="14837" y="2228"/>
                </a:lnTo>
                <a:lnTo>
                  <a:pt x="14835" y="2405"/>
                </a:lnTo>
                <a:lnTo>
                  <a:pt x="14833" y="2581"/>
                </a:lnTo>
                <a:lnTo>
                  <a:pt x="14363" y="2585"/>
                </a:lnTo>
                <a:lnTo>
                  <a:pt x="13893" y="2588"/>
                </a:lnTo>
                <a:lnTo>
                  <a:pt x="13893" y="2408"/>
                </a:lnTo>
                <a:close/>
                <a:moveTo>
                  <a:pt x="1920" y="1981"/>
                </a:moveTo>
                <a:lnTo>
                  <a:pt x="1920" y="1801"/>
                </a:lnTo>
                <a:lnTo>
                  <a:pt x="2387" y="1801"/>
                </a:lnTo>
                <a:lnTo>
                  <a:pt x="2853" y="1801"/>
                </a:lnTo>
                <a:lnTo>
                  <a:pt x="2853" y="1981"/>
                </a:lnTo>
                <a:lnTo>
                  <a:pt x="2853" y="2161"/>
                </a:lnTo>
                <a:lnTo>
                  <a:pt x="2387" y="2161"/>
                </a:lnTo>
                <a:lnTo>
                  <a:pt x="1920" y="2161"/>
                </a:lnTo>
                <a:lnTo>
                  <a:pt x="1920" y="1981"/>
                </a:lnTo>
                <a:close/>
                <a:moveTo>
                  <a:pt x="2920" y="1981"/>
                </a:moveTo>
                <a:lnTo>
                  <a:pt x="2920" y="1801"/>
                </a:lnTo>
                <a:lnTo>
                  <a:pt x="3387" y="1801"/>
                </a:lnTo>
                <a:lnTo>
                  <a:pt x="3853" y="1801"/>
                </a:lnTo>
                <a:lnTo>
                  <a:pt x="3853" y="1981"/>
                </a:lnTo>
                <a:lnTo>
                  <a:pt x="3853" y="2161"/>
                </a:lnTo>
                <a:lnTo>
                  <a:pt x="3387" y="2161"/>
                </a:lnTo>
                <a:lnTo>
                  <a:pt x="2920" y="2161"/>
                </a:lnTo>
                <a:lnTo>
                  <a:pt x="2920" y="1981"/>
                </a:lnTo>
                <a:close/>
                <a:moveTo>
                  <a:pt x="3926" y="2130"/>
                </a:moveTo>
                <a:cubicBezTo>
                  <a:pt x="3922" y="2113"/>
                  <a:pt x="3920" y="2033"/>
                  <a:pt x="3922" y="1953"/>
                </a:cubicBezTo>
                <a:lnTo>
                  <a:pt x="3927" y="1808"/>
                </a:lnTo>
                <a:lnTo>
                  <a:pt x="4393" y="1808"/>
                </a:lnTo>
                <a:lnTo>
                  <a:pt x="4860" y="1808"/>
                </a:lnTo>
                <a:lnTo>
                  <a:pt x="4863" y="1985"/>
                </a:lnTo>
                <a:lnTo>
                  <a:pt x="4865" y="2161"/>
                </a:lnTo>
                <a:lnTo>
                  <a:pt x="4399" y="2161"/>
                </a:lnTo>
                <a:lnTo>
                  <a:pt x="3934" y="2161"/>
                </a:lnTo>
                <a:lnTo>
                  <a:pt x="3926" y="2130"/>
                </a:lnTo>
                <a:close/>
                <a:moveTo>
                  <a:pt x="4933" y="1981"/>
                </a:moveTo>
                <a:lnTo>
                  <a:pt x="4933" y="1801"/>
                </a:lnTo>
                <a:lnTo>
                  <a:pt x="5400" y="1801"/>
                </a:lnTo>
                <a:lnTo>
                  <a:pt x="5867" y="1801"/>
                </a:lnTo>
                <a:lnTo>
                  <a:pt x="5867" y="1981"/>
                </a:lnTo>
                <a:lnTo>
                  <a:pt x="5867" y="2161"/>
                </a:lnTo>
                <a:lnTo>
                  <a:pt x="5400" y="2161"/>
                </a:lnTo>
                <a:lnTo>
                  <a:pt x="4933" y="2161"/>
                </a:lnTo>
                <a:lnTo>
                  <a:pt x="4933" y="1981"/>
                </a:lnTo>
                <a:close/>
                <a:moveTo>
                  <a:pt x="5933" y="1981"/>
                </a:moveTo>
                <a:lnTo>
                  <a:pt x="5933" y="1801"/>
                </a:lnTo>
                <a:lnTo>
                  <a:pt x="6407" y="1801"/>
                </a:lnTo>
                <a:lnTo>
                  <a:pt x="6880" y="1801"/>
                </a:lnTo>
                <a:lnTo>
                  <a:pt x="6880" y="1981"/>
                </a:lnTo>
                <a:lnTo>
                  <a:pt x="6880" y="2161"/>
                </a:lnTo>
                <a:lnTo>
                  <a:pt x="6407" y="2161"/>
                </a:lnTo>
                <a:lnTo>
                  <a:pt x="5933" y="2161"/>
                </a:lnTo>
                <a:lnTo>
                  <a:pt x="5933" y="1981"/>
                </a:lnTo>
                <a:close/>
                <a:moveTo>
                  <a:pt x="6947" y="1981"/>
                </a:moveTo>
                <a:lnTo>
                  <a:pt x="6947" y="1801"/>
                </a:lnTo>
                <a:lnTo>
                  <a:pt x="7413" y="1801"/>
                </a:lnTo>
                <a:lnTo>
                  <a:pt x="7880" y="1801"/>
                </a:lnTo>
                <a:lnTo>
                  <a:pt x="7880" y="1981"/>
                </a:lnTo>
                <a:lnTo>
                  <a:pt x="7880" y="2161"/>
                </a:lnTo>
                <a:lnTo>
                  <a:pt x="7413" y="2161"/>
                </a:lnTo>
                <a:lnTo>
                  <a:pt x="6947" y="2161"/>
                </a:lnTo>
                <a:lnTo>
                  <a:pt x="6947" y="1981"/>
                </a:lnTo>
                <a:close/>
                <a:moveTo>
                  <a:pt x="9803" y="1985"/>
                </a:moveTo>
                <a:lnTo>
                  <a:pt x="9807" y="1808"/>
                </a:lnTo>
                <a:lnTo>
                  <a:pt x="10270" y="1804"/>
                </a:lnTo>
                <a:lnTo>
                  <a:pt x="10733" y="1801"/>
                </a:lnTo>
                <a:lnTo>
                  <a:pt x="10733" y="1981"/>
                </a:lnTo>
                <a:lnTo>
                  <a:pt x="10733" y="2161"/>
                </a:lnTo>
                <a:lnTo>
                  <a:pt x="10266" y="2161"/>
                </a:lnTo>
                <a:lnTo>
                  <a:pt x="9799" y="2161"/>
                </a:lnTo>
                <a:lnTo>
                  <a:pt x="9803" y="1985"/>
                </a:lnTo>
                <a:close/>
                <a:moveTo>
                  <a:pt x="10803" y="1985"/>
                </a:moveTo>
                <a:lnTo>
                  <a:pt x="10807" y="1808"/>
                </a:lnTo>
                <a:lnTo>
                  <a:pt x="11277" y="1804"/>
                </a:lnTo>
                <a:lnTo>
                  <a:pt x="11747" y="1801"/>
                </a:lnTo>
                <a:lnTo>
                  <a:pt x="11747" y="1981"/>
                </a:lnTo>
                <a:lnTo>
                  <a:pt x="11747" y="2161"/>
                </a:lnTo>
                <a:lnTo>
                  <a:pt x="11273" y="2161"/>
                </a:lnTo>
                <a:lnTo>
                  <a:pt x="10799" y="2161"/>
                </a:lnTo>
                <a:lnTo>
                  <a:pt x="10803" y="1985"/>
                </a:lnTo>
                <a:close/>
                <a:moveTo>
                  <a:pt x="11813" y="1981"/>
                </a:moveTo>
                <a:lnTo>
                  <a:pt x="11813" y="1801"/>
                </a:lnTo>
                <a:lnTo>
                  <a:pt x="12280" y="1801"/>
                </a:lnTo>
                <a:lnTo>
                  <a:pt x="12747" y="1801"/>
                </a:lnTo>
                <a:lnTo>
                  <a:pt x="12747" y="1981"/>
                </a:lnTo>
                <a:lnTo>
                  <a:pt x="12747" y="2161"/>
                </a:lnTo>
                <a:lnTo>
                  <a:pt x="12280" y="2161"/>
                </a:lnTo>
                <a:lnTo>
                  <a:pt x="11813" y="2161"/>
                </a:lnTo>
                <a:lnTo>
                  <a:pt x="11813" y="1981"/>
                </a:lnTo>
                <a:close/>
                <a:moveTo>
                  <a:pt x="13893" y="1981"/>
                </a:moveTo>
                <a:lnTo>
                  <a:pt x="13893" y="1801"/>
                </a:lnTo>
                <a:lnTo>
                  <a:pt x="14363" y="1804"/>
                </a:lnTo>
                <a:lnTo>
                  <a:pt x="14833" y="1808"/>
                </a:lnTo>
                <a:lnTo>
                  <a:pt x="14837" y="1985"/>
                </a:lnTo>
                <a:lnTo>
                  <a:pt x="14841" y="2161"/>
                </a:lnTo>
                <a:lnTo>
                  <a:pt x="14367" y="2161"/>
                </a:lnTo>
                <a:lnTo>
                  <a:pt x="13893" y="2161"/>
                </a:lnTo>
                <a:lnTo>
                  <a:pt x="13893" y="1981"/>
                </a:lnTo>
                <a:close/>
                <a:moveTo>
                  <a:pt x="7992" y="1379"/>
                </a:moveTo>
                <a:cubicBezTo>
                  <a:pt x="7941" y="1323"/>
                  <a:pt x="7894" y="1270"/>
                  <a:pt x="7887" y="1262"/>
                </a:cubicBezTo>
                <a:cubicBezTo>
                  <a:pt x="7818" y="1188"/>
                  <a:pt x="7707" y="1056"/>
                  <a:pt x="7707" y="1049"/>
                </a:cubicBezTo>
                <a:cubicBezTo>
                  <a:pt x="7707" y="1045"/>
                  <a:pt x="7962" y="1041"/>
                  <a:pt x="8273" y="1041"/>
                </a:cubicBezTo>
                <a:lnTo>
                  <a:pt x="8840" y="1041"/>
                </a:lnTo>
                <a:lnTo>
                  <a:pt x="8840" y="521"/>
                </a:lnTo>
                <a:lnTo>
                  <a:pt x="8840" y="0"/>
                </a:lnTo>
                <a:lnTo>
                  <a:pt x="8923" y="4"/>
                </a:lnTo>
                <a:lnTo>
                  <a:pt x="9007" y="8"/>
                </a:lnTo>
                <a:lnTo>
                  <a:pt x="9010" y="541"/>
                </a:lnTo>
                <a:lnTo>
                  <a:pt x="9013" y="1075"/>
                </a:lnTo>
                <a:lnTo>
                  <a:pt x="9096" y="1241"/>
                </a:lnTo>
                <a:cubicBezTo>
                  <a:pt x="9141" y="1333"/>
                  <a:pt x="9186" y="1424"/>
                  <a:pt x="9195" y="1445"/>
                </a:cubicBezTo>
                <a:lnTo>
                  <a:pt x="9212" y="1481"/>
                </a:lnTo>
                <a:lnTo>
                  <a:pt x="8648" y="1481"/>
                </a:lnTo>
                <a:lnTo>
                  <a:pt x="8084" y="1481"/>
                </a:lnTo>
                <a:lnTo>
                  <a:pt x="7992" y="1379"/>
                </a:lnTo>
                <a:close/>
                <a:moveTo>
                  <a:pt x="8773" y="1268"/>
                </a:moveTo>
                <a:lnTo>
                  <a:pt x="8773" y="1161"/>
                </a:lnTo>
                <a:lnTo>
                  <a:pt x="8404" y="1161"/>
                </a:lnTo>
                <a:lnTo>
                  <a:pt x="8035" y="1161"/>
                </a:lnTo>
                <a:lnTo>
                  <a:pt x="8081" y="1211"/>
                </a:lnTo>
                <a:cubicBezTo>
                  <a:pt x="8106" y="1239"/>
                  <a:pt x="8150" y="1287"/>
                  <a:pt x="8179" y="1318"/>
                </a:cubicBezTo>
                <a:lnTo>
                  <a:pt x="8232" y="1375"/>
                </a:lnTo>
                <a:lnTo>
                  <a:pt x="8503" y="1375"/>
                </a:lnTo>
                <a:lnTo>
                  <a:pt x="8773" y="1375"/>
                </a:lnTo>
                <a:lnTo>
                  <a:pt x="8773" y="1268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A4502C2B-7388-4AA8-8D13-2B92BF94CBE7}"/>
              </a:ext>
            </a:extLst>
          </p:cNvPr>
          <p:cNvSpPr txBox="1"/>
          <p:nvPr/>
        </p:nvSpPr>
        <p:spPr>
          <a:xfrm>
            <a:off x="9154957" y="3300511"/>
            <a:ext cx="2009313" cy="369332"/>
          </a:xfrm>
          <a:prstGeom prst="rect">
            <a:avLst/>
          </a:prstGeom>
          <a:noFill/>
        </p:spPr>
        <p:txBody>
          <a:bodyPr vert="horz" wrap="square" lIns="22225" tIns="0" rIns="22225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 err="1"/>
              <a:t>Synfuel</a:t>
            </a:r>
            <a:r>
              <a:rPr lang="en-US" sz="1200" dirty="0"/>
              <a:t> for freight</a:t>
            </a:r>
            <a:br>
              <a:rPr lang="en-US" sz="1200" dirty="0"/>
            </a:br>
            <a:r>
              <a:rPr lang="en-US" sz="1200" dirty="0"/>
              <a:t>ships and airplane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45F56BE-A563-45DF-8FF7-2307FD9C31F9}"/>
              </a:ext>
            </a:extLst>
          </p:cNvPr>
          <p:cNvGrpSpPr/>
          <p:nvPr/>
        </p:nvGrpSpPr>
        <p:grpSpPr>
          <a:xfrm>
            <a:off x="158760" y="1860235"/>
            <a:ext cx="505717" cy="466588"/>
            <a:chOff x="158760" y="2142867"/>
            <a:chExt cx="679390" cy="626823"/>
          </a:xfrm>
        </p:grpSpPr>
        <p:pic>
          <p:nvPicPr>
            <p:cNvPr id="147" name="Picture 146"/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38" t="6145" r="11638" b="17131"/>
            <a:stretch/>
          </p:blipFill>
          <p:spPr>
            <a:xfrm>
              <a:off x="158760" y="2186722"/>
              <a:ext cx="679390" cy="582968"/>
            </a:xfrm>
            <a:prstGeom prst="hexagon">
              <a:avLst>
                <a:gd name="adj" fmla="val 28490"/>
                <a:gd name="vf" fmla="val 115470"/>
              </a:avLst>
            </a:prstGeom>
            <a:ln w="12700">
              <a:solidFill>
                <a:schemeClr val="accent4"/>
              </a:solidFill>
            </a:ln>
          </p:spPr>
        </p:pic>
        <p:sp>
          <p:nvSpPr>
            <p:cNvPr id="232" name="TextBox 231"/>
            <p:cNvSpPr txBox="1">
              <a:spLocks/>
            </p:cNvSpPr>
            <p:nvPr/>
          </p:nvSpPr>
          <p:spPr>
            <a:xfrm>
              <a:off x="278104" y="2142867"/>
              <a:ext cx="255296" cy="212088"/>
            </a:xfrm>
            <a:prstGeom prst="hexagon">
              <a:avLst/>
            </a:prstGeom>
            <a:solidFill>
              <a:schemeClr val="accent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4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7D85FB7-6AD5-4248-91F4-0359991815BD}"/>
              </a:ext>
            </a:extLst>
          </p:cNvPr>
          <p:cNvGrpSpPr/>
          <p:nvPr/>
        </p:nvGrpSpPr>
        <p:grpSpPr>
          <a:xfrm>
            <a:off x="158760" y="1254936"/>
            <a:ext cx="505717" cy="469771"/>
            <a:chOff x="158760" y="1180126"/>
            <a:chExt cx="679390" cy="631100"/>
          </a:xfrm>
        </p:grpSpPr>
        <p:pic>
          <p:nvPicPr>
            <p:cNvPr id="135" name="Picture 134"/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61" t="2503" r="8761" b="20093"/>
            <a:stretch/>
          </p:blipFill>
          <p:spPr>
            <a:xfrm>
              <a:off x="158760" y="1228258"/>
              <a:ext cx="679390" cy="582968"/>
            </a:xfrm>
            <a:prstGeom prst="hexagon">
              <a:avLst>
                <a:gd name="adj" fmla="val 29028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</p:pic>
        <p:sp>
          <p:nvSpPr>
            <p:cNvPr id="233" name="TextBox 232"/>
            <p:cNvSpPr txBox="1">
              <a:spLocks/>
            </p:cNvSpPr>
            <p:nvPr/>
          </p:nvSpPr>
          <p:spPr>
            <a:xfrm>
              <a:off x="284454" y="1180126"/>
              <a:ext cx="255296" cy="212088"/>
            </a:xfrm>
            <a:prstGeom prst="hexagon">
              <a:avLst/>
            </a:prstGeom>
            <a:solidFill>
              <a:schemeClr val="accent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1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F40945B-E617-4D99-8AB1-4752CB7248F5}"/>
              </a:ext>
            </a:extLst>
          </p:cNvPr>
          <p:cNvGrpSpPr/>
          <p:nvPr/>
        </p:nvGrpSpPr>
        <p:grpSpPr>
          <a:xfrm>
            <a:off x="158760" y="4037649"/>
            <a:ext cx="505716" cy="473016"/>
            <a:chOff x="158760" y="3079232"/>
            <a:chExt cx="679390" cy="635460"/>
          </a:xfrm>
        </p:grpSpPr>
        <p:pic>
          <p:nvPicPr>
            <p:cNvPr id="194" name="Picture 193"/>
            <p:cNvPicPr>
              <a:picLocks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4583" r="11710" b="18837"/>
            <a:stretch/>
          </p:blipFill>
          <p:spPr>
            <a:xfrm>
              <a:off x="158760" y="3131724"/>
              <a:ext cx="679390" cy="582968"/>
            </a:xfrm>
            <a:prstGeom prst="hexagon">
              <a:avLst>
                <a:gd name="adj" fmla="val 29027"/>
                <a:gd name="vf" fmla="val 115470"/>
              </a:avLst>
            </a:prstGeom>
            <a:ln w="12700">
              <a:solidFill>
                <a:schemeClr val="accent6"/>
              </a:solidFill>
            </a:ln>
          </p:spPr>
        </p:pic>
        <p:sp>
          <p:nvSpPr>
            <p:cNvPr id="234" name="TextBox 233"/>
            <p:cNvSpPr txBox="1">
              <a:spLocks/>
            </p:cNvSpPr>
            <p:nvPr/>
          </p:nvSpPr>
          <p:spPr>
            <a:xfrm>
              <a:off x="284454" y="3079232"/>
              <a:ext cx="255296" cy="212088"/>
            </a:xfrm>
            <a:prstGeom prst="hexagon">
              <a:avLst/>
            </a:prstGeom>
            <a:solidFill>
              <a:schemeClr val="accent6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5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A56C30C-D4AA-48DA-81F8-600D9B0E0981}"/>
              </a:ext>
            </a:extLst>
          </p:cNvPr>
          <p:cNvGrpSpPr/>
          <p:nvPr/>
        </p:nvGrpSpPr>
        <p:grpSpPr>
          <a:xfrm>
            <a:off x="158760" y="4552453"/>
            <a:ext cx="505717" cy="471343"/>
            <a:chOff x="158760" y="4152414"/>
            <a:chExt cx="679390" cy="633211"/>
          </a:xfrm>
        </p:grpSpPr>
        <p:pic>
          <p:nvPicPr>
            <p:cNvPr id="211" name="Picture 210"/>
            <p:cNvPicPr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11710" r="11710" b="11710"/>
            <a:stretch>
              <a:fillRect/>
            </a:stretch>
          </p:blipFill>
          <p:spPr>
            <a:xfrm>
              <a:off x="158760" y="4202657"/>
              <a:ext cx="679390" cy="582968"/>
            </a:xfrm>
            <a:prstGeom prst="hexagon">
              <a:avLst>
                <a:gd name="adj" fmla="val 29027"/>
                <a:gd name="vf" fmla="val 115470"/>
              </a:avLst>
            </a:prstGeom>
            <a:ln w="12700">
              <a:solidFill>
                <a:srgbClr val="EE9D44"/>
              </a:solidFill>
            </a:ln>
          </p:spPr>
        </p:pic>
        <p:sp>
          <p:nvSpPr>
            <p:cNvPr id="235" name="TextBox 234"/>
            <p:cNvSpPr txBox="1">
              <a:spLocks/>
            </p:cNvSpPr>
            <p:nvPr/>
          </p:nvSpPr>
          <p:spPr>
            <a:xfrm>
              <a:off x="284454" y="4152414"/>
              <a:ext cx="255296" cy="212088"/>
            </a:xfrm>
            <a:prstGeom prst="hexagon">
              <a:avLst/>
            </a:prstGeom>
            <a:solidFill>
              <a:srgbClr val="EE9D4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6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BD822B9-A471-4F94-83F7-B3D421452DBE}"/>
              </a:ext>
            </a:extLst>
          </p:cNvPr>
          <p:cNvGrpSpPr/>
          <p:nvPr/>
        </p:nvGrpSpPr>
        <p:grpSpPr>
          <a:xfrm>
            <a:off x="158760" y="5050417"/>
            <a:ext cx="505717" cy="481373"/>
            <a:chOff x="158760" y="5114298"/>
            <a:chExt cx="679390" cy="646686"/>
          </a:xfrm>
        </p:grpSpPr>
        <p:pic>
          <p:nvPicPr>
            <p:cNvPr id="169" name="Picture 168"/>
            <p:cNvPicPr>
              <a:picLocks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6227" r="11710" b="17192"/>
            <a:stretch/>
          </p:blipFill>
          <p:spPr>
            <a:xfrm>
              <a:off x="158760" y="5178016"/>
              <a:ext cx="679390" cy="582968"/>
            </a:xfrm>
            <a:prstGeom prst="hexagon">
              <a:avLst>
                <a:gd name="adj" fmla="val 28490"/>
                <a:gd name="vf" fmla="val 115470"/>
              </a:avLst>
            </a:prstGeom>
            <a:ln w="12700">
              <a:solidFill>
                <a:schemeClr val="accent3"/>
              </a:solidFill>
            </a:ln>
          </p:spPr>
        </p:pic>
        <p:sp>
          <p:nvSpPr>
            <p:cNvPr id="236" name="TextBox 235"/>
            <p:cNvSpPr txBox="1">
              <a:spLocks/>
            </p:cNvSpPr>
            <p:nvPr/>
          </p:nvSpPr>
          <p:spPr>
            <a:xfrm>
              <a:off x="284454" y="5114298"/>
              <a:ext cx="255296" cy="212088"/>
            </a:xfrm>
            <a:prstGeom prst="hexagon">
              <a:avLst/>
            </a:prstGeom>
            <a:solidFill>
              <a:schemeClr val="accent3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7</a:t>
              </a:r>
            </a:p>
          </p:txBody>
        </p:sp>
      </p:grpSp>
      <p:sp>
        <p:nvSpPr>
          <p:cNvPr id="374" name="TextBox 373">
            <a:extLst>
              <a:ext uri="{FF2B5EF4-FFF2-40B4-BE49-F238E27FC236}">
                <a16:creationId xmlns:a16="http://schemas.microsoft.com/office/drawing/2014/main" id="{8758DB64-E9FA-4D49-9130-3741E1A2D1E2}"/>
              </a:ext>
            </a:extLst>
          </p:cNvPr>
          <p:cNvSpPr txBox="1"/>
          <p:nvPr/>
        </p:nvSpPr>
        <p:spPr>
          <a:xfrm>
            <a:off x="9186898" y="4145875"/>
            <a:ext cx="1832492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Medium-/low industry heat</a:t>
            </a:r>
          </a:p>
        </p:txBody>
      </p:sp>
      <p:grpSp>
        <p:nvGrpSpPr>
          <p:cNvPr id="377" name="Group 376">
            <a:extLst>
              <a:ext uri="{FF2B5EF4-FFF2-40B4-BE49-F238E27FC236}">
                <a16:creationId xmlns:a16="http://schemas.microsoft.com/office/drawing/2014/main" id="{61CE46D5-E5CC-4AA4-879C-BACCBBCD6725}"/>
              </a:ext>
            </a:extLst>
          </p:cNvPr>
          <p:cNvGrpSpPr/>
          <p:nvPr/>
        </p:nvGrpSpPr>
        <p:grpSpPr>
          <a:xfrm>
            <a:off x="4684730" y="4392780"/>
            <a:ext cx="1432877" cy="121799"/>
            <a:chOff x="8215948" y="1839114"/>
            <a:chExt cx="1432877" cy="121799"/>
          </a:xfrm>
        </p:grpSpPr>
        <p:sp>
          <p:nvSpPr>
            <p:cNvPr id="378" name="Rectangle 377">
              <a:extLst>
                <a:ext uri="{FF2B5EF4-FFF2-40B4-BE49-F238E27FC236}">
                  <a16:creationId xmlns:a16="http://schemas.microsoft.com/office/drawing/2014/main" id="{2E45F22C-EA4E-4CF0-B135-1EFF4A5C3A44}"/>
                </a:ext>
              </a:extLst>
            </p:cNvPr>
            <p:cNvSpPr/>
            <p:nvPr/>
          </p:nvSpPr>
          <p:spPr>
            <a:xfrm>
              <a:off x="8215948" y="1839114"/>
              <a:ext cx="1366202" cy="11950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79" name="Isosceles Triangle 378">
              <a:extLst>
                <a:ext uri="{FF2B5EF4-FFF2-40B4-BE49-F238E27FC236}">
                  <a16:creationId xmlns:a16="http://schemas.microsoft.com/office/drawing/2014/main" id="{076B0C7B-2E26-4527-8AE1-F8DAF535F886}"/>
                </a:ext>
              </a:extLst>
            </p:cNvPr>
            <p:cNvSpPr/>
            <p:nvPr/>
          </p:nvSpPr>
          <p:spPr>
            <a:xfrm>
              <a:off x="9511879" y="1841411"/>
              <a:ext cx="136946" cy="119502"/>
            </a:xfrm>
            <a:prstGeom prst="triangl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0166C834-E6DB-4615-ADE4-34EBC9C568F5}"/>
              </a:ext>
            </a:extLst>
          </p:cNvPr>
          <p:cNvGrpSpPr/>
          <p:nvPr/>
        </p:nvGrpSpPr>
        <p:grpSpPr>
          <a:xfrm>
            <a:off x="4684730" y="4176355"/>
            <a:ext cx="4408024" cy="119502"/>
            <a:chOff x="4087944" y="1592209"/>
            <a:chExt cx="4408024" cy="119502"/>
          </a:xfrm>
        </p:grpSpPr>
        <p:sp>
          <p:nvSpPr>
            <p:cNvPr id="385" name="Rectangle 384">
              <a:extLst>
                <a:ext uri="{FF2B5EF4-FFF2-40B4-BE49-F238E27FC236}">
                  <a16:creationId xmlns:a16="http://schemas.microsoft.com/office/drawing/2014/main" id="{2374ADE2-70A3-4A2D-9F63-393E6498CD3E}"/>
                </a:ext>
              </a:extLst>
            </p:cNvPr>
            <p:cNvSpPr/>
            <p:nvPr/>
          </p:nvSpPr>
          <p:spPr>
            <a:xfrm>
              <a:off x="4087944" y="1592209"/>
              <a:ext cx="4334537" cy="11950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398" name="Isosceles Triangle 397">
              <a:extLst>
                <a:ext uri="{FF2B5EF4-FFF2-40B4-BE49-F238E27FC236}">
                  <a16:creationId xmlns:a16="http://schemas.microsoft.com/office/drawing/2014/main" id="{EBC0CA9D-C32C-4645-AFAE-855CA2D0D662}"/>
                </a:ext>
              </a:extLst>
            </p:cNvPr>
            <p:cNvSpPr/>
            <p:nvPr/>
          </p:nvSpPr>
          <p:spPr>
            <a:xfrm>
              <a:off x="8359022" y="1592209"/>
              <a:ext cx="136946" cy="119502"/>
            </a:xfrm>
            <a:prstGeom prst="triangl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99" name="TextBox 398">
            <a:extLst>
              <a:ext uri="{FF2B5EF4-FFF2-40B4-BE49-F238E27FC236}">
                <a16:creationId xmlns:a16="http://schemas.microsoft.com/office/drawing/2014/main" id="{B300E3D5-010A-402F-A3CF-99CC66D175C9}"/>
              </a:ext>
            </a:extLst>
          </p:cNvPr>
          <p:cNvSpPr txBox="1"/>
          <p:nvPr/>
        </p:nvSpPr>
        <p:spPr>
          <a:xfrm>
            <a:off x="6154020" y="4655606"/>
            <a:ext cx="2396372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Blended hydrogen heating</a:t>
            </a:r>
          </a:p>
        </p:txBody>
      </p:sp>
      <p:grpSp>
        <p:nvGrpSpPr>
          <p:cNvPr id="400" name="Group 399">
            <a:extLst>
              <a:ext uri="{FF2B5EF4-FFF2-40B4-BE49-F238E27FC236}">
                <a16:creationId xmlns:a16="http://schemas.microsoft.com/office/drawing/2014/main" id="{7CF0393B-39CA-4FA4-BA62-FFA166A3FE1F}"/>
              </a:ext>
            </a:extLst>
          </p:cNvPr>
          <p:cNvGrpSpPr/>
          <p:nvPr/>
        </p:nvGrpSpPr>
        <p:grpSpPr>
          <a:xfrm>
            <a:off x="5639420" y="4902511"/>
            <a:ext cx="3065627" cy="121799"/>
            <a:chOff x="6583198" y="1839114"/>
            <a:chExt cx="3065627" cy="121799"/>
          </a:xfrm>
        </p:grpSpPr>
        <p:sp>
          <p:nvSpPr>
            <p:cNvPr id="401" name="Rectangle 400">
              <a:extLst>
                <a:ext uri="{FF2B5EF4-FFF2-40B4-BE49-F238E27FC236}">
                  <a16:creationId xmlns:a16="http://schemas.microsoft.com/office/drawing/2014/main" id="{285AB5E5-EC0F-40DF-910D-542927122E71}"/>
                </a:ext>
              </a:extLst>
            </p:cNvPr>
            <p:cNvSpPr/>
            <p:nvPr/>
          </p:nvSpPr>
          <p:spPr>
            <a:xfrm>
              <a:off x="6583198" y="1839114"/>
              <a:ext cx="2998952" cy="119502"/>
            </a:xfrm>
            <a:prstGeom prst="rect">
              <a:avLst/>
            </a:prstGeom>
            <a:solidFill>
              <a:srgbClr val="F5C69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02" name="Isosceles Triangle 401">
              <a:extLst>
                <a:ext uri="{FF2B5EF4-FFF2-40B4-BE49-F238E27FC236}">
                  <a16:creationId xmlns:a16="http://schemas.microsoft.com/office/drawing/2014/main" id="{6FA8D4B9-7782-4E83-9733-8A97014D14FC}"/>
                </a:ext>
              </a:extLst>
            </p:cNvPr>
            <p:cNvSpPr/>
            <p:nvPr/>
          </p:nvSpPr>
          <p:spPr>
            <a:xfrm>
              <a:off x="9511879" y="1841411"/>
              <a:ext cx="136946" cy="119502"/>
            </a:xfrm>
            <a:prstGeom prst="triangle">
              <a:avLst/>
            </a:prstGeom>
            <a:solidFill>
              <a:srgbClr val="EE9D4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E94E88FF-4E60-4E60-ACD3-1380037F2290}"/>
              </a:ext>
            </a:extLst>
          </p:cNvPr>
          <p:cNvGrpSpPr/>
          <p:nvPr/>
        </p:nvGrpSpPr>
        <p:grpSpPr>
          <a:xfrm>
            <a:off x="1963916" y="4686086"/>
            <a:ext cx="4140124" cy="119502"/>
            <a:chOff x="4355844" y="1592209"/>
            <a:chExt cx="4140124" cy="119502"/>
          </a:xfrm>
        </p:grpSpPr>
        <p:sp>
          <p:nvSpPr>
            <p:cNvPr id="404" name="Rectangle 403">
              <a:extLst>
                <a:ext uri="{FF2B5EF4-FFF2-40B4-BE49-F238E27FC236}">
                  <a16:creationId xmlns:a16="http://schemas.microsoft.com/office/drawing/2014/main" id="{F405454B-58F5-4CDB-947B-AD85C18355DF}"/>
                </a:ext>
              </a:extLst>
            </p:cNvPr>
            <p:cNvSpPr/>
            <p:nvPr/>
          </p:nvSpPr>
          <p:spPr>
            <a:xfrm>
              <a:off x="4355844" y="1592209"/>
              <a:ext cx="4066638" cy="119502"/>
            </a:xfrm>
            <a:prstGeom prst="rect">
              <a:avLst/>
            </a:prstGeom>
            <a:solidFill>
              <a:srgbClr val="F5C69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05" name="Isosceles Triangle 404">
              <a:extLst>
                <a:ext uri="{FF2B5EF4-FFF2-40B4-BE49-F238E27FC236}">
                  <a16:creationId xmlns:a16="http://schemas.microsoft.com/office/drawing/2014/main" id="{71D7B98C-8CD1-4592-8F22-B5300704E747}"/>
                </a:ext>
              </a:extLst>
            </p:cNvPr>
            <p:cNvSpPr/>
            <p:nvPr/>
          </p:nvSpPr>
          <p:spPr>
            <a:xfrm>
              <a:off x="8359022" y="1592209"/>
              <a:ext cx="136946" cy="119502"/>
            </a:xfrm>
            <a:prstGeom prst="triangle">
              <a:avLst/>
            </a:prstGeom>
            <a:solidFill>
              <a:srgbClr val="EE9D4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06" name="TextBox 405">
            <a:extLst>
              <a:ext uri="{FF2B5EF4-FFF2-40B4-BE49-F238E27FC236}">
                <a16:creationId xmlns:a16="http://schemas.microsoft.com/office/drawing/2014/main" id="{10760CA1-56CF-476E-93BE-1E172C750FBD}"/>
              </a:ext>
            </a:extLst>
          </p:cNvPr>
          <p:cNvSpPr txBox="1"/>
          <p:nvPr/>
        </p:nvSpPr>
        <p:spPr>
          <a:xfrm>
            <a:off x="6154020" y="5160600"/>
            <a:ext cx="4940651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Production of methanol, olefins and BTX using H</a:t>
            </a:r>
            <a:r>
              <a:rPr lang="en-US" sz="1200" baseline="-25000" dirty="0"/>
              <a:t>2</a:t>
            </a:r>
            <a:r>
              <a:rPr lang="en-US" sz="1200" dirty="0"/>
              <a:t> and captured carbon</a:t>
            </a:r>
            <a:r>
              <a:rPr lang="en-US" sz="1200" baseline="30000" dirty="0"/>
              <a:t>2</a:t>
            </a:r>
          </a:p>
        </p:txBody>
      </p: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52F6F191-48DD-460F-BC3C-E83619A036D3}"/>
              </a:ext>
            </a:extLst>
          </p:cNvPr>
          <p:cNvGrpSpPr/>
          <p:nvPr/>
        </p:nvGrpSpPr>
        <p:grpSpPr>
          <a:xfrm>
            <a:off x="6039568" y="5421360"/>
            <a:ext cx="2382913" cy="121799"/>
            <a:chOff x="7265912" y="1839114"/>
            <a:chExt cx="2382913" cy="121799"/>
          </a:xfrm>
        </p:grpSpPr>
        <p:sp>
          <p:nvSpPr>
            <p:cNvPr id="408" name="Rectangle 407">
              <a:extLst>
                <a:ext uri="{FF2B5EF4-FFF2-40B4-BE49-F238E27FC236}">
                  <a16:creationId xmlns:a16="http://schemas.microsoft.com/office/drawing/2014/main" id="{386A42ED-C41A-4A9C-BF12-C4BA401B6BBB}"/>
                </a:ext>
              </a:extLst>
            </p:cNvPr>
            <p:cNvSpPr/>
            <p:nvPr/>
          </p:nvSpPr>
          <p:spPr>
            <a:xfrm>
              <a:off x="7265912" y="1839114"/>
              <a:ext cx="2316238" cy="11950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09" name="Isosceles Triangle 408">
              <a:extLst>
                <a:ext uri="{FF2B5EF4-FFF2-40B4-BE49-F238E27FC236}">
                  <a16:creationId xmlns:a16="http://schemas.microsoft.com/office/drawing/2014/main" id="{DB6ABFE6-658B-4A63-92EB-2414057227DA}"/>
                </a:ext>
              </a:extLst>
            </p:cNvPr>
            <p:cNvSpPr/>
            <p:nvPr/>
          </p:nvSpPr>
          <p:spPr>
            <a:xfrm>
              <a:off x="9511879" y="1841411"/>
              <a:ext cx="136946" cy="119502"/>
            </a:xfrm>
            <a:prstGeom prst="triangl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14" name="TextBox 413">
            <a:extLst>
              <a:ext uri="{FF2B5EF4-FFF2-40B4-BE49-F238E27FC236}">
                <a16:creationId xmlns:a16="http://schemas.microsoft.com/office/drawing/2014/main" id="{885086DF-D5A0-4A71-ABA5-69094533C5AD}"/>
              </a:ext>
            </a:extLst>
          </p:cNvPr>
          <p:cNvSpPr txBox="1"/>
          <p:nvPr/>
        </p:nvSpPr>
        <p:spPr>
          <a:xfrm>
            <a:off x="6195156" y="4367787"/>
            <a:ext cx="1832492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High-grade industry heat</a:t>
            </a:r>
          </a:p>
        </p:txBody>
      </p:sp>
      <p:sp>
        <p:nvSpPr>
          <p:cNvPr id="418" name="Freeform 116">
            <a:extLst>
              <a:ext uri="{FF2B5EF4-FFF2-40B4-BE49-F238E27FC236}">
                <a16:creationId xmlns:a16="http://schemas.microsoft.com/office/drawing/2014/main" id="{88EDBF9E-F7B2-484D-919B-AF9FB2BC7B68}"/>
              </a:ext>
            </a:extLst>
          </p:cNvPr>
          <p:cNvSpPr>
            <a:spLocks noEditPoints="1"/>
          </p:cNvSpPr>
          <p:nvPr/>
        </p:nvSpPr>
        <p:spPr bwMode="auto">
          <a:xfrm>
            <a:off x="7839565" y="4027614"/>
            <a:ext cx="371747" cy="233639"/>
          </a:xfrm>
          <a:custGeom>
            <a:avLst/>
            <a:gdLst>
              <a:gd name="T0" fmla="*/ 1808 w 3295"/>
              <a:gd name="T1" fmla="*/ 1840 h 2577"/>
              <a:gd name="T2" fmla="*/ 1736 w 3295"/>
              <a:gd name="T3" fmla="*/ 1890 h 2577"/>
              <a:gd name="T4" fmla="*/ 1698 w 3295"/>
              <a:gd name="T5" fmla="*/ 1972 h 2577"/>
              <a:gd name="T6" fmla="*/ 1698 w 3295"/>
              <a:gd name="T7" fmla="*/ 2226 h 2577"/>
              <a:gd name="T8" fmla="*/ 1736 w 3295"/>
              <a:gd name="T9" fmla="*/ 2308 h 2577"/>
              <a:gd name="T10" fmla="*/ 1808 w 3295"/>
              <a:gd name="T11" fmla="*/ 2358 h 2577"/>
              <a:gd name="T12" fmla="*/ 2059 w 3295"/>
              <a:gd name="T13" fmla="*/ 2369 h 2577"/>
              <a:gd name="T14" fmla="*/ 2145 w 3295"/>
              <a:gd name="T15" fmla="*/ 2345 h 2577"/>
              <a:gd name="T16" fmla="*/ 2207 w 3295"/>
              <a:gd name="T17" fmla="*/ 2283 h 2577"/>
              <a:gd name="T18" fmla="*/ 2230 w 3295"/>
              <a:gd name="T19" fmla="*/ 2195 h 2577"/>
              <a:gd name="T20" fmla="*/ 2220 w 3295"/>
              <a:gd name="T21" fmla="*/ 1942 h 2577"/>
              <a:gd name="T22" fmla="*/ 2169 w 3295"/>
              <a:gd name="T23" fmla="*/ 1870 h 2577"/>
              <a:gd name="T24" fmla="*/ 2089 w 3295"/>
              <a:gd name="T25" fmla="*/ 1831 h 2577"/>
              <a:gd name="T26" fmla="*/ 1122 w 3295"/>
              <a:gd name="T27" fmla="*/ 1828 h 2577"/>
              <a:gd name="T28" fmla="*/ 1035 w 3295"/>
              <a:gd name="T29" fmla="*/ 1852 h 2577"/>
              <a:gd name="T30" fmla="*/ 974 w 3295"/>
              <a:gd name="T31" fmla="*/ 1915 h 2577"/>
              <a:gd name="T32" fmla="*/ 951 w 3295"/>
              <a:gd name="T33" fmla="*/ 2003 h 2577"/>
              <a:gd name="T34" fmla="*/ 961 w 3295"/>
              <a:gd name="T35" fmla="*/ 2256 h 2577"/>
              <a:gd name="T36" fmla="*/ 1011 w 3295"/>
              <a:gd name="T37" fmla="*/ 2328 h 2577"/>
              <a:gd name="T38" fmla="*/ 1092 w 3295"/>
              <a:gd name="T39" fmla="*/ 2367 h 2577"/>
              <a:gd name="T40" fmla="*/ 1345 w 3295"/>
              <a:gd name="T41" fmla="*/ 2367 h 2577"/>
              <a:gd name="T42" fmla="*/ 1424 w 3295"/>
              <a:gd name="T43" fmla="*/ 2328 h 2577"/>
              <a:gd name="T44" fmla="*/ 1474 w 3295"/>
              <a:gd name="T45" fmla="*/ 2256 h 2577"/>
              <a:gd name="T46" fmla="*/ 1485 w 3295"/>
              <a:gd name="T47" fmla="*/ 2003 h 2577"/>
              <a:gd name="T48" fmla="*/ 1462 w 3295"/>
              <a:gd name="T49" fmla="*/ 1915 h 2577"/>
              <a:gd name="T50" fmla="*/ 1400 w 3295"/>
              <a:gd name="T51" fmla="*/ 1852 h 2577"/>
              <a:gd name="T52" fmla="*/ 1313 w 3295"/>
              <a:gd name="T53" fmla="*/ 1828 h 2577"/>
              <a:gd name="T54" fmla="*/ 347 w 3295"/>
              <a:gd name="T55" fmla="*/ 1831 h 2577"/>
              <a:gd name="T56" fmla="*/ 266 w 3295"/>
              <a:gd name="T57" fmla="*/ 1870 h 2577"/>
              <a:gd name="T58" fmla="*/ 216 w 3295"/>
              <a:gd name="T59" fmla="*/ 1942 h 2577"/>
              <a:gd name="T60" fmla="*/ 205 w 3295"/>
              <a:gd name="T61" fmla="*/ 2195 h 2577"/>
              <a:gd name="T62" fmla="*/ 228 w 3295"/>
              <a:gd name="T63" fmla="*/ 2283 h 2577"/>
              <a:gd name="T64" fmla="*/ 291 w 3295"/>
              <a:gd name="T65" fmla="*/ 2345 h 2577"/>
              <a:gd name="T66" fmla="*/ 377 w 3295"/>
              <a:gd name="T67" fmla="*/ 2369 h 2577"/>
              <a:gd name="T68" fmla="*/ 628 w 3295"/>
              <a:gd name="T69" fmla="*/ 2358 h 2577"/>
              <a:gd name="T70" fmla="*/ 700 w 3295"/>
              <a:gd name="T71" fmla="*/ 2308 h 2577"/>
              <a:gd name="T72" fmla="*/ 738 w 3295"/>
              <a:gd name="T73" fmla="*/ 2226 h 2577"/>
              <a:gd name="T74" fmla="*/ 738 w 3295"/>
              <a:gd name="T75" fmla="*/ 1972 h 2577"/>
              <a:gd name="T76" fmla="*/ 700 w 3295"/>
              <a:gd name="T77" fmla="*/ 1890 h 2577"/>
              <a:gd name="T78" fmla="*/ 628 w 3295"/>
              <a:gd name="T79" fmla="*/ 1840 h 2577"/>
              <a:gd name="T80" fmla="*/ 377 w 3295"/>
              <a:gd name="T81" fmla="*/ 1828 h 2577"/>
              <a:gd name="T82" fmla="*/ 3295 w 3295"/>
              <a:gd name="T83" fmla="*/ 1840 h 2577"/>
              <a:gd name="T84" fmla="*/ 0 w 3295"/>
              <a:gd name="T85" fmla="*/ 1187 h 2577"/>
              <a:gd name="T86" fmla="*/ 1614 w 3295"/>
              <a:gd name="T87" fmla="*/ 772 h 2577"/>
              <a:gd name="T88" fmla="*/ 2417 w 3295"/>
              <a:gd name="T89" fmla="*/ 1840 h 2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95" h="2577">
                <a:moveTo>
                  <a:pt x="1867" y="1828"/>
                </a:moveTo>
                <a:lnTo>
                  <a:pt x="1836" y="1831"/>
                </a:lnTo>
                <a:lnTo>
                  <a:pt x="1808" y="1840"/>
                </a:lnTo>
                <a:lnTo>
                  <a:pt x="1780" y="1852"/>
                </a:lnTo>
                <a:lnTo>
                  <a:pt x="1757" y="1870"/>
                </a:lnTo>
                <a:lnTo>
                  <a:pt x="1736" y="1890"/>
                </a:lnTo>
                <a:lnTo>
                  <a:pt x="1719" y="1915"/>
                </a:lnTo>
                <a:lnTo>
                  <a:pt x="1706" y="1942"/>
                </a:lnTo>
                <a:lnTo>
                  <a:pt x="1698" y="1972"/>
                </a:lnTo>
                <a:lnTo>
                  <a:pt x="1695" y="2003"/>
                </a:lnTo>
                <a:lnTo>
                  <a:pt x="1695" y="2195"/>
                </a:lnTo>
                <a:lnTo>
                  <a:pt x="1698" y="2226"/>
                </a:lnTo>
                <a:lnTo>
                  <a:pt x="1706" y="2256"/>
                </a:lnTo>
                <a:lnTo>
                  <a:pt x="1719" y="2283"/>
                </a:lnTo>
                <a:lnTo>
                  <a:pt x="1736" y="2308"/>
                </a:lnTo>
                <a:lnTo>
                  <a:pt x="1757" y="2328"/>
                </a:lnTo>
                <a:lnTo>
                  <a:pt x="1780" y="2345"/>
                </a:lnTo>
                <a:lnTo>
                  <a:pt x="1808" y="2358"/>
                </a:lnTo>
                <a:lnTo>
                  <a:pt x="1836" y="2367"/>
                </a:lnTo>
                <a:lnTo>
                  <a:pt x="1867" y="2369"/>
                </a:lnTo>
                <a:lnTo>
                  <a:pt x="2059" y="2369"/>
                </a:lnTo>
                <a:lnTo>
                  <a:pt x="2089" y="2367"/>
                </a:lnTo>
                <a:lnTo>
                  <a:pt x="2118" y="2358"/>
                </a:lnTo>
                <a:lnTo>
                  <a:pt x="2145" y="2345"/>
                </a:lnTo>
                <a:lnTo>
                  <a:pt x="2169" y="2328"/>
                </a:lnTo>
                <a:lnTo>
                  <a:pt x="2189" y="2308"/>
                </a:lnTo>
                <a:lnTo>
                  <a:pt x="2207" y="2283"/>
                </a:lnTo>
                <a:lnTo>
                  <a:pt x="2220" y="2256"/>
                </a:lnTo>
                <a:lnTo>
                  <a:pt x="2227" y="2226"/>
                </a:lnTo>
                <a:lnTo>
                  <a:pt x="2230" y="2195"/>
                </a:lnTo>
                <a:lnTo>
                  <a:pt x="2230" y="2003"/>
                </a:lnTo>
                <a:lnTo>
                  <a:pt x="2227" y="1972"/>
                </a:lnTo>
                <a:lnTo>
                  <a:pt x="2220" y="1942"/>
                </a:lnTo>
                <a:lnTo>
                  <a:pt x="2207" y="1915"/>
                </a:lnTo>
                <a:lnTo>
                  <a:pt x="2189" y="1890"/>
                </a:lnTo>
                <a:lnTo>
                  <a:pt x="2169" y="1870"/>
                </a:lnTo>
                <a:lnTo>
                  <a:pt x="2145" y="1852"/>
                </a:lnTo>
                <a:lnTo>
                  <a:pt x="2118" y="1840"/>
                </a:lnTo>
                <a:lnTo>
                  <a:pt x="2089" y="1831"/>
                </a:lnTo>
                <a:lnTo>
                  <a:pt x="2059" y="1828"/>
                </a:lnTo>
                <a:lnTo>
                  <a:pt x="1867" y="1828"/>
                </a:lnTo>
                <a:close/>
                <a:moveTo>
                  <a:pt x="1122" y="1828"/>
                </a:moveTo>
                <a:lnTo>
                  <a:pt x="1092" y="1831"/>
                </a:lnTo>
                <a:lnTo>
                  <a:pt x="1062" y="1840"/>
                </a:lnTo>
                <a:lnTo>
                  <a:pt x="1035" y="1852"/>
                </a:lnTo>
                <a:lnTo>
                  <a:pt x="1011" y="1870"/>
                </a:lnTo>
                <a:lnTo>
                  <a:pt x="991" y="1890"/>
                </a:lnTo>
                <a:lnTo>
                  <a:pt x="974" y="1915"/>
                </a:lnTo>
                <a:lnTo>
                  <a:pt x="961" y="1942"/>
                </a:lnTo>
                <a:lnTo>
                  <a:pt x="953" y="1972"/>
                </a:lnTo>
                <a:lnTo>
                  <a:pt x="951" y="2003"/>
                </a:lnTo>
                <a:lnTo>
                  <a:pt x="951" y="2195"/>
                </a:lnTo>
                <a:lnTo>
                  <a:pt x="953" y="2226"/>
                </a:lnTo>
                <a:lnTo>
                  <a:pt x="961" y="2256"/>
                </a:lnTo>
                <a:lnTo>
                  <a:pt x="974" y="2283"/>
                </a:lnTo>
                <a:lnTo>
                  <a:pt x="991" y="2308"/>
                </a:lnTo>
                <a:lnTo>
                  <a:pt x="1011" y="2328"/>
                </a:lnTo>
                <a:lnTo>
                  <a:pt x="1035" y="2345"/>
                </a:lnTo>
                <a:lnTo>
                  <a:pt x="1062" y="2358"/>
                </a:lnTo>
                <a:lnTo>
                  <a:pt x="1092" y="2367"/>
                </a:lnTo>
                <a:lnTo>
                  <a:pt x="1122" y="2369"/>
                </a:lnTo>
                <a:lnTo>
                  <a:pt x="1313" y="2369"/>
                </a:lnTo>
                <a:lnTo>
                  <a:pt x="1345" y="2367"/>
                </a:lnTo>
                <a:lnTo>
                  <a:pt x="1373" y="2358"/>
                </a:lnTo>
                <a:lnTo>
                  <a:pt x="1400" y="2345"/>
                </a:lnTo>
                <a:lnTo>
                  <a:pt x="1424" y="2328"/>
                </a:lnTo>
                <a:lnTo>
                  <a:pt x="1444" y="2308"/>
                </a:lnTo>
                <a:lnTo>
                  <a:pt x="1462" y="2283"/>
                </a:lnTo>
                <a:lnTo>
                  <a:pt x="1474" y="2256"/>
                </a:lnTo>
                <a:lnTo>
                  <a:pt x="1482" y="2226"/>
                </a:lnTo>
                <a:lnTo>
                  <a:pt x="1485" y="2195"/>
                </a:lnTo>
                <a:lnTo>
                  <a:pt x="1485" y="2003"/>
                </a:lnTo>
                <a:lnTo>
                  <a:pt x="1482" y="1972"/>
                </a:lnTo>
                <a:lnTo>
                  <a:pt x="1474" y="1942"/>
                </a:lnTo>
                <a:lnTo>
                  <a:pt x="1462" y="1915"/>
                </a:lnTo>
                <a:lnTo>
                  <a:pt x="1444" y="1890"/>
                </a:lnTo>
                <a:lnTo>
                  <a:pt x="1424" y="1870"/>
                </a:lnTo>
                <a:lnTo>
                  <a:pt x="1400" y="1852"/>
                </a:lnTo>
                <a:lnTo>
                  <a:pt x="1373" y="1840"/>
                </a:lnTo>
                <a:lnTo>
                  <a:pt x="1345" y="1831"/>
                </a:lnTo>
                <a:lnTo>
                  <a:pt x="1313" y="1828"/>
                </a:lnTo>
                <a:lnTo>
                  <a:pt x="1122" y="1828"/>
                </a:lnTo>
                <a:close/>
                <a:moveTo>
                  <a:pt x="377" y="1828"/>
                </a:moveTo>
                <a:lnTo>
                  <a:pt x="347" y="1831"/>
                </a:lnTo>
                <a:lnTo>
                  <a:pt x="317" y="1840"/>
                </a:lnTo>
                <a:lnTo>
                  <a:pt x="291" y="1852"/>
                </a:lnTo>
                <a:lnTo>
                  <a:pt x="266" y="1870"/>
                </a:lnTo>
                <a:lnTo>
                  <a:pt x="246" y="1890"/>
                </a:lnTo>
                <a:lnTo>
                  <a:pt x="228" y="1915"/>
                </a:lnTo>
                <a:lnTo>
                  <a:pt x="216" y="1942"/>
                </a:lnTo>
                <a:lnTo>
                  <a:pt x="208" y="1972"/>
                </a:lnTo>
                <a:lnTo>
                  <a:pt x="205" y="2003"/>
                </a:lnTo>
                <a:lnTo>
                  <a:pt x="205" y="2195"/>
                </a:lnTo>
                <a:lnTo>
                  <a:pt x="208" y="2226"/>
                </a:lnTo>
                <a:lnTo>
                  <a:pt x="216" y="2256"/>
                </a:lnTo>
                <a:lnTo>
                  <a:pt x="228" y="2283"/>
                </a:lnTo>
                <a:lnTo>
                  <a:pt x="246" y="2308"/>
                </a:lnTo>
                <a:lnTo>
                  <a:pt x="266" y="2328"/>
                </a:lnTo>
                <a:lnTo>
                  <a:pt x="291" y="2345"/>
                </a:lnTo>
                <a:lnTo>
                  <a:pt x="317" y="2358"/>
                </a:lnTo>
                <a:lnTo>
                  <a:pt x="347" y="2367"/>
                </a:lnTo>
                <a:lnTo>
                  <a:pt x="377" y="2369"/>
                </a:lnTo>
                <a:lnTo>
                  <a:pt x="568" y="2369"/>
                </a:lnTo>
                <a:lnTo>
                  <a:pt x="599" y="2367"/>
                </a:lnTo>
                <a:lnTo>
                  <a:pt x="628" y="2358"/>
                </a:lnTo>
                <a:lnTo>
                  <a:pt x="655" y="2345"/>
                </a:lnTo>
                <a:lnTo>
                  <a:pt x="679" y="2328"/>
                </a:lnTo>
                <a:lnTo>
                  <a:pt x="700" y="2308"/>
                </a:lnTo>
                <a:lnTo>
                  <a:pt x="717" y="2283"/>
                </a:lnTo>
                <a:lnTo>
                  <a:pt x="729" y="2256"/>
                </a:lnTo>
                <a:lnTo>
                  <a:pt x="738" y="2226"/>
                </a:lnTo>
                <a:lnTo>
                  <a:pt x="741" y="2195"/>
                </a:lnTo>
                <a:lnTo>
                  <a:pt x="741" y="2003"/>
                </a:lnTo>
                <a:lnTo>
                  <a:pt x="738" y="1972"/>
                </a:lnTo>
                <a:lnTo>
                  <a:pt x="729" y="1942"/>
                </a:lnTo>
                <a:lnTo>
                  <a:pt x="717" y="1915"/>
                </a:lnTo>
                <a:lnTo>
                  <a:pt x="700" y="1890"/>
                </a:lnTo>
                <a:lnTo>
                  <a:pt x="679" y="1870"/>
                </a:lnTo>
                <a:lnTo>
                  <a:pt x="655" y="1852"/>
                </a:lnTo>
                <a:lnTo>
                  <a:pt x="628" y="1840"/>
                </a:lnTo>
                <a:lnTo>
                  <a:pt x="599" y="1831"/>
                </a:lnTo>
                <a:lnTo>
                  <a:pt x="568" y="1828"/>
                </a:lnTo>
                <a:lnTo>
                  <a:pt x="377" y="1828"/>
                </a:lnTo>
                <a:close/>
                <a:moveTo>
                  <a:pt x="2588" y="0"/>
                </a:moveTo>
                <a:lnTo>
                  <a:pt x="3123" y="0"/>
                </a:lnTo>
                <a:lnTo>
                  <a:pt x="3295" y="1840"/>
                </a:lnTo>
                <a:lnTo>
                  <a:pt x="3295" y="2577"/>
                </a:lnTo>
                <a:lnTo>
                  <a:pt x="0" y="2577"/>
                </a:lnTo>
                <a:lnTo>
                  <a:pt x="0" y="1187"/>
                </a:lnTo>
                <a:lnTo>
                  <a:pt x="812" y="772"/>
                </a:lnTo>
                <a:lnTo>
                  <a:pt x="812" y="1182"/>
                </a:lnTo>
                <a:lnTo>
                  <a:pt x="1614" y="772"/>
                </a:lnTo>
                <a:lnTo>
                  <a:pt x="1614" y="1182"/>
                </a:lnTo>
                <a:lnTo>
                  <a:pt x="2417" y="772"/>
                </a:lnTo>
                <a:lnTo>
                  <a:pt x="2417" y="1840"/>
                </a:lnTo>
                <a:lnTo>
                  <a:pt x="2588" y="0"/>
                </a:lnTo>
                <a:close/>
              </a:path>
            </a:pathLst>
          </a:custGeom>
          <a:solidFill>
            <a:schemeClr val="accent6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757D2527-38F6-4A43-97E6-21E3839E37CC}"/>
              </a:ext>
            </a:extLst>
          </p:cNvPr>
          <p:cNvGrpSpPr/>
          <p:nvPr/>
        </p:nvGrpSpPr>
        <p:grpSpPr>
          <a:xfrm>
            <a:off x="5183314" y="4183184"/>
            <a:ext cx="357557" cy="297891"/>
            <a:chOff x="13512800" y="3652838"/>
            <a:chExt cx="841375" cy="871538"/>
          </a:xfrm>
          <a:solidFill>
            <a:schemeClr val="accent6"/>
          </a:solidFill>
        </p:grpSpPr>
        <p:sp>
          <p:nvSpPr>
            <p:cNvPr id="420" name="Freeform 124">
              <a:extLst>
                <a:ext uri="{FF2B5EF4-FFF2-40B4-BE49-F238E27FC236}">
                  <a16:creationId xmlns:a16="http://schemas.microsoft.com/office/drawing/2014/main" id="{89FC2C6D-AEA3-47CA-B72A-55031CC6A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2825" y="3652838"/>
              <a:ext cx="641350" cy="257175"/>
            </a:xfrm>
            <a:custGeom>
              <a:avLst/>
              <a:gdLst>
                <a:gd name="T0" fmla="*/ 1536 w 2425"/>
                <a:gd name="T1" fmla="*/ 16 h 975"/>
                <a:gd name="T2" fmla="*/ 1675 w 2425"/>
                <a:gd name="T3" fmla="*/ 87 h 975"/>
                <a:gd name="T4" fmla="*/ 1747 w 2425"/>
                <a:gd name="T5" fmla="*/ 173 h 975"/>
                <a:gd name="T6" fmla="*/ 1769 w 2425"/>
                <a:gd name="T7" fmla="*/ 225 h 975"/>
                <a:gd name="T8" fmla="*/ 1784 w 2425"/>
                <a:gd name="T9" fmla="*/ 206 h 975"/>
                <a:gd name="T10" fmla="*/ 1851 w 2425"/>
                <a:gd name="T11" fmla="*/ 151 h 975"/>
                <a:gd name="T12" fmla="*/ 1990 w 2425"/>
                <a:gd name="T13" fmla="*/ 122 h 975"/>
                <a:gd name="T14" fmla="*/ 2139 w 2425"/>
                <a:gd name="T15" fmla="*/ 161 h 975"/>
                <a:gd name="T16" fmla="*/ 2200 w 2425"/>
                <a:gd name="T17" fmla="*/ 245 h 975"/>
                <a:gd name="T18" fmla="*/ 2210 w 2425"/>
                <a:gd name="T19" fmla="*/ 324 h 975"/>
                <a:gd name="T20" fmla="*/ 2210 w 2425"/>
                <a:gd name="T21" fmla="*/ 350 h 975"/>
                <a:gd name="T22" fmla="*/ 2264 w 2425"/>
                <a:gd name="T23" fmla="*/ 352 h 975"/>
                <a:gd name="T24" fmla="*/ 2353 w 2425"/>
                <a:gd name="T25" fmla="*/ 380 h 975"/>
                <a:gd name="T26" fmla="*/ 2418 w 2425"/>
                <a:gd name="T27" fmla="*/ 461 h 975"/>
                <a:gd name="T28" fmla="*/ 2408 w 2425"/>
                <a:gd name="T29" fmla="*/ 583 h 975"/>
                <a:gd name="T30" fmla="*/ 2326 w 2425"/>
                <a:gd name="T31" fmla="*/ 642 h 975"/>
                <a:gd name="T32" fmla="*/ 2245 w 2425"/>
                <a:gd name="T33" fmla="*/ 658 h 975"/>
                <a:gd name="T34" fmla="*/ 2230 w 2425"/>
                <a:gd name="T35" fmla="*/ 666 h 975"/>
                <a:gd name="T36" fmla="*/ 2241 w 2425"/>
                <a:gd name="T37" fmla="*/ 726 h 975"/>
                <a:gd name="T38" fmla="*/ 2202 w 2425"/>
                <a:gd name="T39" fmla="*/ 817 h 975"/>
                <a:gd name="T40" fmla="*/ 2045 w 2425"/>
                <a:gd name="T41" fmla="*/ 903 h 975"/>
                <a:gd name="T42" fmla="*/ 1874 w 2425"/>
                <a:gd name="T43" fmla="*/ 924 h 975"/>
                <a:gd name="T44" fmla="*/ 1771 w 2425"/>
                <a:gd name="T45" fmla="*/ 881 h 975"/>
                <a:gd name="T46" fmla="*/ 1722 w 2425"/>
                <a:gd name="T47" fmla="*/ 825 h 975"/>
                <a:gd name="T48" fmla="*/ 1710 w 2425"/>
                <a:gd name="T49" fmla="*/ 806 h 975"/>
                <a:gd name="T50" fmla="*/ 1672 w 2425"/>
                <a:gd name="T51" fmla="*/ 852 h 975"/>
                <a:gd name="T52" fmla="*/ 1571 w 2425"/>
                <a:gd name="T53" fmla="*/ 924 h 975"/>
                <a:gd name="T54" fmla="*/ 1397 w 2425"/>
                <a:gd name="T55" fmla="*/ 972 h 975"/>
                <a:gd name="T56" fmla="*/ 1168 w 2425"/>
                <a:gd name="T57" fmla="*/ 950 h 975"/>
                <a:gd name="T58" fmla="*/ 1018 w 2425"/>
                <a:gd name="T59" fmla="*/ 863 h 975"/>
                <a:gd name="T60" fmla="*/ 942 w 2425"/>
                <a:gd name="T61" fmla="*/ 759 h 975"/>
                <a:gd name="T62" fmla="*/ 917 w 2425"/>
                <a:gd name="T63" fmla="*/ 689 h 975"/>
                <a:gd name="T64" fmla="*/ 895 w 2425"/>
                <a:gd name="T65" fmla="*/ 691 h 975"/>
                <a:gd name="T66" fmla="*/ 786 w 2425"/>
                <a:gd name="T67" fmla="*/ 725 h 975"/>
                <a:gd name="T68" fmla="*/ 632 w 2425"/>
                <a:gd name="T69" fmla="*/ 715 h 975"/>
                <a:gd name="T70" fmla="*/ 447 w 2425"/>
                <a:gd name="T71" fmla="*/ 585 h 975"/>
                <a:gd name="T72" fmla="*/ 254 w 2425"/>
                <a:gd name="T73" fmla="*/ 476 h 975"/>
                <a:gd name="T74" fmla="*/ 109 w 2425"/>
                <a:gd name="T75" fmla="*/ 495 h 975"/>
                <a:gd name="T76" fmla="*/ 11 w 2425"/>
                <a:gd name="T77" fmla="*/ 530 h 975"/>
                <a:gd name="T78" fmla="*/ 16 w 2425"/>
                <a:gd name="T79" fmla="*/ 386 h 975"/>
                <a:gd name="T80" fmla="*/ 121 w 2425"/>
                <a:gd name="T81" fmla="*/ 268 h 975"/>
                <a:gd name="T82" fmla="*/ 252 w 2425"/>
                <a:gd name="T83" fmla="*/ 236 h 975"/>
                <a:gd name="T84" fmla="*/ 383 w 2425"/>
                <a:gd name="T85" fmla="*/ 260 h 975"/>
                <a:gd name="T86" fmla="*/ 456 w 2425"/>
                <a:gd name="T87" fmla="*/ 288 h 975"/>
                <a:gd name="T88" fmla="*/ 479 w 2425"/>
                <a:gd name="T89" fmla="*/ 260 h 975"/>
                <a:gd name="T90" fmla="*/ 563 w 2425"/>
                <a:gd name="T91" fmla="*/ 187 h 975"/>
                <a:gd name="T92" fmla="*/ 718 w 2425"/>
                <a:gd name="T93" fmla="*/ 145 h 975"/>
                <a:gd name="T94" fmla="*/ 905 w 2425"/>
                <a:gd name="T95" fmla="*/ 176 h 975"/>
                <a:gd name="T96" fmla="*/ 1005 w 2425"/>
                <a:gd name="T97" fmla="*/ 236 h 975"/>
                <a:gd name="T98" fmla="*/ 1035 w 2425"/>
                <a:gd name="T99" fmla="*/ 268 h 975"/>
                <a:gd name="T100" fmla="*/ 1059 w 2425"/>
                <a:gd name="T101" fmla="*/ 218 h 975"/>
                <a:gd name="T102" fmla="*/ 1140 w 2425"/>
                <a:gd name="T103" fmla="*/ 112 h 975"/>
                <a:gd name="T104" fmla="*/ 1288 w 2425"/>
                <a:gd name="T105" fmla="*/ 2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25" h="975">
                  <a:moveTo>
                    <a:pt x="1412" y="0"/>
                  </a:moveTo>
                  <a:lnTo>
                    <a:pt x="1412" y="0"/>
                  </a:lnTo>
                  <a:lnTo>
                    <a:pt x="1457" y="3"/>
                  </a:lnTo>
                  <a:lnTo>
                    <a:pt x="1498" y="8"/>
                  </a:lnTo>
                  <a:lnTo>
                    <a:pt x="1536" y="16"/>
                  </a:lnTo>
                  <a:lnTo>
                    <a:pt x="1570" y="27"/>
                  </a:lnTo>
                  <a:lnTo>
                    <a:pt x="1602" y="40"/>
                  </a:lnTo>
                  <a:lnTo>
                    <a:pt x="1629" y="54"/>
                  </a:lnTo>
                  <a:lnTo>
                    <a:pt x="1653" y="70"/>
                  </a:lnTo>
                  <a:lnTo>
                    <a:pt x="1675" y="87"/>
                  </a:lnTo>
                  <a:lnTo>
                    <a:pt x="1694" y="105"/>
                  </a:lnTo>
                  <a:lnTo>
                    <a:pt x="1711" y="123"/>
                  </a:lnTo>
                  <a:lnTo>
                    <a:pt x="1725" y="140"/>
                  </a:lnTo>
                  <a:lnTo>
                    <a:pt x="1736" y="158"/>
                  </a:lnTo>
                  <a:lnTo>
                    <a:pt x="1747" y="173"/>
                  </a:lnTo>
                  <a:lnTo>
                    <a:pt x="1754" y="188"/>
                  </a:lnTo>
                  <a:lnTo>
                    <a:pt x="1761" y="201"/>
                  </a:lnTo>
                  <a:lnTo>
                    <a:pt x="1765" y="211"/>
                  </a:lnTo>
                  <a:lnTo>
                    <a:pt x="1768" y="220"/>
                  </a:lnTo>
                  <a:lnTo>
                    <a:pt x="1769" y="225"/>
                  </a:lnTo>
                  <a:lnTo>
                    <a:pt x="1770" y="227"/>
                  </a:lnTo>
                  <a:lnTo>
                    <a:pt x="1770" y="225"/>
                  </a:lnTo>
                  <a:lnTo>
                    <a:pt x="1773" y="221"/>
                  </a:lnTo>
                  <a:lnTo>
                    <a:pt x="1778" y="215"/>
                  </a:lnTo>
                  <a:lnTo>
                    <a:pt x="1784" y="206"/>
                  </a:lnTo>
                  <a:lnTo>
                    <a:pt x="1792" y="196"/>
                  </a:lnTo>
                  <a:lnTo>
                    <a:pt x="1804" y="185"/>
                  </a:lnTo>
                  <a:lnTo>
                    <a:pt x="1817" y="173"/>
                  </a:lnTo>
                  <a:lnTo>
                    <a:pt x="1832" y="162"/>
                  </a:lnTo>
                  <a:lnTo>
                    <a:pt x="1851" y="151"/>
                  </a:lnTo>
                  <a:lnTo>
                    <a:pt x="1872" y="141"/>
                  </a:lnTo>
                  <a:lnTo>
                    <a:pt x="1897" y="133"/>
                  </a:lnTo>
                  <a:lnTo>
                    <a:pt x="1925" y="127"/>
                  </a:lnTo>
                  <a:lnTo>
                    <a:pt x="1956" y="123"/>
                  </a:lnTo>
                  <a:lnTo>
                    <a:pt x="1990" y="122"/>
                  </a:lnTo>
                  <a:lnTo>
                    <a:pt x="2028" y="124"/>
                  </a:lnTo>
                  <a:lnTo>
                    <a:pt x="2062" y="129"/>
                  </a:lnTo>
                  <a:lnTo>
                    <a:pt x="2092" y="137"/>
                  </a:lnTo>
                  <a:lnTo>
                    <a:pt x="2117" y="148"/>
                  </a:lnTo>
                  <a:lnTo>
                    <a:pt x="2139" y="161"/>
                  </a:lnTo>
                  <a:lnTo>
                    <a:pt x="2157" y="175"/>
                  </a:lnTo>
                  <a:lnTo>
                    <a:pt x="2172" y="192"/>
                  </a:lnTo>
                  <a:lnTo>
                    <a:pt x="2183" y="209"/>
                  </a:lnTo>
                  <a:lnTo>
                    <a:pt x="2193" y="227"/>
                  </a:lnTo>
                  <a:lnTo>
                    <a:pt x="2200" y="245"/>
                  </a:lnTo>
                  <a:lnTo>
                    <a:pt x="2204" y="263"/>
                  </a:lnTo>
                  <a:lnTo>
                    <a:pt x="2207" y="280"/>
                  </a:lnTo>
                  <a:lnTo>
                    <a:pt x="2210" y="296"/>
                  </a:lnTo>
                  <a:lnTo>
                    <a:pt x="2211" y="312"/>
                  </a:lnTo>
                  <a:lnTo>
                    <a:pt x="2210" y="324"/>
                  </a:lnTo>
                  <a:lnTo>
                    <a:pt x="2210" y="335"/>
                  </a:lnTo>
                  <a:lnTo>
                    <a:pt x="2208" y="343"/>
                  </a:lnTo>
                  <a:lnTo>
                    <a:pt x="2207" y="349"/>
                  </a:lnTo>
                  <a:lnTo>
                    <a:pt x="2207" y="350"/>
                  </a:lnTo>
                  <a:lnTo>
                    <a:pt x="2210" y="350"/>
                  </a:lnTo>
                  <a:lnTo>
                    <a:pt x="2215" y="350"/>
                  </a:lnTo>
                  <a:lnTo>
                    <a:pt x="2223" y="350"/>
                  </a:lnTo>
                  <a:lnTo>
                    <a:pt x="2235" y="350"/>
                  </a:lnTo>
                  <a:lnTo>
                    <a:pt x="2248" y="351"/>
                  </a:lnTo>
                  <a:lnTo>
                    <a:pt x="2264" y="352"/>
                  </a:lnTo>
                  <a:lnTo>
                    <a:pt x="2281" y="354"/>
                  </a:lnTo>
                  <a:lnTo>
                    <a:pt x="2298" y="359"/>
                  </a:lnTo>
                  <a:lnTo>
                    <a:pt x="2317" y="363"/>
                  </a:lnTo>
                  <a:lnTo>
                    <a:pt x="2335" y="371"/>
                  </a:lnTo>
                  <a:lnTo>
                    <a:pt x="2353" y="380"/>
                  </a:lnTo>
                  <a:lnTo>
                    <a:pt x="2370" y="390"/>
                  </a:lnTo>
                  <a:lnTo>
                    <a:pt x="2384" y="404"/>
                  </a:lnTo>
                  <a:lnTo>
                    <a:pt x="2398" y="420"/>
                  </a:lnTo>
                  <a:lnTo>
                    <a:pt x="2410" y="440"/>
                  </a:lnTo>
                  <a:lnTo>
                    <a:pt x="2418" y="461"/>
                  </a:lnTo>
                  <a:lnTo>
                    <a:pt x="2423" y="487"/>
                  </a:lnTo>
                  <a:lnTo>
                    <a:pt x="2425" y="516"/>
                  </a:lnTo>
                  <a:lnTo>
                    <a:pt x="2423" y="541"/>
                  </a:lnTo>
                  <a:lnTo>
                    <a:pt x="2417" y="563"/>
                  </a:lnTo>
                  <a:lnTo>
                    <a:pt x="2408" y="583"/>
                  </a:lnTo>
                  <a:lnTo>
                    <a:pt x="2395" y="599"/>
                  </a:lnTo>
                  <a:lnTo>
                    <a:pt x="2379" y="613"/>
                  </a:lnTo>
                  <a:lnTo>
                    <a:pt x="2362" y="624"/>
                  </a:lnTo>
                  <a:lnTo>
                    <a:pt x="2344" y="634"/>
                  </a:lnTo>
                  <a:lnTo>
                    <a:pt x="2326" y="642"/>
                  </a:lnTo>
                  <a:lnTo>
                    <a:pt x="2307" y="647"/>
                  </a:lnTo>
                  <a:lnTo>
                    <a:pt x="2290" y="652"/>
                  </a:lnTo>
                  <a:lnTo>
                    <a:pt x="2273" y="655"/>
                  </a:lnTo>
                  <a:lnTo>
                    <a:pt x="2258" y="657"/>
                  </a:lnTo>
                  <a:lnTo>
                    <a:pt x="2245" y="658"/>
                  </a:lnTo>
                  <a:lnTo>
                    <a:pt x="2236" y="659"/>
                  </a:lnTo>
                  <a:lnTo>
                    <a:pt x="2230" y="659"/>
                  </a:lnTo>
                  <a:lnTo>
                    <a:pt x="2226" y="659"/>
                  </a:lnTo>
                  <a:lnTo>
                    <a:pt x="2227" y="661"/>
                  </a:lnTo>
                  <a:lnTo>
                    <a:pt x="2230" y="666"/>
                  </a:lnTo>
                  <a:lnTo>
                    <a:pt x="2233" y="673"/>
                  </a:lnTo>
                  <a:lnTo>
                    <a:pt x="2236" y="683"/>
                  </a:lnTo>
                  <a:lnTo>
                    <a:pt x="2239" y="695"/>
                  </a:lnTo>
                  <a:lnTo>
                    <a:pt x="2240" y="710"/>
                  </a:lnTo>
                  <a:lnTo>
                    <a:pt x="2241" y="726"/>
                  </a:lnTo>
                  <a:lnTo>
                    <a:pt x="2239" y="742"/>
                  </a:lnTo>
                  <a:lnTo>
                    <a:pt x="2235" y="760"/>
                  </a:lnTo>
                  <a:lnTo>
                    <a:pt x="2227" y="778"/>
                  </a:lnTo>
                  <a:lnTo>
                    <a:pt x="2217" y="798"/>
                  </a:lnTo>
                  <a:lnTo>
                    <a:pt x="2202" y="817"/>
                  </a:lnTo>
                  <a:lnTo>
                    <a:pt x="2182" y="835"/>
                  </a:lnTo>
                  <a:lnTo>
                    <a:pt x="2157" y="854"/>
                  </a:lnTo>
                  <a:lnTo>
                    <a:pt x="2125" y="870"/>
                  </a:lnTo>
                  <a:lnTo>
                    <a:pt x="2088" y="887"/>
                  </a:lnTo>
                  <a:lnTo>
                    <a:pt x="2045" y="903"/>
                  </a:lnTo>
                  <a:lnTo>
                    <a:pt x="2005" y="915"/>
                  </a:lnTo>
                  <a:lnTo>
                    <a:pt x="1968" y="923"/>
                  </a:lnTo>
                  <a:lnTo>
                    <a:pt x="1935" y="926"/>
                  </a:lnTo>
                  <a:lnTo>
                    <a:pt x="1903" y="926"/>
                  </a:lnTo>
                  <a:lnTo>
                    <a:pt x="1874" y="924"/>
                  </a:lnTo>
                  <a:lnTo>
                    <a:pt x="1849" y="918"/>
                  </a:lnTo>
                  <a:lnTo>
                    <a:pt x="1826" y="912"/>
                  </a:lnTo>
                  <a:lnTo>
                    <a:pt x="1806" y="902"/>
                  </a:lnTo>
                  <a:lnTo>
                    <a:pt x="1787" y="892"/>
                  </a:lnTo>
                  <a:lnTo>
                    <a:pt x="1771" y="881"/>
                  </a:lnTo>
                  <a:lnTo>
                    <a:pt x="1758" y="869"/>
                  </a:lnTo>
                  <a:lnTo>
                    <a:pt x="1746" y="857"/>
                  </a:lnTo>
                  <a:lnTo>
                    <a:pt x="1735" y="846"/>
                  </a:lnTo>
                  <a:lnTo>
                    <a:pt x="1728" y="835"/>
                  </a:lnTo>
                  <a:lnTo>
                    <a:pt x="1722" y="825"/>
                  </a:lnTo>
                  <a:lnTo>
                    <a:pt x="1716" y="817"/>
                  </a:lnTo>
                  <a:lnTo>
                    <a:pt x="1713" y="810"/>
                  </a:lnTo>
                  <a:lnTo>
                    <a:pt x="1711" y="806"/>
                  </a:lnTo>
                  <a:lnTo>
                    <a:pt x="1711" y="805"/>
                  </a:lnTo>
                  <a:lnTo>
                    <a:pt x="1710" y="806"/>
                  </a:lnTo>
                  <a:lnTo>
                    <a:pt x="1707" y="811"/>
                  </a:lnTo>
                  <a:lnTo>
                    <a:pt x="1702" y="818"/>
                  </a:lnTo>
                  <a:lnTo>
                    <a:pt x="1694" y="828"/>
                  </a:lnTo>
                  <a:lnTo>
                    <a:pt x="1684" y="838"/>
                  </a:lnTo>
                  <a:lnTo>
                    <a:pt x="1672" y="852"/>
                  </a:lnTo>
                  <a:lnTo>
                    <a:pt x="1657" y="866"/>
                  </a:lnTo>
                  <a:lnTo>
                    <a:pt x="1640" y="880"/>
                  </a:lnTo>
                  <a:lnTo>
                    <a:pt x="1620" y="895"/>
                  </a:lnTo>
                  <a:lnTo>
                    <a:pt x="1597" y="910"/>
                  </a:lnTo>
                  <a:lnTo>
                    <a:pt x="1571" y="924"/>
                  </a:lnTo>
                  <a:lnTo>
                    <a:pt x="1543" y="937"/>
                  </a:lnTo>
                  <a:lnTo>
                    <a:pt x="1511" y="949"/>
                  </a:lnTo>
                  <a:lnTo>
                    <a:pt x="1476" y="959"/>
                  </a:lnTo>
                  <a:lnTo>
                    <a:pt x="1438" y="966"/>
                  </a:lnTo>
                  <a:lnTo>
                    <a:pt x="1397" y="972"/>
                  </a:lnTo>
                  <a:lnTo>
                    <a:pt x="1353" y="975"/>
                  </a:lnTo>
                  <a:lnTo>
                    <a:pt x="1305" y="974"/>
                  </a:lnTo>
                  <a:lnTo>
                    <a:pt x="1253" y="970"/>
                  </a:lnTo>
                  <a:lnTo>
                    <a:pt x="1208" y="961"/>
                  </a:lnTo>
                  <a:lnTo>
                    <a:pt x="1168" y="950"/>
                  </a:lnTo>
                  <a:lnTo>
                    <a:pt x="1131" y="937"/>
                  </a:lnTo>
                  <a:lnTo>
                    <a:pt x="1097" y="920"/>
                  </a:lnTo>
                  <a:lnTo>
                    <a:pt x="1067" y="902"/>
                  </a:lnTo>
                  <a:lnTo>
                    <a:pt x="1041" y="883"/>
                  </a:lnTo>
                  <a:lnTo>
                    <a:pt x="1018" y="863"/>
                  </a:lnTo>
                  <a:lnTo>
                    <a:pt x="998" y="842"/>
                  </a:lnTo>
                  <a:lnTo>
                    <a:pt x="980" y="820"/>
                  </a:lnTo>
                  <a:lnTo>
                    <a:pt x="965" y="799"/>
                  </a:lnTo>
                  <a:lnTo>
                    <a:pt x="953" y="778"/>
                  </a:lnTo>
                  <a:lnTo>
                    <a:pt x="942" y="759"/>
                  </a:lnTo>
                  <a:lnTo>
                    <a:pt x="934" y="740"/>
                  </a:lnTo>
                  <a:lnTo>
                    <a:pt x="927" y="724"/>
                  </a:lnTo>
                  <a:lnTo>
                    <a:pt x="923" y="710"/>
                  </a:lnTo>
                  <a:lnTo>
                    <a:pt x="919" y="698"/>
                  </a:lnTo>
                  <a:lnTo>
                    <a:pt x="917" y="689"/>
                  </a:lnTo>
                  <a:lnTo>
                    <a:pt x="916" y="682"/>
                  </a:lnTo>
                  <a:lnTo>
                    <a:pt x="916" y="681"/>
                  </a:lnTo>
                  <a:lnTo>
                    <a:pt x="913" y="682"/>
                  </a:lnTo>
                  <a:lnTo>
                    <a:pt x="905" y="685"/>
                  </a:lnTo>
                  <a:lnTo>
                    <a:pt x="895" y="691"/>
                  </a:lnTo>
                  <a:lnTo>
                    <a:pt x="879" y="698"/>
                  </a:lnTo>
                  <a:lnTo>
                    <a:pt x="860" y="705"/>
                  </a:lnTo>
                  <a:lnTo>
                    <a:pt x="838" y="712"/>
                  </a:lnTo>
                  <a:lnTo>
                    <a:pt x="814" y="719"/>
                  </a:lnTo>
                  <a:lnTo>
                    <a:pt x="786" y="725"/>
                  </a:lnTo>
                  <a:lnTo>
                    <a:pt x="758" y="728"/>
                  </a:lnTo>
                  <a:lnTo>
                    <a:pt x="727" y="730"/>
                  </a:lnTo>
                  <a:lnTo>
                    <a:pt x="696" y="729"/>
                  </a:lnTo>
                  <a:lnTo>
                    <a:pt x="664" y="724"/>
                  </a:lnTo>
                  <a:lnTo>
                    <a:pt x="632" y="715"/>
                  </a:lnTo>
                  <a:lnTo>
                    <a:pt x="600" y="702"/>
                  </a:lnTo>
                  <a:lnTo>
                    <a:pt x="568" y="683"/>
                  </a:lnTo>
                  <a:lnTo>
                    <a:pt x="538" y="659"/>
                  </a:lnTo>
                  <a:lnTo>
                    <a:pt x="491" y="621"/>
                  </a:lnTo>
                  <a:lnTo>
                    <a:pt x="447" y="585"/>
                  </a:lnTo>
                  <a:lnTo>
                    <a:pt x="404" y="554"/>
                  </a:lnTo>
                  <a:lnTo>
                    <a:pt x="364" y="528"/>
                  </a:lnTo>
                  <a:lnTo>
                    <a:pt x="326" y="506"/>
                  </a:lnTo>
                  <a:lnTo>
                    <a:pt x="289" y="489"/>
                  </a:lnTo>
                  <a:lnTo>
                    <a:pt x="254" y="476"/>
                  </a:lnTo>
                  <a:lnTo>
                    <a:pt x="222" y="469"/>
                  </a:lnTo>
                  <a:lnTo>
                    <a:pt x="191" y="467"/>
                  </a:lnTo>
                  <a:lnTo>
                    <a:pt x="161" y="470"/>
                  </a:lnTo>
                  <a:lnTo>
                    <a:pt x="134" y="480"/>
                  </a:lnTo>
                  <a:lnTo>
                    <a:pt x="109" y="495"/>
                  </a:lnTo>
                  <a:lnTo>
                    <a:pt x="85" y="516"/>
                  </a:lnTo>
                  <a:lnTo>
                    <a:pt x="62" y="543"/>
                  </a:lnTo>
                  <a:lnTo>
                    <a:pt x="41" y="577"/>
                  </a:lnTo>
                  <a:lnTo>
                    <a:pt x="23" y="555"/>
                  </a:lnTo>
                  <a:lnTo>
                    <a:pt x="11" y="530"/>
                  </a:lnTo>
                  <a:lnTo>
                    <a:pt x="3" y="503"/>
                  </a:lnTo>
                  <a:lnTo>
                    <a:pt x="0" y="475"/>
                  </a:lnTo>
                  <a:lnTo>
                    <a:pt x="1" y="445"/>
                  </a:lnTo>
                  <a:lnTo>
                    <a:pt x="7" y="416"/>
                  </a:lnTo>
                  <a:lnTo>
                    <a:pt x="16" y="386"/>
                  </a:lnTo>
                  <a:lnTo>
                    <a:pt x="30" y="358"/>
                  </a:lnTo>
                  <a:lnTo>
                    <a:pt x="47" y="331"/>
                  </a:lnTo>
                  <a:lnTo>
                    <a:pt x="68" y="307"/>
                  </a:lnTo>
                  <a:lnTo>
                    <a:pt x="93" y="286"/>
                  </a:lnTo>
                  <a:lnTo>
                    <a:pt x="121" y="268"/>
                  </a:lnTo>
                  <a:lnTo>
                    <a:pt x="145" y="255"/>
                  </a:lnTo>
                  <a:lnTo>
                    <a:pt x="170" y="245"/>
                  </a:lnTo>
                  <a:lnTo>
                    <a:pt x="196" y="240"/>
                  </a:lnTo>
                  <a:lnTo>
                    <a:pt x="224" y="236"/>
                  </a:lnTo>
                  <a:lnTo>
                    <a:pt x="252" y="236"/>
                  </a:lnTo>
                  <a:lnTo>
                    <a:pt x="281" y="239"/>
                  </a:lnTo>
                  <a:lnTo>
                    <a:pt x="308" y="243"/>
                  </a:lnTo>
                  <a:lnTo>
                    <a:pt x="334" y="247"/>
                  </a:lnTo>
                  <a:lnTo>
                    <a:pt x="360" y="254"/>
                  </a:lnTo>
                  <a:lnTo>
                    <a:pt x="383" y="260"/>
                  </a:lnTo>
                  <a:lnTo>
                    <a:pt x="404" y="268"/>
                  </a:lnTo>
                  <a:lnTo>
                    <a:pt x="423" y="275"/>
                  </a:lnTo>
                  <a:lnTo>
                    <a:pt x="437" y="280"/>
                  </a:lnTo>
                  <a:lnTo>
                    <a:pt x="449" y="284"/>
                  </a:lnTo>
                  <a:lnTo>
                    <a:pt x="456" y="288"/>
                  </a:lnTo>
                  <a:lnTo>
                    <a:pt x="459" y="289"/>
                  </a:lnTo>
                  <a:lnTo>
                    <a:pt x="460" y="287"/>
                  </a:lnTo>
                  <a:lnTo>
                    <a:pt x="464" y="281"/>
                  </a:lnTo>
                  <a:lnTo>
                    <a:pt x="469" y="272"/>
                  </a:lnTo>
                  <a:lnTo>
                    <a:pt x="479" y="260"/>
                  </a:lnTo>
                  <a:lnTo>
                    <a:pt x="490" y="247"/>
                  </a:lnTo>
                  <a:lnTo>
                    <a:pt x="504" y="232"/>
                  </a:lnTo>
                  <a:lnTo>
                    <a:pt x="521" y="217"/>
                  </a:lnTo>
                  <a:lnTo>
                    <a:pt x="540" y="201"/>
                  </a:lnTo>
                  <a:lnTo>
                    <a:pt x="563" y="187"/>
                  </a:lnTo>
                  <a:lnTo>
                    <a:pt x="587" y="173"/>
                  </a:lnTo>
                  <a:lnTo>
                    <a:pt x="616" y="162"/>
                  </a:lnTo>
                  <a:lnTo>
                    <a:pt x="646" y="152"/>
                  </a:lnTo>
                  <a:lnTo>
                    <a:pt x="681" y="147"/>
                  </a:lnTo>
                  <a:lnTo>
                    <a:pt x="718" y="145"/>
                  </a:lnTo>
                  <a:lnTo>
                    <a:pt x="763" y="146"/>
                  </a:lnTo>
                  <a:lnTo>
                    <a:pt x="804" y="150"/>
                  </a:lnTo>
                  <a:lnTo>
                    <a:pt x="842" y="158"/>
                  </a:lnTo>
                  <a:lnTo>
                    <a:pt x="876" y="166"/>
                  </a:lnTo>
                  <a:lnTo>
                    <a:pt x="905" y="176"/>
                  </a:lnTo>
                  <a:lnTo>
                    <a:pt x="932" y="188"/>
                  </a:lnTo>
                  <a:lnTo>
                    <a:pt x="955" y="200"/>
                  </a:lnTo>
                  <a:lnTo>
                    <a:pt x="975" y="212"/>
                  </a:lnTo>
                  <a:lnTo>
                    <a:pt x="992" y="224"/>
                  </a:lnTo>
                  <a:lnTo>
                    <a:pt x="1005" y="236"/>
                  </a:lnTo>
                  <a:lnTo>
                    <a:pt x="1016" y="246"/>
                  </a:lnTo>
                  <a:lnTo>
                    <a:pt x="1024" y="255"/>
                  </a:lnTo>
                  <a:lnTo>
                    <a:pt x="1031" y="263"/>
                  </a:lnTo>
                  <a:lnTo>
                    <a:pt x="1034" y="267"/>
                  </a:lnTo>
                  <a:lnTo>
                    <a:pt x="1035" y="268"/>
                  </a:lnTo>
                  <a:lnTo>
                    <a:pt x="1036" y="266"/>
                  </a:lnTo>
                  <a:lnTo>
                    <a:pt x="1038" y="259"/>
                  </a:lnTo>
                  <a:lnTo>
                    <a:pt x="1043" y="248"/>
                  </a:lnTo>
                  <a:lnTo>
                    <a:pt x="1051" y="234"/>
                  </a:lnTo>
                  <a:lnTo>
                    <a:pt x="1059" y="218"/>
                  </a:lnTo>
                  <a:lnTo>
                    <a:pt x="1071" y="199"/>
                  </a:lnTo>
                  <a:lnTo>
                    <a:pt x="1084" y="178"/>
                  </a:lnTo>
                  <a:lnTo>
                    <a:pt x="1100" y="157"/>
                  </a:lnTo>
                  <a:lnTo>
                    <a:pt x="1119" y="135"/>
                  </a:lnTo>
                  <a:lnTo>
                    <a:pt x="1140" y="112"/>
                  </a:lnTo>
                  <a:lnTo>
                    <a:pt x="1164" y="90"/>
                  </a:lnTo>
                  <a:lnTo>
                    <a:pt x="1191" y="70"/>
                  </a:lnTo>
                  <a:lnTo>
                    <a:pt x="1220" y="51"/>
                  </a:lnTo>
                  <a:lnTo>
                    <a:pt x="1253" y="34"/>
                  </a:lnTo>
                  <a:lnTo>
                    <a:pt x="1288" y="20"/>
                  </a:lnTo>
                  <a:lnTo>
                    <a:pt x="1326" y="10"/>
                  </a:lnTo>
                  <a:lnTo>
                    <a:pt x="1368" y="3"/>
                  </a:lnTo>
                  <a:lnTo>
                    <a:pt x="1412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421" name="Freeform 125">
              <a:extLst>
                <a:ext uri="{FF2B5EF4-FFF2-40B4-BE49-F238E27FC236}">
                  <a16:creationId xmlns:a16="http://schemas.microsoft.com/office/drawing/2014/main" id="{C0ED9071-A77C-49D8-9BD6-E3D434D262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12800" y="3814763"/>
              <a:ext cx="841375" cy="709613"/>
            </a:xfrm>
            <a:custGeom>
              <a:avLst/>
              <a:gdLst>
                <a:gd name="T0" fmla="*/ 397 w 3178"/>
                <a:gd name="T1" fmla="*/ 1855 h 2680"/>
                <a:gd name="T2" fmla="*/ 397 w 3178"/>
                <a:gd name="T3" fmla="*/ 2267 h 2680"/>
                <a:gd name="T4" fmla="*/ 1193 w 3178"/>
                <a:gd name="T5" fmla="*/ 2267 h 2680"/>
                <a:gd name="T6" fmla="*/ 1193 w 3178"/>
                <a:gd name="T7" fmla="*/ 1855 h 2680"/>
                <a:gd name="T8" fmla="*/ 397 w 3178"/>
                <a:gd name="T9" fmla="*/ 1855 h 2680"/>
                <a:gd name="T10" fmla="*/ 595 w 3178"/>
                <a:gd name="T11" fmla="*/ 0 h 2680"/>
                <a:gd name="T12" fmla="*/ 993 w 3178"/>
                <a:gd name="T13" fmla="*/ 0 h 2680"/>
                <a:gd name="T14" fmla="*/ 1113 w 3178"/>
                <a:gd name="T15" fmla="*/ 1443 h 2680"/>
                <a:gd name="T16" fmla="*/ 1589 w 3178"/>
                <a:gd name="T17" fmla="*/ 1443 h 2680"/>
                <a:gd name="T18" fmla="*/ 1589 w 3178"/>
                <a:gd name="T19" fmla="*/ 1876 h 2680"/>
                <a:gd name="T20" fmla="*/ 2384 w 3178"/>
                <a:gd name="T21" fmla="*/ 1443 h 2680"/>
                <a:gd name="T22" fmla="*/ 2384 w 3178"/>
                <a:gd name="T23" fmla="*/ 1876 h 2680"/>
                <a:gd name="T24" fmla="*/ 3178 w 3178"/>
                <a:gd name="T25" fmla="*/ 1443 h 2680"/>
                <a:gd name="T26" fmla="*/ 3178 w 3178"/>
                <a:gd name="T27" fmla="*/ 2680 h 2680"/>
                <a:gd name="T28" fmla="*/ 0 w 3178"/>
                <a:gd name="T29" fmla="*/ 2680 h 2680"/>
                <a:gd name="T30" fmla="*/ 0 w 3178"/>
                <a:gd name="T31" fmla="*/ 1443 h 2680"/>
                <a:gd name="T32" fmla="*/ 477 w 3178"/>
                <a:gd name="T33" fmla="*/ 1443 h 2680"/>
                <a:gd name="T34" fmla="*/ 595 w 3178"/>
                <a:gd name="T35" fmla="*/ 0 h 2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78" h="2680">
                  <a:moveTo>
                    <a:pt x="397" y="1855"/>
                  </a:moveTo>
                  <a:lnTo>
                    <a:pt x="397" y="2267"/>
                  </a:lnTo>
                  <a:lnTo>
                    <a:pt x="1193" y="2267"/>
                  </a:lnTo>
                  <a:lnTo>
                    <a:pt x="1193" y="1855"/>
                  </a:lnTo>
                  <a:lnTo>
                    <a:pt x="397" y="1855"/>
                  </a:lnTo>
                  <a:close/>
                  <a:moveTo>
                    <a:pt x="595" y="0"/>
                  </a:moveTo>
                  <a:lnTo>
                    <a:pt x="993" y="0"/>
                  </a:lnTo>
                  <a:lnTo>
                    <a:pt x="1113" y="1443"/>
                  </a:lnTo>
                  <a:lnTo>
                    <a:pt x="1589" y="1443"/>
                  </a:lnTo>
                  <a:lnTo>
                    <a:pt x="1589" y="1876"/>
                  </a:lnTo>
                  <a:lnTo>
                    <a:pt x="2384" y="1443"/>
                  </a:lnTo>
                  <a:lnTo>
                    <a:pt x="2384" y="1876"/>
                  </a:lnTo>
                  <a:lnTo>
                    <a:pt x="3178" y="1443"/>
                  </a:lnTo>
                  <a:lnTo>
                    <a:pt x="3178" y="2680"/>
                  </a:lnTo>
                  <a:lnTo>
                    <a:pt x="0" y="2680"/>
                  </a:lnTo>
                  <a:lnTo>
                    <a:pt x="0" y="1443"/>
                  </a:lnTo>
                  <a:lnTo>
                    <a:pt x="477" y="1443"/>
                  </a:lnTo>
                  <a:lnTo>
                    <a:pt x="595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422" name="TextBox 421">
            <a:extLst>
              <a:ext uri="{FF2B5EF4-FFF2-40B4-BE49-F238E27FC236}">
                <a16:creationId xmlns:a16="http://schemas.microsoft.com/office/drawing/2014/main" id="{FC69F079-FCF7-4391-91C3-24DA687DEE14}"/>
              </a:ext>
            </a:extLst>
          </p:cNvPr>
          <p:cNvSpPr txBox="1"/>
          <p:nvPr/>
        </p:nvSpPr>
        <p:spPr>
          <a:xfrm>
            <a:off x="8801891" y="4865751"/>
            <a:ext cx="160661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Pure hydrogen heating</a:t>
            </a:r>
          </a:p>
        </p:txBody>
      </p:sp>
      <p:sp>
        <p:nvSpPr>
          <p:cNvPr id="423" name="Freeform 15">
            <a:extLst>
              <a:ext uri="{FF2B5EF4-FFF2-40B4-BE49-F238E27FC236}">
                <a16:creationId xmlns:a16="http://schemas.microsoft.com/office/drawing/2014/main" id="{EAE15021-A034-4BAA-9248-E4D875521409}"/>
              </a:ext>
            </a:extLst>
          </p:cNvPr>
          <p:cNvSpPr>
            <a:spLocks noEditPoints="1"/>
          </p:cNvSpPr>
          <p:nvPr/>
        </p:nvSpPr>
        <p:spPr bwMode="auto">
          <a:xfrm>
            <a:off x="3316781" y="4500469"/>
            <a:ext cx="504000" cy="252000"/>
          </a:xfrm>
          <a:custGeom>
            <a:avLst/>
            <a:gdLst>
              <a:gd name="T0" fmla="*/ 1707 w 4250"/>
              <a:gd name="T1" fmla="*/ 2331 h 2387"/>
              <a:gd name="T2" fmla="*/ 1162 w 4250"/>
              <a:gd name="T3" fmla="*/ 2313 h 2387"/>
              <a:gd name="T4" fmla="*/ 1131 w 4250"/>
              <a:gd name="T5" fmla="*/ 2250 h 2387"/>
              <a:gd name="T6" fmla="*/ 1100 w 4250"/>
              <a:gd name="T7" fmla="*/ 2051 h 2387"/>
              <a:gd name="T8" fmla="*/ 1163 w 4250"/>
              <a:gd name="T9" fmla="*/ 1813 h 2387"/>
              <a:gd name="T10" fmla="*/ 1441 w 4250"/>
              <a:gd name="T11" fmla="*/ 1775 h 2387"/>
              <a:gd name="T12" fmla="*/ 1713 w 4250"/>
              <a:gd name="T13" fmla="*/ 1625 h 2387"/>
              <a:gd name="T14" fmla="*/ 1681 w 4250"/>
              <a:gd name="T15" fmla="*/ 1500 h 2387"/>
              <a:gd name="T16" fmla="*/ 1650 w 4250"/>
              <a:gd name="T17" fmla="*/ 1364 h 2387"/>
              <a:gd name="T18" fmla="*/ 1781 w 4250"/>
              <a:gd name="T19" fmla="*/ 1356 h 2387"/>
              <a:gd name="T20" fmla="*/ 1788 w 4250"/>
              <a:gd name="T21" fmla="*/ 1087 h 2387"/>
              <a:gd name="T22" fmla="*/ 2394 w 4250"/>
              <a:gd name="T23" fmla="*/ 1094 h 2387"/>
              <a:gd name="T24" fmla="*/ 2397 w 4250"/>
              <a:gd name="T25" fmla="*/ 1356 h 2387"/>
              <a:gd name="T26" fmla="*/ 2531 w 4250"/>
              <a:gd name="T27" fmla="*/ 1369 h 2387"/>
              <a:gd name="T28" fmla="*/ 2496 w 4250"/>
              <a:gd name="T29" fmla="*/ 1498 h 2387"/>
              <a:gd name="T30" fmla="*/ 2465 w 4250"/>
              <a:gd name="T31" fmla="*/ 1635 h 2387"/>
              <a:gd name="T32" fmla="*/ 2740 w 4250"/>
              <a:gd name="T33" fmla="*/ 1772 h 2387"/>
              <a:gd name="T34" fmla="*/ 3015 w 4250"/>
              <a:gd name="T35" fmla="*/ 1810 h 2387"/>
              <a:gd name="T36" fmla="*/ 3150 w 4250"/>
              <a:gd name="T37" fmla="*/ 1851 h 2387"/>
              <a:gd name="T38" fmla="*/ 3150 w 4250"/>
              <a:gd name="T39" fmla="*/ 2250 h 2387"/>
              <a:gd name="T40" fmla="*/ 3012 w 4250"/>
              <a:gd name="T41" fmla="*/ 2281 h 2387"/>
              <a:gd name="T42" fmla="*/ 2741 w 4250"/>
              <a:gd name="T43" fmla="*/ 2315 h 2387"/>
              <a:gd name="T44" fmla="*/ 2465 w 4250"/>
              <a:gd name="T45" fmla="*/ 2353 h 2387"/>
              <a:gd name="T46" fmla="*/ 2093 w 4250"/>
              <a:gd name="T47" fmla="*/ 2387 h 2387"/>
              <a:gd name="T48" fmla="*/ 0 w 4250"/>
              <a:gd name="T49" fmla="*/ 2044 h 2387"/>
              <a:gd name="T50" fmla="*/ 509 w 4250"/>
              <a:gd name="T51" fmla="*/ 1915 h 2387"/>
              <a:gd name="T52" fmla="*/ 1022 w 4250"/>
              <a:gd name="T53" fmla="*/ 2047 h 2387"/>
              <a:gd name="T54" fmla="*/ 513 w 4250"/>
              <a:gd name="T55" fmla="*/ 2175 h 2387"/>
              <a:gd name="T56" fmla="*/ 0 w 4250"/>
              <a:gd name="T57" fmla="*/ 2044 h 2387"/>
              <a:gd name="T58" fmla="*/ 3231 w 4250"/>
              <a:gd name="T59" fmla="*/ 1919 h 2387"/>
              <a:gd name="T60" fmla="*/ 4250 w 4250"/>
              <a:gd name="T61" fmla="*/ 1912 h 2387"/>
              <a:gd name="T62" fmla="*/ 4250 w 4250"/>
              <a:gd name="T63" fmla="*/ 2175 h 2387"/>
              <a:gd name="T64" fmla="*/ 3224 w 4250"/>
              <a:gd name="T65" fmla="*/ 2175 h 2387"/>
              <a:gd name="T66" fmla="*/ 1855 w 4250"/>
              <a:gd name="T67" fmla="*/ 995 h 2387"/>
              <a:gd name="T68" fmla="*/ 1856 w 4250"/>
              <a:gd name="T69" fmla="*/ 894 h 2387"/>
              <a:gd name="T70" fmla="*/ 2325 w 4250"/>
              <a:gd name="T71" fmla="*/ 887 h 2387"/>
              <a:gd name="T72" fmla="*/ 2325 w 4250"/>
              <a:gd name="T73" fmla="*/ 1012 h 2387"/>
              <a:gd name="T74" fmla="*/ 1855 w 4250"/>
              <a:gd name="T75" fmla="*/ 995 h 2387"/>
              <a:gd name="T76" fmla="*/ 1992 w 4250"/>
              <a:gd name="T77" fmla="*/ 631 h 2387"/>
              <a:gd name="T78" fmla="*/ 2091 w 4250"/>
              <a:gd name="T79" fmla="*/ 478 h 2387"/>
              <a:gd name="T80" fmla="*/ 2188 w 4250"/>
              <a:gd name="T81" fmla="*/ 643 h 2387"/>
              <a:gd name="T82" fmla="*/ 2093 w 4250"/>
              <a:gd name="T83" fmla="*/ 812 h 2387"/>
              <a:gd name="T84" fmla="*/ 1923 w 4250"/>
              <a:gd name="T85" fmla="*/ 328 h 2387"/>
              <a:gd name="T86" fmla="*/ 1769 w 4250"/>
              <a:gd name="T87" fmla="*/ 247 h 2387"/>
              <a:gd name="T88" fmla="*/ 1231 w 4250"/>
              <a:gd name="T89" fmla="*/ 206 h 2387"/>
              <a:gd name="T90" fmla="*/ 1425 w 4250"/>
              <a:gd name="T91" fmla="*/ 0 h 2387"/>
              <a:gd name="T92" fmla="*/ 1678 w 4250"/>
              <a:gd name="T93" fmla="*/ 63 h 2387"/>
              <a:gd name="T94" fmla="*/ 1915 w 4250"/>
              <a:gd name="T95" fmla="*/ 0 h 2387"/>
              <a:gd name="T96" fmla="*/ 2155 w 4250"/>
              <a:gd name="T97" fmla="*/ 63 h 2387"/>
              <a:gd name="T98" fmla="*/ 2398 w 4250"/>
              <a:gd name="T99" fmla="*/ 0 h 2387"/>
              <a:gd name="T100" fmla="*/ 2702 w 4250"/>
              <a:gd name="T101" fmla="*/ 31 h 2387"/>
              <a:gd name="T102" fmla="*/ 3060 w 4250"/>
              <a:gd name="T103" fmla="*/ 25 h 2387"/>
              <a:gd name="T104" fmla="*/ 3047 w 4250"/>
              <a:gd name="T105" fmla="*/ 180 h 2387"/>
              <a:gd name="T106" fmla="*/ 2313 w 4250"/>
              <a:gd name="T107" fmla="*/ 249 h 2387"/>
              <a:gd name="T108" fmla="*/ 2256 w 4250"/>
              <a:gd name="T109" fmla="*/ 325 h 2387"/>
              <a:gd name="T110" fmla="*/ 2091 w 4250"/>
              <a:gd name="T111" fmla="*/ 397 h 2387"/>
              <a:gd name="T112" fmla="*/ 1922 w 4250"/>
              <a:gd name="T113" fmla="*/ 328 h 2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250" h="2387">
                <a:moveTo>
                  <a:pt x="1718" y="2369"/>
                </a:moveTo>
                <a:cubicBezTo>
                  <a:pt x="1715" y="2358"/>
                  <a:pt x="1710" y="2342"/>
                  <a:pt x="1707" y="2331"/>
                </a:cubicBezTo>
                <a:cubicBezTo>
                  <a:pt x="1702" y="2315"/>
                  <a:pt x="1660" y="2313"/>
                  <a:pt x="1432" y="2313"/>
                </a:cubicBezTo>
                <a:lnTo>
                  <a:pt x="1162" y="2313"/>
                </a:lnTo>
                <a:lnTo>
                  <a:pt x="1162" y="2281"/>
                </a:lnTo>
                <a:cubicBezTo>
                  <a:pt x="1162" y="2256"/>
                  <a:pt x="1156" y="2250"/>
                  <a:pt x="1131" y="2250"/>
                </a:cubicBezTo>
                <a:lnTo>
                  <a:pt x="1100" y="2250"/>
                </a:lnTo>
                <a:lnTo>
                  <a:pt x="1100" y="2051"/>
                </a:lnTo>
                <a:cubicBezTo>
                  <a:pt x="1100" y="1855"/>
                  <a:pt x="1100" y="1852"/>
                  <a:pt x="1128" y="1848"/>
                </a:cubicBezTo>
                <a:cubicBezTo>
                  <a:pt x="1145" y="1845"/>
                  <a:pt x="1158" y="1832"/>
                  <a:pt x="1163" y="1813"/>
                </a:cubicBezTo>
                <a:lnTo>
                  <a:pt x="1170" y="1781"/>
                </a:lnTo>
                <a:lnTo>
                  <a:pt x="1441" y="1775"/>
                </a:lnTo>
                <a:cubicBezTo>
                  <a:pt x="1590" y="1772"/>
                  <a:pt x="1713" y="1765"/>
                  <a:pt x="1713" y="1759"/>
                </a:cubicBezTo>
                <a:cubicBezTo>
                  <a:pt x="1713" y="1754"/>
                  <a:pt x="1713" y="1694"/>
                  <a:pt x="1713" y="1625"/>
                </a:cubicBezTo>
                <a:lnTo>
                  <a:pt x="1713" y="1500"/>
                </a:lnTo>
                <a:lnTo>
                  <a:pt x="1681" y="1500"/>
                </a:lnTo>
                <a:cubicBezTo>
                  <a:pt x="1652" y="1500"/>
                  <a:pt x="1650" y="1496"/>
                  <a:pt x="1650" y="1432"/>
                </a:cubicBezTo>
                <a:lnTo>
                  <a:pt x="1650" y="1364"/>
                </a:lnTo>
                <a:lnTo>
                  <a:pt x="1716" y="1360"/>
                </a:lnTo>
                <a:lnTo>
                  <a:pt x="1781" y="1356"/>
                </a:lnTo>
                <a:lnTo>
                  <a:pt x="1785" y="1222"/>
                </a:lnTo>
                <a:lnTo>
                  <a:pt x="1788" y="1087"/>
                </a:lnTo>
                <a:lnTo>
                  <a:pt x="2091" y="1090"/>
                </a:lnTo>
                <a:lnTo>
                  <a:pt x="2394" y="1094"/>
                </a:lnTo>
                <a:lnTo>
                  <a:pt x="2396" y="1225"/>
                </a:lnTo>
                <a:lnTo>
                  <a:pt x="2397" y="1356"/>
                </a:lnTo>
                <a:lnTo>
                  <a:pt x="2464" y="1362"/>
                </a:lnTo>
                <a:lnTo>
                  <a:pt x="2531" y="1369"/>
                </a:lnTo>
                <a:lnTo>
                  <a:pt x="2531" y="1431"/>
                </a:lnTo>
                <a:cubicBezTo>
                  <a:pt x="2531" y="1490"/>
                  <a:pt x="2529" y="1494"/>
                  <a:pt x="2496" y="1498"/>
                </a:cubicBezTo>
                <a:lnTo>
                  <a:pt x="2462" y="1502"/>
                </a:lnTo>
                <a:lnTo>
                  <a:pt x="2465" y="1635"/>
                </a:lnTo>
                <a:lnTo>
                  <a:pt x="2469" y="1769"/>
                </a:lnTo>
                <a:lnTo>
                  <a:pt x="2740" y="1772"/>
                </a:lnTo>
                <a:lnTo>
                  <a:pt x="3011" y="1775"/>
                </a:lnTo>
                <a:lnTo>
                  <a:pt x="3015" y="1810"/>
                </a:lnTo>
                <a:cubicBezTo>
                  <a:pt x="3018" y="1841"/>
                  <a:pt x="3023" y="1844"/>
                  <a:pt x="3084" y="1848"/>
                </a:cubicBezTo>
                <a:lnTo>
                  <a:pt x="3150" y="1851"/>
                </a:lnTo>
                <a:lnTo>
                  <a:pt x="3150" y="2051"/>
                </a:lnTo>
                <a:lnTo>
                  <a:pt x="3150" y="2250"/>
                </a:lnTo>
                <a:lnTo>
                  <a:pt x="3081" y="2250"/>
                </a:lnTo>
                <a:cubicBezTo>
                  <a:pt x="3016" y="2250"/>
                  <a:pt x="3012" y="2252"/>
                  <a:pt x="3012" y="2281"/>
                </a:cubicBezTo>
                <a:lnTo>
                  <a:pt x="3012" y="2312"/>
                </a:lnTo>
                <a:lnTo>
                  <a:pt x="2741" y="2315"/>
                </a:lnTo>
                <a:lnTo>
                  <a:pt x="2469" y="2319"/>
                </a:lnTo>
                <a:lnTo>
                  <a:pt x="2465" y="2353"/>
                </a:lnTo>
                <a:lnTo>
                  <a:pt x="2461" y="2387"/>
                </a:lnTo>
                <a:lnTo>
                  <a:pt x="2093" y="2387"/>
                </a:lnTo>
                <a:cubicBezTo>
                  <a:pt x="1776" y="2387"/>
                  <a:pt x="1723" y="2385"/>
                  <a:pt x="1718" y="2369"/>
                </a:cubicBezTo>
                <a:close/>
                <a:moveTo>
                  <a:pt x="0" y="2044"/>
                </a:moveTo>
                <a:lnTo>
                  <a:pt x="0" y="1912"/>
                </a:lnTo>
                <a:lnTo>
                  <a:pt x="509" y="1915"/>
                </a:lnTo>
                <a:lnTo>
                  <a:pt x="1019" y="1919"/>
                </a:lnTo>
                <a:lnTo>
                  <a:pt x="1022" y="2047"/>
                </a:lnTo>
                <a:lnTo>
                  <a:pt x="1026" y="2175"/>
                </a:lnTo>
                <a:lnTo>
                  <a:pt x="513" y="2175"/>
                </a:lnTo>
                <a:lnTo>
                  <a:pt x="0" y="2175"/>
                </a:lnTo>
                <a:lnTo>
                  <a:pt x="0" y="2044"/>
                </a:lnTo>
                <a:close/>
                <a:moveTo>
                  <a:pt x="3228" y="2047"/>
                </a:moveTo>
                <a:lnTo>
                  <a:pt x="3231" y="1919"/>
                </a:lnTo>
                <a:lnTo>
                  <a:pt x="3741" y="1915"/>
                </a:lnTo>
                <a:lnTo>
                  <a:pt x="4250" y="1912"/>
                </a:lnTo>
                <a:lnTo>
                  <a:pt x="4250" y="2044"/>
                </a:lnTo>
                <a:lnTo>
                  <a:pt x="4250" y="2175"/>
                </a:lnTo>
                <a:lnTo>
                  <a:pt x="3737" y="2175"/>
                </a:lnTo>
                <a:lnTo>
                  <a:pt x="3224" y="2175"/>
                </a:lnTo>
                <a:lnTo>
                  <a:pt x="3228" y="2047"/>
                </a:lnTo>
                <a:close/>
                <a:moveTo>
                  <a:pt x="1855" y="995"/>
                </a:moveTo>
                <a:cubicBezTo>
                  <a:pt x="1851" y="985"/>
                  <a:pt x="1850" y="959"/>
                  <a:pt x="1852" y="936"/>
                </a:cubicBezTo>
                <a:lnTo>
                  <a:pt x="1856" y="894"/>
                </a:lnTo>
                <a:lnTo>
                  <a:pt x="2091" y="890"/>
                </a:lnTo>
                <a:lnTo>
                  <a:pt x="2325" y="887"/>
                </a:lnTo>
                <a:lnTo>
                  <a:pt x="2325" y="950"/>
                </a:lnTo>
                <a:lnTo>
                  <a:pt x="2325" y="1012"/>
                </a:lnTo>
                <a:lnTo>
                  <a:pt x="2093" y="1012"/>
                </a:lnTo>
                <a:cubicBezTo>
                  <a:pt x="1906" y="1012"/>
                  <a:pt x="1860" y="1009"/>
                  <a:pt x="1855" y="995"/>
                </a:cubicBezTo>
                <a:close/>
                <a:moveTo>
                  <a:pt x="1994" y="797"/>
                </a:moveTo>
                <a:cubicBezTo>
                  <a:pt x="1992" y="788"/>
                  <a:pt x="1990" y="714"/>
                  <a:pt x="1992" y="631"/>
                </a:cubicBezTo>
                <a:lnTo>
                  <a:pt x="1994" y="481"/>
                </a:lnTo>
                <a:lnTo>
                  <a:pt x="2091" y="478"/>
                </a:lnTo>
                <a:lnTo>
                  <a:pt x="2188" y="474"/>
                </a:lnTo>
                <a:lnTo>
                  <a:pt x="2188" y="643"/>
                </a:lnTo>
                <a:lnTo>
                  <a:pt x="2188" y="812"/>
                </a:lnTo>
                <a:lnTo>
                  <a:pt x="2093" y="812"/>
                </a:lnTo>
                <a:cubicBezTo>
                  <a:pt x="2029" y="812"/>
                  <a:pt x="1998" y="808"/>
                  <a:pt x="1994" y="797"/>
                </a:cubicBezTo>
                <a:close/>
                <a:moveTo>
                  <a:pt x="1923" y="328"/>
                </a:moveTo>
                <a:lnTo>
                  <a:pt x="1919" y="256"/>
                </a:lnTo>
                <a:lnTo>
                  <a:pt x="1769" y="247"/>
                </a:lnTo>
                <a:cubicBezTo>
                  <a:pt x="1686" y="242"/>
                  <a:pt x="1532" y="231"/>
                  <a:pt x="1425" y="222"/>
                </a:cubicBezTo>
                <a:lnTo>
                  <a:pt x="1231" y="206"/>
                </a:lnTo>
                <a:lnTo>
                  <a:pt x="1227" y="151"/>
                </a:lnTo>
                <a:cubicBezTo>
                  <a:pt x="1218" y="16"/>
                  <a:pt x="1238" y="0"/>
                  <a:pt x="1425" y="0"/>
                </a:cubicBezTo>
                <a:cubicBezTo>
                  <a:pt x="1565" y="0"/>
                  <a:pt x="1575" y="2"/>
                  <a:pt x="1610" y="31"/>
                </a:cubicBezTo>
                <a:cubicBezTo>
                  <a:pt x="1631" y="48"/>
                  <a:pt x="1661" y="63"/>
                  <a:pt x="1678" y="63"/>
                </a:cubicBezTo>
                <a:cubicBezTo>
                  <a:pt x="1694" y="63"/>
                  <a:pt x="1721" y="48"/>
                  <a:pt x="1737" y="31"/>
                </a:cubicBezTo>
                <a:cubicBezTo>
                  <a:pt x="1766" y="1"/>
                  <a:pt x="1773" y="0"/>
                  <a:pt x="1915" y="0"/>
                </a:cubicBezTo>
                <a:cubicBezTo>
                  <a:pt x="2057" y="0"/>
                  <a:pt x="2065" y="1"/>
                  <a:pt x="2095" y="31"/>
                </a:cubicBezTo>
                <a:cubicBezTo>
                  <a:pt x="2112" y="48"/>
                  <a:pt x="2139" y="63"/>
                  <a:pt x="2155" y="63"/>
                </a:cubicBezTo>
                <a:cubicBezTo>
                  <a:pt x="2171" y="63"/>
                  <a:pt x="2199" y="48"/>
                  <a:pt x="2218" y="31"/>
                </a:cubicBezTo>
                <a:cubicBezTo>
                  <a:pt x="2250" y="2"/>
                  <a:pt x="2259" y="0"/>
                  <a:pt x="2398" y="0"/>
                </a:cubicBezTo>
                <a:cubicBezTo>
                  <a:pt x="2539" y="0"/>
                  <a:pt x="2547" y="1"/>
                  <a:pt x="2575" y="31"/>
                </a:cubicBezTo>
                <a:cubicBezTo>
                  <a:pt x="2612" y="71"/>
                  <a:pt x="2655" y="71"/>
                  <a:pt x="2702" y="31"/>
                </a:cubicBezTo>
                <a:cubicBezTo>
                  <a:pt x="2737" y="2"/>
                  <a:pt x="2748" y="0"/>
                  <a:pt x="2886" y="0"/>
                </a:cubicBezTo>
                <a:cubicBezTo>
                  <a:pt x="3016" y="0"/>
                  <a:pt x="3036" y="3"/>
                  <a:pt x="3060" y="25"/>
                </a:cubicBezTo>
                <a:cubicBezTo>
                  <a:pt x="3081" y="45"/>
                  <a:pt x="3087" y="65"/>
                  <a:pt x="3087" y="112"/>
                </a:cubicBezTo>
                <a:cubicBezTo>
                  <a:pt x="3087" y="172"/>
                  <a:pt x="3086" y="174"/>
                  <a:pt x="3047" y="180"/>
                </a:cubicBezTo>
                <a:cubicBezTo>
                  <a:pt x="2944" y="197"/>
                  <a:pt x="2723" y="218"/>
                  <a:pt x="2494" y="232"/>
                </a:cubicBezTo>
                <a:cubicBezTo>
                  <a:pt x="2425" y="237"/>
                  <a:pt x="2343" y="244"/>
                  <a:pt x="2313" y="249"/>
                </a:cubicBezTo>
                <a:lnTo>
                  <a:pt x="2256" y="257"/>
                </a:lnTo>
                <a:lnTo>
                  <a:pt x="2256" y="325"/>
                </a:lnTo>
                <a:lnTo>
                  <a:pt x="2256" y="394"/>
                </a:lnTo>
                <a:lnTo>
                  <a:pt x="2091" y="397"/>
                </a:lnTo>
                <a:lnTo>
                  <a:pt x="1926" y="401"/>
                </a:lnTo>
                <a:lnTo>
                  <a:pt x="1922" y="328"/>
                </a:lnTo>
                <a:lnTo>
                  <a:pt x="1923" y="328"/>
                </a:lnTo>
                <a:close/>
              </a:path>
            </a:pathLst>
          </a:custGeom>
          <a:solidFill>
            <a:srgbClr val="EE9D44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24" name="Freeform 21">
            <a:extLst>
              <a:ext uri="{FF2B5EF4-FFF2-40B4-BE49-F238E27FC236}">
                <a16:creationId xmlns:a16="http://schemas.microsoft.com/office/drawing/2014/main" id="{D281108B-4FB5-498F-87D9-D8A54CFFFED1}"/>
              </a:ext>
            </a:extLst>
          </p:cNvPr>
          <p:cNvSpPr>
            <a:spLocks/>
          </p:cNvSpPr>
          <p:nvPr/>
        </p:nvSpPr>
        <p:spPr bwMode="auto">
          <a:xfrm>
            <a:off x="8213648" y="4747020"/>
            <a:ext cx="208833" cy="240713"/>
          </a:xfrm>
          <a:custGeom>
            <a:avLst/>
            <a:gdLst>
              <a:gd name="T0" fmla="*/ 1550 w 3714"/>
              <a:gd name="T1" fmla="*/ 4955 h 4988"/>
              <a:gd name="T2" fmla="*/ 903 w 3714"/>
              <a:gd name="T3" fmla="*/ 4751 h 4988"/>
              <a:gd name="T4" fmla="*/ 195 w 3714"/>
              <a:gd name="T5" fmla="*/ 4186 h 4988"/>
              <a:gd name="T6" fmla="*/ 8 w 3714"/>
              <a:gd name="T7" fmla="*/ 3718 h 4988"/>
              <a:gd name="T8" fmla="*/ 0 w 3714"/>
              <a:gd name="T9" fmla="*/ 3662 h 4988"/>
              <a:gd name="T10" fmla="*/ 52 w 3714"/>
              <a:gd name="T11" fmla="*/ 3742 h 4988"/>
              <a:gd name="T12" fmla="*/ 298 w 3714"/>
              <a:gd name="T13" fmla="*/ 3997 h 4988"/>
              <a:gd name="T14" fmla="*/ 323 w 3714"/>
              <a:gd name="T15" fmla="*/ 3965 h 4988"/>
              <a:gd name="T16" fmla="*/ 13 w 3714"/>
              <a:gd name="T17" fmla="*/ 3037 h 4988"/>
              <a:gd name="T18" fmla="*/ 183 w 3714"/>
              <a:gd name="T19" fmla="*/ 2299 h 4988"/>
              <a:gd name="T20" fmla="*/ 360 w 3714"/>
              <a:gd name="T21" fmla="*/ 1998 h 4988"/>
              <a:gd name="T22" fmla="*/ 351 w 3714"/>
              <a:gd name="T23" fmla="*/ 2080 h 4988"/>
              <a:gd name="T24" fmla="*/ 571 w 3714"/>
              <a:gd name="T25" fmla="*/ 2908 h 4988"/>
              <a:gd name="T26" fmla="*/ 616 w 3714"/>
              <a:gd name="T27" fmla="*/ 2922 h 4988"/>
              <a:gd name="T28" fmla="*/ 596 w 3714"/>
              <a:gd name="T29" fmla="*/ 1748 h 4988"/>
              <a:gd name="T30" fmla="*/ 804 w 3714"/>
              <a:gd name="T31" fmla="*/ 1273 h 4988"/>
              <a:gd name="T32" fmla="*/ 1049 w 3714"/>
              <a:gd name="T33" fmla="*/ 915 h 4988"/>
              <a:gd name="T34" fmla="*/ 1040 w 3714"/>
              <a:gd name="T35" fmla="*/ 954 h 4988"/>
              <a:gd name="T36" fmla="*/ 1065 w 3714"/>
              <a:gd name="T37" fmla="*/ 1305 h 4988"/>
              <a:gd name="T38" fmla="*/ 1083 w 3714"/>
              <a:gd name="T39" fmla="*/ 1259 h 4988"/>
              <a:gd name="T40" fmla="*/ 1201 w 3714"/>
              <a:gd name="T41" fmla="*/ 912 h 4988"/>
              <a:gd name="T42" fmla="*/ 1862 w 3714"/>
              <a:gd name="T43" fmla="*/ 162 h 4988"/>
              <a:gd name="T44" fmla="*/ 2172 w 3714"/>
              <a:gd name="T45" fmla="*/ 10 h 4988"/>
              <a:gd name="T46" fmla="*/ 2108 w 3714"/>
              <a:gd name="T47" fmla="*/ 95 h 4988"/>
              <a:gd name="T48" fmla="*/ 1906 w 3714"/>
              <a:gd name="T49" fmla="*/ 493 h 4988"/>
              <a:gd name="T50" fmla="*/ 1932 w 3714"/>
              <a:gd name="T51" fmla="*/ 1002 h 4988"/>
              <a:gd name="T52" fmla="*/ 2155 w 3714"/>
              <a:gd name="T53" fmla="*/ 1549 h 4988"/>
              <a:gd name="T54" fmla="*/ 2277 w 3714"/>
              <a:gd name="T55" fmla="*/ 1952 h 4988"/>
              <a:gd name="T56" fmla="*/ 2287 w 3714"/>
              <a:gd name="T57" fmla="*/ 2035 h 4988"/>
              <a:gd name="T58" fmla="*/ 2312 w 3714"/>
              <a:gd name="T59" fmla="*/ 1944 h 4988"/>
              <a:gd name="T60" fmla="*/ 2413 w 3714"/>
              <a:gd name="T61" fmla="*/ 1599 h 4988"/>
              <a:gd name="T62" fmla="*/ 2601 w 3714"/>
              <a:gd name="T63" fmla="*/ 1355 h 4988"/>
              <a:gd name="T64" fmla="*/ 2593 w 3714"/>
              <a:gd name="T65" fmla="*/ 1409 h 4988"/>
              <a:gd name="T66" fmla="*/ 2619 w 3714"/>
              <a:gd name="T67" fmla="*/ 1750 h 4988"/>
              <a:gd name="T68" fmla="*/ 2902 w 3714"/>
              <a:gd name="T69" fmla="*/ 2099 h 4988"/>
              <a:gd name="T70" fmla="*/ 3220 w 3714"/>
              <a:gd name="T71" fmla="*/ 2496 h 4988"/>
              <a:gd name="T72" fmla="*/ 3244 w 3714"/>
              <a:gd name="T73" fmla="*/ 3157 h 4988"/>
              <a:gd name="T74" fmla="*/ 3303 w 3714"/>
              <a:gd name="T75" fmla="*/ 3182 h 4988"/>
              <a:gd name="T76" fmla="*/ 3434 w 3714"/>
              <a:gd name="T77" fmla="*/ 2794 h 4988"/>
              <a:gd name="T78" fmla="*/ 3427 w 3714"/>
              <a:gd name="T79" fmla="*/ 2724 h 4988"/>
              <a:gd name="T80" fmla="*/ 3458 w 3714"/>
              <a:gd name="T81" fmla="*/ 2762 h 4988"/>
              <a:gd name="T82" fmla="*/ 3560 w 3714"/>
              <a:gd name="T83" fmla="*/ 3087 h 4988"/>
              <a:gd name="T84" fmla="*/ 3554 w 3714"/>
              <a:gd name="T85" fmla="*/ 3282 h 4988"/>
              <a:gd name="T86" fmla="*/ 3304 w 3714"/>
              <a:gd name="T87" fmla="*/ 3771 h 4988"/>
              <a:gd name="T88" fmla="*/ 3268 w 3714"/>
              <a:gd name="T89" fmla="*/ 3826 h 4988"/>
              <a:gd name="T90" fmla="*/ 3445 w 3714"/>
              <a:gd name="T91" fmla="*/ 3749 h 4988"/>
              <a:gd name="T92" fmla="*/ 3664 w 3714"/>
              <a:gd name="T93" fmla="*/ 3514 h 4988"/>
              <a:gd name="T94" fmla="*/ 3703 w 3714"/>
              <a:gd name="T95" fmla="*/ 3455 h 4988"/>
              <a:gd name="T96" fmla="*/ 3682 w 3714"/>
              <a:gd name="T97" fmla="*/ 3649 h 4988"/>
              <a:gd name="T98" fmla="*/ 3433 w 3714"/>
              <a:gd name="T99" fmla="*/ 4137 h 4988"/>
              <a:gd name="T100" fmla="*/ 3017 w 3714"/>
              <a:gd name="T101" fmla="*/ 4561 h 4988"/>
              <a:gd name="T102" fmla="*/ 2438 w 3714"/>
              <a:gd name="T103" fmla="*/ 4854 h 4988"/>
              <a:gd name="T104" fmla="*/ 1550 w 3714"/>
              <a:gd name="T105" fmla="*/ 4955 h 49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714" h="4988">
                <a:moveTo>
                  <a:pt x="1550" y="4955"/>
                </a:moveTo>
                <a:cubicBezTo>
                  <a:pt x="1381" y="4930"/>
                  <a:pt x="1125" y="4849"/>
                  <a:pt x="903" y="4751"/>
                </a:cubicBezTo>
                <a:cubicBezTo>
                  <a:pt x="573" y="4605"/>
                  <a:pt x="361" y="4437"/>
                  <a:pt x="195" y="4186"/>
                </a:cubicBezTo>
                <a:cubicBezTo>
                  <a:pt x="88" y="4026"/>
                  <a:pt x="32" y="3887"/>
                  <a:pt x="8" y="3718"/>
                </a:cubicBezTo>
                <a:lnTo>
                  <a:pt x="0" y="3662"/>
                </a:lnTo>
                <a:lnTo>
                  <a:pt x="52" y="3742"/>
                </a:lnTo>
                <a:cubicBezTo>
                  <a:pt x="112" y="3834"/>
                  <a:pt x="222" y="3949"/>
                  <a:pt x="298" y="3997"/>
                </a:cubicBezTo>
                <a:cubicBezTo>
                  <a:pt x="377" y="4047"/>
                  <a:pt x="385" y="4038"/>
                  <a:pt x="323" y="3965"/>
                </a:cubicBezTo>
                <a:cubicBezTo>
                  <a:pt x="109" y="3710"/>
                  <a:pt x="11" y="3418"/>
                  <a:pt x="13" y="3037"/>
                </a:cubicBezTo>
                <a:cubicBezTo>
                  <a:pt x="13" y="2761"/>
                  <a:pt x="62" y="2549"/>
                  <a:pt x="183" y="2299"/>
                </a:cubicBezTo>
                <a:cubicBezTo>
                  <a:pt x="251" y="2157"/>
                  <a:pt x="351" y="1988"/>
                  <a:pt x="360" y="1998"/>
                </a:cubicBezTo>
                <a:cubicBezTo>
                  <a:pt x="363" y="2001"/>
                  <a:pt x="359" y="2038"/>
                  <a:pt x="351" y="2080"/>
                </a:cubicBezTo>
                <a:cubicBezTo>
                  <a:pt x="306" y="2305"/>
                  <a:pt x="395" y="2635"/>
                  <a:pt x="571" y="2908"/>
                </a:cubicBezTo>
                <a:cubicBezTo>
                  <a:pt x="631" y="3000"/>
                  <a:pt x="661" y="3010"/>
                  <a:pt x="616" y="2922"/>
                </a:cubicBezTo>
                <a:cubicBezTo>
                  <a:pt x="473" y="2641"/>
                  <a:pt x="464" y="2156"/>
                  <a:pt x="596" y="1748"/>
                </a:cubicBezTo>
                <a:cubicBezTo>
                  <a:pt x="645" y="1595"/>
                  <a:pt x="721" y="1422"/>
                  <a:pt x="804" y="1273"/>
                </a:cubicBezTo>
                <a:cubicBezTo>
                  <a:pt x="893" y="1112"/>
                  <a:pt x="1042" y="895"/>
                  <a:pt x="1049" y="915"/>
                </a:cubicBezTo>
                <a:cubicBezTo>
                  <a:pt x="1051" y="923"/>
                  <a:pt x="1047" y="940"/>
                  <a:pt x="1040" y="954"/>
                </a:cubicBezTo>
                <a:cubicBezTo>
                  <a:pt x="1011" y="1008"/>
                  <a:pt x="1032" y="1305"/>
                  <a:pt x="1065" y="1305"/>
                </a:cubicBezTo>
                <a:cubicBezTo>
                  <a:pt x="1071" y="1305"/>
                  <a:pt x="1079" y="1284"/>
                  <a:pt x="1083" y="1259"/>
                </a:cubicBezTo>
                <a:cubicBezTo>
                  <a:pt x="1097" y="1175"/>
                  <a:pt x="1152" y="1014"/>
                  <a:pt x="1201" y="912"/>
                </a:cubicBezTo>
                <a:cubicBezTo>
                  <a:pt x="1345" y="613"/>
                  <a:pt x="1585" y="341"/>
                  <a:pt x="1862" y="162"/>
                </a:cubicBezTo>
                <a:cubicBezTo>
                  <a:pt x="1956" y="102"/>
                  <a:pt x="2163" y="0"/>
                  <a:pt x="2172" y="10"/>
                </a:cubicBezTo>
                <a:cubicBezTo>
                  <a:pt x="2175" y="13"/>
                  <a:pt x="2146" y="51"/>
                  <a:pt x="2108" y="95"/>
                </a:cubicBezTo>
                <a:cubicBezTo>
                  <a:pt x="2021" y="193"/>
                  <a:pt x="1933" y="368"/>
                  <a:pt x="1906" y="493"/>
                </a:cubicBezTo>
                <a:cubicBezTo>
                  <a:pt x="1878" y="629"/>
                  <a:pt x="1889" y="850"/>
                  <a:pt x="1932" y="1002"/>
                </a:cubicBezTo>
                <a:cubicBezTo>
                  <a:pt x="1975" y="1154"/>
                  <a:pt x="2055" y="1350"/>
                  <a:pt x="2155" y="1549"/>
                </a:cubicBezTo>
                <a:cubicBezTo>
                  <a:pt x="2244" y="1728"/>
                  <a:pt x="2277" y="1836"/>
                  <a:pt x="2277" y="1952"/>
                </a:cubicBezTo>
                <a:cubicBezTo>
                  <a:pt x="2277" y="1995"/>
                  <a:pt x="2281" y="2032"/>
                  <a:pt x="2287" y="2035"/>
                </a:cubicBezTo>
                <a:cubicBezTo>
                  <a:pt x="2292" y="2038"/>
                  <a:pt x="2303" y="1998"/>
                  <a:pt x="2312" y="1944"/>
                </a:cubicBezTo>
                <a:cubicBezTo>
                  <a:pt x="2336" y="1791"/>
                  <a:pt x="2361" y="1707"/>
                  <a:pt x="2413" y="1599"/>
                </a:cubicBezTo>
                <a:cubicBezTo>
                  <a:pt x="2458" y="1509"/>
                  <a:pt x="2576" y="1355"/>
                  <a:pt x="2601" y="1355"/>
                </a:cubicBezTo>
                <a:cubicBezTo>
                  <a:pt x="2607" y="1355"/>
                  <a:pt x="2603" y="1379"/>
                  <a:pt x="2593" y="1409"/>
                </a:cubicBezTo>
                <a:cubicBezTo>
                  <a:pt x="2564" y="1491"/>
                  <a:pt x="2577" y="1658"/>
                  <a:pt x="2619" y="1750"/>
                </a:cubicBezTo>
                <a:cubicBezTo>
                  <a:pt x="2660" y="1839"/>
                  <a:pt x="2702" y="1891"/>
                  <a:pt x="2902" y="2099"/>
                </a:cubicBezTo>
                <a:cubicBezTo>
                  <a:pt x="3080" y="2285"/>
                  <a:pt x="3155" y="2379"/>
                  <a:pt x="3220" y="2496"/>
                </a:cubicBezTo>
                <a:cubicBezTo>
                  <a:pt x="3336" y="2708"/>
                  <a:pt x="3346" y="2958"/>
                  <a:pt x="3244" y="3157"/>
                </a:cubicBezTo>
                <a:cubicBezTo>
                  <a:pt x="3190" y="3264"/>
                  <a:pt x="3214" y="3274"/>
                  <a:pt x="3303" y="3182"/>
                </a:cubicBezTo>
                <a:cubicBezTo>
                  <a:pt x="3398" y="3083"/>
                  <a:pt x="3449" y="2931"/>
                  <a:pt x="3434" y="2794"/>
                </a:cubicBezTo>
                <a:lnTo>
                  <a:pt x="3427" y="2724"/>
                </a:lnTo>
                <a:lnTo>
                  <a:pt x="3458" y="2762"/>
                </a:lnTo>
                <a:cubicBezTo>
                  <a:pt x="3516" y="2832"/>
                  <a:pt x="3554" y="2950"/>
                  <a:pt x="3560" y="3087"/>
                </a:cubicBezTo>
                <a:cubicBezTo>
                  <a:pt x="3564" y="3155"/>
                  <a:pt x="3561" y="3243"/>
                  <a:pt x="3554" y="3282"/>
                </a:cubicBezTo>
                <a:cubicBezTo>
                  <a:pt x="3524" y="3444"/>
                  <a:pt x="3416" y="3655"/>
                  <a:pt x="3304" y="3771"/>
                </a:cubicBezTo>
                <a:cubicBezTo>
                  <a:pt x="3280" y="3797"/>
                  <a:pt x="3263" y="3821"/>
                  <a:pt x="3268" y="3826"/>
                </a:cubicBezTo>
                <a:cubicBezTo>
                  <a:pt x="3279" y="3837"/>
                  <a:pt x="3365" y="3799"/>
                  <a:pt x="3445" y="3749"/>
                </a:cubicBezTo>
                <a:cubicBezTo>
                  <a:pt x="3521" y="3701"/>
                  <a:pt x="3622" y="3593"/>
                  <a:pt x="3664" y="3514"/>
                </a:cubicBezTo>
                <a:cubicBezTo>
                  <a:pt x="3681" y="3482"/>
                  <a:pt x="3699" y="3455"/>
                  <a:pt x="3703" y="3455"/>
                </a:cubicBezTo>
                <a:cubicBezTo>
                  <a:pt x="3714" y="3455"/>
                  <a:pt x="3703" y="3560"/>
                  <a:pt x="3682" y="3649"/>
                </a:cubicBezTo>
                <a:cubicBezTo>
                  <a:pt x="3658" y="3751"/>
                  <a:pt x="3531" y="4000"/>
                  <a:pt x="3433" y="4137"/>
                </a:cubicBezTo>
                <a:cubicBezTo>
                  <a:pt x="3332" y="4278"/>
                  <a:pt x="3160" y="4454"/>
                  <a:pt x="3017" y="4561"/>
                </a:cubicBezTo>
                <a:cubicBezTo>
                  <a:pt x="2887" y="4659"/>
                  <a:pt x="2607" y="4801"/>
                  <a:pt x="2438" y="4854"/>
                </a:cubicBezTo>
                <a:cubicBezTo>
                  <a:pt x="2148" y="4945"/>
                  <a:pt x="1774" y="4988"/>
                  <a:pt x="1550" y="4955"/>
                </a:cubicBezTo>
                <a:close/>
              </a:path>
            </a:pathLst>
          </a:custGeom>
          <a:solidFill>
            <a:srgbClr val="EE9D44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25" name="Isosceles Triangle 424">
            <a:extLst>
              <a:ext uri="{FF2B5EF4-FFF2-40B4-BE49-F238E27FC236}">
                <a16:creationId xmlns:a16="http://schemas.microsoft.com/office/drawing/2014/main" id="{3BDC72C0-0AD6-4F23-9CE9-20CA0BDE3DF5}"/>
              </a:ext>
            </a:extLst>
          </p:cNvPr>
          <p:cNvSpPr/>
          <p:nvPr/>
        </p:nvSpPr>
        <p:spPr>
          <a:xfrm>
            <a:off x="1895441" y="5178888"/>
            <a:ext cx="136946" cy="119502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426" name="TextBox 425">
            <a:extLst>
              <a:ext uri="{FF2B5EF4-FFF2-40B4-BE49-F238E27FC236}">
                <a16:creationId xmlns:a16="http://schemas.microsoft.com/office/drawing/2014/main" id="{8FCF7C34-603C-4BA7-A9FA-6D063C81BA71}"/>
              </a:ext>
            </a:extLst>
          </p:cNvPr>
          <p:cNvSpPr txBox="1"/>
          <p:nvPr/>
        </p:nvSpPr>
        <p:spPr>
          <a:xfrm>
            <a:off x="2075367" y="5160600"/>
            <a:ext cx="605196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Refining</a:t>
            </a:r>
          </a:p>
        </p:txBody>
      </p:sp>
      <p:sp>
        <p:nvSpPr>
          <p:cNvPr id="427" name="Freeform 26">
            <a:extLst>
              <a:ext uri="{FF2B5EF4-FFF2-40B4-BE49-F238E27FC236}">
                <a16:creationId xmlns:a16="http://schemas.microsoft.com/office/drawing/2014/main" id="{1F4EDD0F-1C46-4FA6-BE34-3B7F95ADAC6A}"/>
              </a:ext>
            </a:extLst>
          </p:cNvPr>
          <p:cNvSpPr>
            <a:spLocks noEditPoints="1"/>
          </p:cNvSpPr>
          <p:nvPr/>
        </p:nvSpPr>
        <p:spPr bwMode="auto">
          <a:xfrm>
            <a:off x="1553399" y="5078986"/>
            <a:ext cx="289371" cy="266279"/>
          </a:xfrm>
          <a:custGeom>
            <a:avLst/>
            <a:gdLst>
              <a:gd name="T0" fmla="*/ 8 w 3558"/>
              <a:gd name="T1" fmla="*/ 4042 h 4066"/>
              <a:gd name="T2" fmla="*/ 6 w 3558"/>
              <a:gd name="T3" fmla="*/ 3846 h 4066"/>
              <a:gd name="T4" fmla="*/ 212 w 3558"/>
              <a:gd name="T5" fmla="*/ 3823 h 4066"/>
              <a:gd name="T6" fmla="*/ 226 w 3558"/>
              <a:gd name="T7" fmla="*/ 936 h 4066"/>
              <a:gd name="T8" fmla="*/ 819 w 3558"/>
              <a:gd name="T9" fmla="*/ 786 h 4066"/>
              <a:gd name="T10" fmla="*/ 1059 w 3558"/>
              <a:gd name="T11" fmla="*/ 1083 h 4066"/>
              <a:gd name="T12" fmla="*/ 1238 w 3558"/>
              <a:gd name="T13" fmla="*/ 2500 h 4066"/>
              <a:gd name="T14" fmla="*/ 1312 w 3558"/>
              <a:gd name="T15" fmla="*/ 3826 h 4066"/>
              <a:gd name="T16" fmla="*/ 1377 w 3558"/>
              <a:gd name="T17" fmla="*/ 2584 h 4066"/>
              <a:gd name="T18" fmla="*/ 1386 w 3558"/>
              <a:gd name="T19" fmla="*/ 472 h 4066"/>
              <a:gd name="T20" fmla="*/ 1333 w 3558"/>
              <a:gd name="T21" fmla="*/ 133 h 4066"/>
              <a:gd name="T22" fmla="*/ 1444 w 3558"/>
              <a:gd name="T23" fmla="*/ 10 h 4066"/>
              <a:gd name="T24" fmla="*/ 1825 w 3558"/>
              <a:gd name="T25" fmla="*/ 26 h 4066"/>
              <a:gd name="T26" fmla="*/ 1911 w 3558"/>
              <a:gd name="T27" fmla="*/ 132 h 4066"/>
              <a:gd name="T28" fmla="*/ 1912 w 3558"/>
              <a:gd name="T29" fmla="*/ 414 h 4066"/>
              <a:gd name="T30" fmla="*/ 1866 w 3558"/>
              <a:gd name="T31" fmla="*/ 1088 h 4066"/>
              <a:gd name="T32" fmla="*/ 1815 w 3558"/>
              <a:gd name="T33" fmla="*/ 1725 h 4066"/>
              <a:gd name="T34" fmla="*/ 1669 w 3558"/>
              <a:gd name="T35" fmla="*/ 2886 h 4066"/>
              <a:gd name="T36" fmla="*/ 1716 w 3558"/>
              <a:gd name="T37" fmla="*/ 3824 h 4066"/>
              <a:gd name="T38" fmla="*/ 1759 w 3558"/>
              <a:gd name="T39" fmla="*/ 2893 h 4066"/>
              <a:gd name="T40" fmla="*/ 1910 w 3558"/>
              <a:gd name="T41" fmla="*/ 1787 h 4066"/>
              <a:gd name="T42" fmla="*/ 2611 w 3558"/>
              <a:gd name="T43" fmla="*/ 1832 h 4066"/>
              <a:gd name="T44" fmla="*/ 2658 w 3558"/>
              <a:gd name="T45" fmla="*/ 2858 h 4066"/>
              <a:gd name="T46" fmla="*/ 2241 w 3558"/>
              <a:gd name="T47" fmla="*/ 2890 h 4066"/>
              <a:gd name="T48" fmla="*/ 3123 w 3558"/>
              <a:gd name="T49" fmla="*/ 2956 h 4066"/>
              <a:gd name="T50" fmla="*/ 3372 w 3558"/>
              <a:gd name="T51" fmla="*/ 3564 h 4066"/>
              <a:gd name="T52" fmla="*/ 3455 w 3558"/>
              <a:gd name="T53" fmla="*/ 3835 h 4066"/>
              <a:gd name="T54" fmla="*/ 3551 w 3558"/>
              <a:gd name="T55" fmla="*/ 3990 h 4066"/>
              <a:gd name="T56" fmla="*/ 3392 w 3558"/>
              <a:gd name="T57" fmla="*/ 4055 h 4066"/>
              <a:gd name="T58" fmla="*/ 522 w 3558"/>
              <a:gd name="T59" fmla="*/ 2516 h 4066"/>
              <a:gd name="T60" fmla="*/ 709 w 3558"/>
              <a:gd name="T61" fmla="*/ 1080 h 4066"/>
              <a:gd name="T62" fmla="*/ 801 w 3558"/>
              <a:gd name="T63" fmla="*/ 1001 h 4066"/>
              <a:gd name="T64" fmla="*/ 586 w 3558"/>
              <a:gd name="T65" fmla="*/ 946 h 4066"/>
              <a:gd name="T66" fmla="*/ 368 w 3558"/>
              <a:gd name="T67" fmla="*/ 1016 h 4066"/>
              <a:gd name="T68" fmla="*/ 447 w 3558"/>
              <a:gd name="T69" fmla="*/ 3826 h 4066"/>
              <a:gd name="T70" fmla="*/ 522 w 3558"/>
              <a:gd name="T71" fmla="*/ 2516 h 4066"/>
              <a:gd name="T72" fmla="*/ 2935 w 3558"/>
              <a:gd name="T73" fmla="*/ 3357 h 4066"/>
              <a:gd name="T74" fmla="*/ 2692 w 3558"/>
              <a:gd name="T75" fmla="*/ 3348 h 4066"/>
              <a:gd name="T76" fmla="*/ 2692 w 3558"/>
              <a:gd name="T77" fmla="*/ 3826 h 4066"/>
              <a:gd name="T78" fmla="*/ 2944 w 3558"/>
              <a:gd name="T79" fmla="*/ 3826 h 4066"/>
              <a:gd name="T80" fmla="*/ 3246 w 3558"/>
              <a:gd name="T81" fmla="*/ 3526 h 4066"/>
              <a:gd name="T82" fmla="*/ 3119 w 3558"/>
              <a:gd name="T83" fmla="*/ 3080 h 4066"/>
              <a:gd name="T84" fmla="*/ 2236 w 3558"/>
              <a:gd name="T85" fmla="*/ 3083 h 4066"/>
              <a:gd name="T86" fmla="*/ 3104 w 3558"/>
              <a:gd name="T87" fmla="*/ 3177 h 4066"/>
              <a:gd name="T88" fmla="*/ 3224 w 3558"/>
              <a:gd name="T89" fmla="*/ 3824 h 4066"/>
              <a:gd name="T90" fmla="*/ 2886 w 3558"/>
              <a:gd name="T91" fmla="*/ 2855 h 4066"/>
              <a:gd name="T92" fmla="*/ 2829 w 3558"/>
              <a:gd name="T93" fmla="*/ 2208 h 4066"/>
              <a:gd name="T94" fmla="*/ 2407 w 3558"/>
              <a:gd name="T95" fmla="*/ 1544 h 4066"/>
              <a:gd name="T96" fmla="*/ 2325 w 3558"/>
              <a:gd name="T97" fmla="*/ 1660 h 4066"/>
              <a:gd name="T98" fmla="*/ 2092 w 3558"/>
              <a:gd name="T99" fmla="*/ 1562 h 4066"/>
              <a:gd name="T100" fmla="*/ 2550 w 3558"/>
              <a:gd name="T101" fmla="*/ 1296 h 4066"/>
              <a:gd name="T102" fmla="*/ 3065 w 3558"/>
              <a:gd name="T103" fmla="*/ 1463 h 4066"/>
              <a:gd name="T104" fmla="*/ 2886 w 3558"/>
              <a:gd name="T105" fmla="*/ 2855 h 4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58" h="4066">
                <a:moveTo>
                  <a:pt x="452" y="4052"/>
                </a:moveTo>
                <a:cubicBezTo>
                  <a:pt x="214" y="4048"/>
                  <a:pt x="14" y="4043"/>
                  <a:pt x="8" y="4042"/>
                </a:cubicBezTo>
                <a:cubicBezTo>
                  <a:pt x="3" y="4041"/>
                  <a:pt x="0" y="3996"/>
                  <a:pt x="2" y="3943"/>
                </a:cubicBezTo>
                <a:lnTo>
                  <a:pt x="6" y="3846"/>
                </a:lnTo>
                <a:lnTo>
                  <a:pt x="109" y="3835"/>
                </a:lnTo>
                <a:lnTo>
                  <a:pt x="212" y="3823"/>
                </a:lnTo>
                <a:lnTo>
                  <a:pt x="212" y="2412"/>
                </a:lnTo>
                <a:cubicBezTo>
                  <a:pt x="212" y="1474"/>
                  <a:pt x="217" y="979"/>
                  <a:pt x="226" y="936"/>
                </a:cubicBezTo>
                <a:cubicBezTo>
                  <a:pt x="243" y="858"/>
                  <a:pt x="289" y="809"/>
                  <a:pt x="366" y="788"/>
                </a:cubicBezTo>
                <a:cubicBezTo>
                  <a:pt x="430" y="770"/>
                  <a:pt x="745" y="769"/>
                  <a:pt x="819" y="786"/>
                </a:cubicBezTo>
                <a:cubicBezTo>
                  <a:pt x="886" y="801"/>
                  <a:pt x="942" y="862"/>
                  <a:pt x="952" y="929"/>
                </a:cubicBezTo>
                <a:cubicBezTo>
                  <a:pt x="974" y="1077"/>
                  <a:pt x="971" y="1072"/>
                  <a:pt x="1059" y="1083"/>
                </a:cubicBezTo>
                <a:cubicBezTo>
                  <a:pt x="1153" y="1095"/>
                  <a:pt x="1199" y="1125"/>
                  <a:pt x="1222" y="1188"/>
                </a:cubicBezTo>
                <a:cubicBezTo>
                  <a:pt x="1233" y="1222"/>
                  <a:pt x="1238" y="1555"/>
                  <a:pt x="1238" y="2500"/>
                </a:cubicBezTo>
                <a:cubicBezTo>
                  <a:pt x="1239" y="3196"/>
                  <a:pt x="1243" y="3780"/>
                  <a:pt x="1247" y="3796"/>
                </a:cubicBezTo>
                <a:cubicBezTo>
                  <a:pt x="1254" y="3822"/>
                  <a:pt x="1265" y="3826"/>
                  <a:pt x="1312" y="3826"/>
                </a:cubicBezTo>
                <a:lnTo>
                  <a:pt x="1368" y="3826"/>
                </a:lnTo>
                <a:lnTo>
                  <a:pt x="1377" y="2584"/>
                </a:lnTo>
                <a:cubicBezTo>
                  <a:pt x="1382" y="1901"/>
                  <a:pt x="1386" y="1146"/>
                  <a:pt x="1386" y="907"/>
                </a:cubicBezTo>
                <a:lnTo>
                  <a:pt x="1386" y="472"/>
                </a:lnTo>
                <a:lnTo>
                  <a:pt x="1344" y="416"/>
                </a:lnTo>
                <a:cubicBezTo>
                  <a:pt x="1278" y="326"/>
                  <a:pt x="1271" y="133"/>
                  <a:pt x="1333" y="133"/>
                </a:cubicBezTo>
                <a:cubicBezTo>
                  <a:pt x="1380" y="133"/>
                  <a:pt x="1410" y="109"/>
                  <a:pt x="1420" y="63"/>
                </a:cubicBezTo>
                <a:cubicBezTo>
                  <a:pt x="1425" y="39"/>
                  <a:pt x="1436" y="15"/>
                  <a:pt x="1444" y="10"/>
                </a:cubicBezTo>
                <a:cubicBezTo>
                  <a:pt x="1452" y="5"/>
                  <a:pt x="1538" y="0"/>
                  <a:pt x="1635" y="0"/>
                </a:cubicBezTo>
                <a:cubicBezTo>
                  <a:pt x="1796" y="0"/>
                  <a:pt x="1813" y="2"/>
                  <a:pt x="1825" y="26"/>
                </a:cubicBezTo>
                <a:cubicBezTo>
                  <a:pt x="1833" y="40"/>
                  <a:pt x="1839" y="63"/>
                  <a:pt x="1839" y="78"/>
                </a:cubicBezTo>
                <a:cubicBezTo>
                  <a:pt x="1839" y="109"/>
                  <a:pt x="1854" y="121"/>
                  <a:pt x="1911" y="132"/>
                </a:cubicBezTo>
                <a:cubicBezTo>
                  <a:pt x="1944" y="139"/>
                  <a:pt x="1953" y="150"/>
                  <a:pt x="1962" y="187"/>
                </a:cubicBezTo>
                <a:cubicBezTo>
                  <a:pt x="1978" y="260"/>
                  <a:pt x="1962" y="337"/>
                  <a:pt x="1912" y="414"/>
                </a:cubicBezTo>
                <a:lnTo>
                  <a:pt x="1866" y="486"/>
                </a:lnTo>
                <a:lnTo>
                  <a:pt x="1866" y="1088"/>
                </a:lnTo>
                <a:lnTo>
                  <a:pt x="1866" y="1690"/>
                </a:lnTo>
                <a:lnTo>
                  <a:pt x="1815" y="1725"/>
                </a:lnTo>
                <a:cubicBezTo>
                  <a:pt x="1752" y="1768"/>
                  <a:pt x="1717" y="1815"/>
                  <a:pt x="1688" y="1893"/>
                </a:cubicBezTo>
                <a:cubicBezTo>
                  <a:pt x="1667" y="1948"/>
                  <a:pt x="1665" y="2037"/>
                  <a:pt x="1669" y="2886"/>
                </a:cubicBezTo>
                <a:lnTo>
                  <a:pt x="1672" y="3820"/>
                </a:lnTo>
                <a:lnTo>
                  <a:pt x="1716" y="3824"/>
                </a:lnTo>
                <a:lnTo>
                  <a:pt x="1759" y="3828"/>
                </a:lnTo>
                <a:lnTo>
                  <a:pt x="1759" y="2893"/>
                </a:lnTo>
                <a:cubicBezTo>
                  <a:pt x="1759" y="2001"/>
                  <a:pt x="1760" y="1957"/>
                  <a:pt x="1784" y="1909"/>
                </a:cubicBezTo>
                <a:cubicBezTo>
                  <a:pt x="1815" y="1850"/>
                  <a:pt x="1859" y="1807"/>
                  <a:pt x="1910" y="1787"/>
                </a:cubicBezTo>
                <a:cubicBezTo>
                  <a:pt x="1961" y="1768"/>
                  <a:pt x="2475" y="1769"/>
                  <a:pt x="2534" y="1788"/>
                </a:cubicBezTo>
                <a:cubicBezTo>
                  <a:pt x="2559" y="1797"/>
                  <a:pt x="2593" y="1816"/>
                  <a:pt x="2611" y="1832"/>
                </a:cubicBezTo>
                <a:cubicBezTo>
                  <a:pt x="2676" y="1890"/>
                  <a:pt x="2679" y="1914"/>
                  <a:pt x="2679" y="2398"/>
                </a:cubicBezTo>
                <a:cubicBezTo>
                  <a:pt x="2679" y="2798"/>
                  <a:pt x="2677" y="2851"/>
                  <a:pt x="2658" y="2858"/>
                </a:cubicBezTo>
                <a:cubicBezTo>
                  <a:pt x="2646" y="2863"/>
                  <a:pt x="2547" y="2866"/>
                  <a:pt x="2437" y="2866"/>
                </a:cubicBezTo>
                <a:cubicBezTo>
                  <a:pt x="2254" y="2866"/>
                  <a:pt x="2237" y="2868"/>
                  <a:pt x="2241" y="2890"/>
                </a:cubicBezTo>
                <a:cubicBezTo>
                  <a:pt x="2246" y="2911"/>
                  <a:pt x="2279" y="2914"/>
                  <a:pt x="2652" y="2920"/>
                </a:cubicBezTo>
                <a:cubicBezTo>
                  <a:pt x="3036" y="2926"/>
                  <a:pt x="3063" y="2928"/>
                  <a:pt x="3123" y="2956"/>
                </a:cubicBezTo>
                <a:cubicBezTo>
                  <a:pt x="3215" y="2998"/>
                  <a:pt x="3263" y="3036"/>
                  <a:pt x="3299" y="3093"/>
                </a:cubicBezTo>
                <a:cubicBezTo>
                  <a:pt x="3358" y="3186"/>
                  <a:pt x="3372" y="3281"/>
                  <a:pt x="3372" y="3564"/>
                </a:cubicBezTo>
                <a:lnTo>
                  <a:pt x="3372" y="3824"/>
                </a:lnTo>
                <a:lnTo>
                  <a:pt x="3455" y="3835"/>
                </a:lnTo>
                <a:cubicBezTo>
                  <a:pt x="3534" y="3846"/>
                  <a:pt x="3539" y="3849"/>
                  <a:pt x="3550" y="3890"/>
                </a:cubicBezTo>
                <a:cubicBezTo>
                  <a:pt x="3558" y="3916"/>
                  <a:pt x="3558" y="3956"/>
                  <a:pt x="3551" y="3990"/>
                </a:cubicBezTo>
                <a:lnTo>
                  <a:pt x="3539" y="4046"/>
                </a:lnTo>
                <a:lnTo>
                  <a:pt x="3392" y="4055"/>
                </a:lnTo>
                <a:cubicBezTo>
                  <a:pt x="3200" y="4066"/>
                  <a:pt x="1008" y="4064"/>
                  <a:pt x="452" y="4052"/>
                </a:cubicBezTo>
                <a:close/>
                <a:moveTo>
                  <a:pt x="522" y="2516"/>
                </a:moveTo>
                <a:cubicBezTo>
                  <a:pt x="525" y="1423"/>
                  <a:pt x="529" y="1200"/>
                  <a:pt x="544" y="1170"/>
                </a:cubicBezTo>
                <a:cubicBezTo>
                  <a:pt x="565" y="1129"/>
                  <a:pt x="655" y="1080"/>
                  <a:pt x="709" y="1080"/>
                </a:cubicBezTo>
                <a:cubicBezTo>
                  <a:pt x="728" y="1080"/>
                  <a:pt x="758" y="1074"/>
                  <a:pt x="775" y="1068"/>
                </a:cubicBezTo>
                <a:cubicBezTo>
                  <a:pt x="803" y="1058"/>
                  <a:pt x="806" y="1049"/>
                  <a:pt x="801" y="1001"/>
                </a:cubicBezTo>
                <a:lnTo>
                  <a:pt x="796" y="946"/>
                </a:lnTo>
                <a:lnTo>
                  <a:pt x="586" y="946"/>
                </a:lnTo>
                <a:lnTo>
                  <a:pt x="376" y="946"/>
                </a:lnTo>
                <a:lnTo>
                  <a:pt x="368" y="1016"/>
                </a:lnTo>
                <a:cubicBezTo>
                  <a:pt x="357" y="1108"/>
                  <a:pt x="356" y="3730"/>
                  <a:pt x="367" y="3785"/>
                </a:cubicBezTo>
                <a:cubicBezTo>
                  <a:pt x="375" y="3825"/>
                  <a:pt x="378" y="3826"/>
                  <a:pt x="447" y="3826"/>
                </a:cubicBezTo>
                <a:lnTo>
                  <a:pt x="518" y="3826"/>
                </a:lnTo>
                <a:lnTo>
                  <a:pt x="522" y="2516"/>
                </a:lnTo>
                <a:close/>
                <a:moveTo>
                  <a:pt x="2953" y="3751"/>
                </a:moveTo>
                <a:cubicBezTo>
                  <a:pt x="2965" y="3656"/>
                  <a:pt x="2952" y="3374"/>
                  <a:pt x="2935" y="3357"/>
                </a:cubicBezTo>
                <a:cubicBezTo>
                  <a:pt x="2916" y="3338"/>
                  <a:pt x="2822" y="3329"/>
                  <a:pt x="2753" y="3339"/>
                </a:cubicBezTo>
                <a:lnTo>
                  <a:pt x="2692" y="3348"/>
                </a:lnTo>
                <a:lnTo>
                  <a:pt x="2692" y="3587"/>
                </a:lnTo>
                <a:lnTo>
                  <a:pt x="2692" y="3826"/>
                </a:lnTo>
                <a:lnTo>
                  <a:pt x="2818" y="3826"/>
                </a:lnTo>
                <a:lnTo>
                  <a:pt x="2944" y="3826"/>
                </a:lnTo>
                <a:lnTo>
                  <a:pt x="2953" y="3751"/>
                </a:lnTo>
                <a:close/>
                <a:moveTo>
                  <a:pt x="3246" y="3526"/>
                </a:moveTo>
                <a:cubicBezTo>
                  <a:pt x="3245" y="3238"/>
                  <a:pt x="3245" y="3232"/>
                  <a:pt x="3212" y="3173"/>
                </a:cubicBezTo>
                <a:cubicBezTo>
                  <a:pt x="3190" y="3134"/>
                  <a:pt x="3158" y="3102"/>
                  <a:pt x="3119" y="3080"/>
                </a:cubicBezTo>
                <a:cubicBezTo>
                  <a:pt x="3059" y="3047"/>
                  <a:pt x="3058" y="3046"/>
                  <a:pt x="2659" y="3043"/>
                </a:cubicBezTo>
                <a:cubicBezTo>
                  <a:pt x="2257" y="3039"/>
                  <a:pt x="2198" y="3044"/>
                  <a:pt x="2236" y="3083"/>
                </a:cubicBezTo>
                <a:cubicBezTo>
                  <a:pt x="2249" y="3095"/>
                  <a:pt x="2347" y="3102"/>
                  <a:pt x="2623" y="3107"/>
                </a:cubicBezTo>
                <a:cubicBezTo>
                  <a:pt x="3007" y="3115"/>
                  <a:pt x="3041" y="3120"/>
                  <a:pt x="3104" y="3177"/>
                </a:cubicBezTo>
                <a:cubicBezTo>
                  <a:pt x="3173" y="3240"/>
                  <a:pt x="3185" y="3294"/>
                  <a:pt x="3186" y="3540"/>
                </a:cubicBezTo>
                <a:cubicBezTo>
                  <a:pt x="3186" y="3790"/>
                  <a:pt x="3191" y="3830"/>
                  <a:pt x="3224" y="3824"/>
                </a:cubicBezTo>
                <a:cubicBezTo>
                  <a:pt x="3243" y="3820"/>
                  <a:pt x="3246" y="3786"/>
                  <a:pt x="3246" y="3526"/>
                </a:cubicBezTo>
                <a:close/>
                <a:moveTo>
                  <a:pt x="2886" y="2855"/>
                </a:moveTo>
                <a:lnTo>
                  <a:pt x="2832" y="2846"/>
                </a:lnTo>
                <a:lnTo>
                  <a:pt x="2829" y="2208"/>
                </a:lnTo>
                <a:cubicBezTo>
                  <a:pt x="2826" y="1763"/>
                  <a:pt x="2821" y="1563"/>
                  <a:pt x="2811" y="1551"/>
                </a:cubicBezTo>
                <a:cubicBezTo>
                  <a:pt x="2794" y="1531"/>
                  <a:pt x="2506" y="1526"/>
                  <a:pt x="2407" y="1544"/>
                </a:cubicBezTo>
                <a:cubicBezTo>
                  <a:pt x="2360" y="1552"/>
                  <a:pt x="2353" y="1559"/>
                  <a:pt x="2340" y="1607"/>
                </a:cubicBezTo>
                <a:lnTo>
                  <a:pt x="2325" y="1660"/>
                </a:lnTo>
                <a:lnTo>
                  <a:pt x="2239" y="1664"/>
                </a:lnTo>
                <a:cubicBezTo>
                  <a:pt x="2096" y="1671"/>
                  <a:pt x="2092" y="1668"/>
                  <a:pt x="2092" y="1562"/>
                </a:cubicBezTo>
                <a:cubicBezTo>
                  <a:pt x="2092" y="1458"/>
                  <a:pt x="2128" y="1372"/>
                  <a:pt x="2190" y="1327"/>
                </a:cubicBezTo>
                <a:cubicBezTo>
                  <a:pt x="2225" y="1302"/>
                  <a:pt x="2249" y="1300"/>
                  <a:pt x="2550" y="1296"/>
                </a:cubicBezTo>
                <a:cubicBezTo>
                  <a:pt x="2754" y="1293"/>
                  <a:pt x="2890" y="1297"/>
                  <a:pt x="2921" y="1306"/>
                </a:cubicBezTo>
                <a:cubicBezTo>
                  <a:pt x="2980" y="1323"/>
                  <a:pt x="3046" y="1395"/>
                  <a:pt x="3065" y="1463"/>
                </a:cubicBezTo>
                <a:cubicBezTo>
                  <a:pt x="3080" y="1517"/>
                  <a:pt x="3085" y="2807"/>
                  <a:pt x="3071" y="2845"/>
                </a:cubicBezTo>
                <a:cubicBezTo>
                  <a:pt x="3062" y="2868"/>
                  <a:pt x="2994" y="2871"/>
                  <a:pt x="2886" y="2855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28" name="Isosceles Triangle 427">
            <a:extLst>
              <a:ext uri="{FF2B5EF4-FFF2-40B4-BE49-F238E27FC236}">
                <a16:creationId xmlns:a16="http://schemas.microsoft.com/office/drawing/2014/main" id="{A9D58D57-E054-47F7-9D43-91454BECBD30}"/>
              </a:ext>
            </a:extLst>
          </p:cNvPr>
          <p:cNvSpPr/>
          <p:nvPr/>
        </p:nvSpPr>
        <p:spPr>
          <a:xfrm>
            <a:off x="1895441" y="5423657"/>
            <a:ext cx="136946" cy="119502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429" name="TextBox 428">
            <a:extLst>
              <a:ext uri="{FF2B5EF4-FFF2-40B4-BE49-F238E27FC236}">
                <a16:creationId xmlns:a16="http://schemas.microsoft.com/office/drawing/2014/main" id="{B9B99A13-B1CE-486B-B60C-63994466BFCF}"/>
              </a:ext>
            </a:extLst>
          </p:cNvPr>
          <p:cNvSpPr txBox="1"/>
          <p:nvPr/>
        </p:nvSpPr>
        <p:spPr>
          <a:xfrm>
            <a:off x="2075367" y="5400026"/>
            <a:ext cx="2289914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Ammonia, methanol</a:t>
            </a:r>
          </a:p>
        </p:txBody>
      </p:sp>
      <p:sp>
        <p:nvSpPr>
          <p:cNvPr id="430" name="Freeform 32">
            <a:extLst>
              <a:ext uri="{FF2B5EF4-FFF2-40B4-BE49-F238E27FC236}">
                <a16:creationId xmlns:a16="http://schemas.microsoft.com/office/drawing/2014/main" id="{404A18BF-A920-46F5-8198-5BBD6754F805}"/>
              </a:ext>
            </a:extLst>
          </p:cNvPr>
          <p:cNvSpPr>
            <a:spLocks noEditPoints="1"/>
          </p:cNvSpPr>
          <p:nvPr/>
        </p:nvSpPr>
        <p:spPr bwMode="auto">
          <a:xfrm>
            <a:off x="1652270" y="5405030"/>
            <a:ext cx="239224" cy="225796"/>
          </a:xfrm>
          <a:custGeom>
            <a:avLst/>
            <a:gdLst>
              <a:gd name="T0" fmla="*/ 2767 w 4656"/>
              <a:gd name="T1" fmla="*/ 2796 h 5464"/>
              <a:gd name="T2" fmla="*/ 2820 w 4656"/>
              <a:gd name="T3" fmla="*/ 2886 h 5464"/>
              <a:gd name="T4" fmla="*/ 2933 w 4656"/>
              <a:gd name="T5" fmla="*/ 3071 h 5464"/>
              <a:gd name="T6" fmla="*/ 3089 w 4656"/>
              <a:gd name="T7" fmla="*/ 3328 h 5464"/>
              <a:gd name="T8" fmla="*/ 3271 w 4656"/>
              <a:gd name="T9" fmla="*/ 3628 h 5464"/>
              <a:gd name="T10" fmla="*/ 3464 w 4656"/>
              <a:gd name="T11" fmla="*/ 3945 h 5464"/>
              <a:gd name="T12" fmla="*/ 3650 w 4656"/>
              <a:gd name="T13" fmla="*/ 4254 h 5464"/>
              <a:gd name="T14" fmla="*/ 3814 w 4656"/>
              <a:gd name="T15" fmla="*/ 4524 h 5464"/>
              <a:gd name="T16" fmla="*/ 3940 w 4656"/>
              <a:gd name="T17" fmla="*/ 4733 h 5464"/>
              <a:gd name="T18" fmla="*/ 4011 w 4656"/>
              <a:gd name="T19" fmla="*/ 4849 h 5464"/>
              <a:gd name="T20" fmla="*/ 3999 w 4656"/>
              <a:gd name="T21" fmla="*/ 4867 h 5464"/>
              <a:gd name="T22" fmla="*/ 3900 w 4656"/>
              <a:gd name="T23" fmla="*/ 4867 h 5464"/>
              <a:gd name="T24" fmla="*/ 3633 w 4656"/>
              <a:gd name="T25" fmla="*/ 4867 h 5464"/>
              <a:gd name="T26" fmla="*/ 3241 w 4656"/>
              <a:gd name="T27" fmla="*/ 4867 h 5464"/>
              <a:gd name="T28" fmla="*/ 2767 w 4656"/>
              <a:gd name="T29" fmla="*/ 4867 h 5464"/>
              <a:gd name="T30" fmla="*/ 2256 w 4656"/>
              <a:gd name="T31" fmla="*/ 4867 h 5464"/>
              <a:gd name="T32" fmla="*/ 1749 w 4656"/>
              <a:gd name="T33" fmla="*/ 4867 h 5464"/>
              <a:gd name="T34" fmla="*/ 1291 w 4656"/>
              <a:gd name="T35" fmla="*/ 4867 h 5464"/>
              <a:gd name="T36" fmla="*/ 926 w 4656"/>
              <a:gd name="T37" fmla="*/ 4867 h 5464"/>
              <a:gd name="T38" fmla="*/ 695 w 4656"/>
              <a:gd name="T39" fmla="*/ 4865 h 5464"/>
              <a:gd name="T40" fmla="*/ 639 w 4656"/>
              <a:gd name="T41" fmla="*/ 4862 h 5464"/>
              <a:gd name="T42" fmla="*/ 694 w 4656"/>
              <a:gd name="T43" fmla="*/ 4771 h 5464"/>
              <a:gd name="T44" fmla="*/ 808 w 4656"/>
              <a:gd name="T45" fmla="*/ 4584 h 5464"/>
              <a:gd name="T46" fmla="*/ 964 w 4656"/>
              <a:gd name="T47" fmla="*/ 4326 h 5464"/>
              <a:gd name="T48" fmla="*/ 1147 w 4656"/>
              <a:gd name="T49" fmla="*/ 4025 h 5464"/>
              <a:gd name="T50" fmla="*/ 1339 w 4656"/>
              <a:gd name="T51" fmla="*/ 3708 h 5464"/>
              <a:gd name="T52" fmla="*/ 1525 w 4656"/>
              <a:gd name="T53" fmla="*/ 3400 h 5464"/>
              <a:gd name="T54" fmla="*/ 1689 w 4656"/>
              <a:gd name="T55" fmla="*/ 3129 h 5464"/>
              <a:gd name="T56" fmla="*/ 1813 w 4656"/>
              <a:gd name="T57" fmla="*/ 2924 h 5464"/>
              <a:gd name="T58" fmla="*/ 1885 w 4656"/>
              <a:gd name="T59" fmla="*/ 2808 h 5464"/>
              <a:gd name="T60" fmla="*/ 1637 w 4656"/>
              <a:gd name="T61" fmla="*/ 252 h 5464"/>
              <a:gd name="T62" fmla="*/ 374 w 4656"/>
              <a:gd name="T63" fmla="*/ 4822 h 5464"/>
              <a:gd name="T64" fmla="*/ 342 w 4656"/>
              <a:gd name="T65" fmla="*/ 4978 h 5464"/>
              <a:gd name="T66" fmla="*/ 388 w 4656"/>
              <a:gd name="T67" fmla="*/ 5059 h 5464"/>
              <a:gd name="T68" fmla="*/ 538 w 4656"/>
              <a:gd name="T69" fmla="*/ 5114 h 5464"/>
              <a:gd name="T70" fmla="*/ 4064 w 4656"/>
              <a:gd name="T71" fmla="*/ 5121 h 5464"/>
              <a:gd name="T72" fmla="*/ 4243 w 4656"/>
              <a:gd name="T73" fmla="*/ 5076 h 5464"/>
              <a:gd name="T74" fmla="*/ 4310 w 4656"/>
              <a:gd name="T75" fmla="*/ 5005 h 5464"/>
              <a:gd name="T76" fmla="*/ 4301 w 4656"/>
              <a:gd name="T77" fmla="*/ 4869 h 5464"/>
              <a:gd name="T78" fmla="*/ 3021 w 4656"/>
              <a:gd name="T79" fmla="*/ 2720 h 5464"/>
              <a:gd name="T80" fmla="*/ 1637 w 4656"/>
              <a:gd name="T81" fmla="*/ 252 h 5464"/>
              <a:gd name="T82" fmla="*/ 3361 w 4656"/>
              <a:gd name="T83" fmla="*/ 470 h 5464"/>
              <a:gd name="T84" fmla="*/ 4602 w 4656"/>
              <a:gd name="T85" fmla="*/ 4695 h 5464"/>
              <a:gd name="T86" fmla="*/ 4656 w 4656"/>
              <a:gd name="T87" fmla="*/ 4983 h 5464"/>
              <a:gd name="T88" fmla="*/ 4583 w 4656"/>
              <a:gd name="T89" fmla="*/ 5219 h 5464"/>
              <a:gd name="T90" fmla="*/ 4391 w 4656"/>
              <a:gd name="T91" fmla="*/ 5383 h 5464"/>
              <a:gd name="T92" fmla="*/ 4091 w 4656"/>
              <a:gd name="T93" fmla="*/ 5461 h 5464"/>
              <a:gd name="T94" fmla="*/ 483 w 4656"/>
              <a:gd name="T95" fmla="*/ 5451 h 5464"/>
              <a:gd name="T96" fmla="*/ 208 w 4656"/>
              <a:gd name="T97" fmla="*/ 5350 h 5464"/>
              <a:gd name="T98" fmla="*/ 43 w 4656"/>
              <a:gd name="T99" fmla="*/ 5166 h 5464"/>
              <a:gd name="T100" fmla="*/ 2 w 4656"/>
              <a:gd name="T101" fmla="*/ 4915 h 5464"/>
              <a:gd name="T102" fmla="*/ 92 w 4656"/>
              <a:gd name="T103" fmla="*/ 4618 h 5464"/>
              <a:gd name="T104" fmla="*/ 1045 w 4656"/>
              <a:gd name="T105" fmla="*/ 470 h 5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656" h="5464">
                <a:moveTo>
                  <a:pt x="1893" y="2076"/>
                </a:moveTo>
                <a:lnTo>
                  <a:pt x="2764" y="2076"/>
                </a:lnTo>
                <a:lnTo>
                  <a:pt x="2764" y="2791"/>
                </a:lnTo>
                <a:lnTo>
                  <a:pt x="2767" y="2796"/>
                </a:lnTo>
                <a:lnTo>
                  <a:pt x="2774" y="2808"/>
                </a:lnTo>
                <a:lnTo>
                  <a:pt x="2785" y="2826"/>
                </a:lnTo>
                <a:lnTo>
                  <a:pt x="2800" y="2852"/>
                </a:lnTo>
                <a:lnTo>
                  <a:pt x="2820" y="2886"/>
                </a:lnTo>
                <a:lnTo>
                  <a:pt x="2843" y="2924"/>
                </a:lnTo>
                <a:lnTo>
                  <a:pt x="2872" y="2968"/>
                </a:lnTo>
                <a:lnTo>
                  <a:pt x="2901" y="3017"/>
                </a:lnTo>
                <a:lnTo>
                  <a:pt x="2933" y="3071"/>
                </a:lnTo>
                <a:lnTo>
                  <a:pt x="2969" y="3129"/>
                </a:lnTo>
                <a:lnTo>
                  <a:pt x="3008" y="3192"/>
                </a:lnTo>
                <a:lnTo>
                  <a:pt x="3047" y="3259"/>
                </a:lnTo>
                <a:lnTo>
                  <a:pt x="3089" y="3328"/>
                </a:lnTo>
                <a:lnTo>
                  <a:pt x="3134" y="3400"/>
                </a:lnTo>
                <a:lnTo>
                  <a:pt x="3178" y="3474"/>
                </a:lnTo>
                <a:lnTo>
                  <a:pt x="3225" y="3550"/>
                </a:lnTo>
                <a:lnTo>
                  <a:pt x="3271" y="3628"/>
                </a:lnTo>
                <a:lnTo>
                  <a:pt x="3319" y="3708"/>
                </a:lnTo>
                <a:lnTo>
                  <a:pt x="3368" y="3788"/>
                </a:lnTo>
                <a:lnTo>
                  <a:pt x="3416" y="3867"/>
                </a:lnTo>
                <a:lnTo>
                  <a:pt x="3464" y="3945"/>
                </a:lnTo>
                <a:lnTo>
                  <a:pt x="3512" y="4025"/>
                </a:lnTo>
                <a:lnTo>
                  <a:pt x="3558" y="4103"/>
                </a:lnTo>
                <a:lnTo>
                  <a:pt x="3605" y="4179"/>
                </a:lnTo>
                <a:lnTo>
                  <a:pt x="3650" y="4254"/>
                </a:lnTo>
                <a:lnTo>
                  <a:pt x="3694" y="4325"/>
                </a:lnTo>
                <a:lnTo>
                  <a:pt x="3736" y="4394"/>
                </a:lnTo>
                <a:lnTo>
                  <a:pt x="3776" y="4461"/>
                </a:lnTo>
                <a:lnTo>
                  <a:pt x="3814" y="4524"/>
                </a:lnTo>
                <a:lnTo>
                  <a:pt x="3850" y="4584"/>
                </a:lnTo>
                <a:lnTo>
                  <a:pt x="3883" y="4638"/>
                </a:lnTo>
                <a:lnTo>
                  <a:pt x="3913" y="4688"/>
                </a:lnTo>
                <a:lnTo>
                  <a:pt x="3940" y="4733"/>
                </a:lnTo>
                <a:lnTo>
                  <a:pt x="3963" y="4771"/>
                </a:lnTo>
                <a:lnTo>
                  <a:pt x="3983" y="4804"/>
                </a:lnTo>
                <a:lnTo>
                  <a:pt x="3999" y="4831"/>
                </a:lnTo>
                <a:lnTo>
                  <a:pt x="4011" y="4849"/>
                </a:lnTo>
                <a:lnTo>
                  <a:pt x="4018" y="4862"/>
                </a:lnTo>
                <a:lnTo>
                  <a:pt x="4021" y="4865"/>
                </a:lnTo>
                <a:lnTo>
                  <a:pt x="4011" y="4867"/>
                </a:lnTo>
                <a:lnTo>
                  <a:pt x="3999" y="4867"/>
                </a:lnTo>
                <a:lnTo>
                  <a:pt x="3993" y="4867"/>
                </a:lnTo>
                <a:lnTo>
                  <a:pt x="3975" y="4867"/>
                </a:lnTo>
                <a:lnTo>
                  <a:pt x="3943" y="4867"/>
                </a:lnTo>
                <a:lnTo>
                  <a:pt x="3900" y="4867"/>
                </a:lnTo>
                <a:lnTo>
                  <a:pt x="3849" y="4867"/>
                </a:lnTo>
                <a:lnTo>
                  <a:pt x="3786" y="4867"/>
                </a:lnTo>
                <a:lnTo>
                  <a:pt x="3714" y="4867"/>
                </a:lnTo>
                <a:lnTo>
                  <a:pt x="3633" y="4867"/>
                </a:lnTo>
                <a:lnTo>
                  <a:pt x="3545" y="4867"/>
                </a:lnTo>
                <a:lnTo>
                  <a:pt x="3450" y="4867"/>
                </a:lnTo>
                <a:lnTo>
                  <a:pt x="3349" y="4867"/>
                </a:lnTo>
                <a:lnTo>
                  <a:pt x="3241" y="4867"/>
                </a:lnTo>
                <a:lnTo>
                  <a:pt x="3129" y="4867"/>
                </a:lnTo>
                <a:lnTo>
                  <a:pt x="3013" y="4867"/>
                </a:lnTo>
                <a:lnTo>
                  <a:pt x="2891" y="4867"/>
                </a:lnTo>
                <a:lnTo>
                  <a:pt x="2767" y="4867"/>
                </a:lnTo>
                <a:lnTo>
                  <a:pt x="2641" y="4867"/>
                </a:lnTo>
                <a:lnTo>
                  <a:pt x="2513" y="4867"/>
                </a:lnTo>
                <a:lnTo>
                  <a:pt x="2386" y="4867"/>
                </a:lnTo>
                <a:lnTo>
                  <a:pt x="2256" y="4867"/>
                </a:lnTo>
                <a:lnTo>
                  <a:pt x="2127" y="4867"/>
                </a:lnTo>
                <a:lnTo>
                  <a:pt x="1999" y="4867"/>
                </a:lnTo>
                <a:lnTo>
                  <a:pt x="1873" y="4867"/>
                </a:lnTo>
                <a:lnTo>
                  <a:pt x="1749" y="4867"/>
                </a:lnTo>
                <a:lnTo>
                  <a:pt x="1629" y="4867"/>
                </a:lnTo>
                <a:lnTo>
                  <a:pt x="1511" y="4867"/>
                </a:lnTo>
                <a:lnTo>
                  <a:pt x="1399" y="4867"/>
                </a:lnTo>
                <a:lnTo>
                  <a:pt x="1291" y="4867"/>
                </a:lnTo>
                <a:lnTo>
                  <a:pt x="1190" y="4867"/>
                </a:lnTo>
                <a:lnTo>
                  <a:pt x="1093" y="4867"/>
                </a:lnTo>
                <a:lnTo>
                  <a:pt x="1006" y="4867"/>
                </a:lnTo>
                <a:lnTo>
                  <a:pt x="926" y="4867"/>
                </a:lnTo>
                <a:lnTo>
                  <a:pt x="853" y="4867"/>
                </a:lnTo>
                <a:lnTo>
                  <a:pt x="790" y="4867"/>
                </a:lnTo>
                <a:lnTo>
                  <a:pt x="737" y="4865"/>
                </a:lnTo>
                <a:lnTo>
                  <a:pt x="695" y="4865"/>
                </a:lnTo>
                <a:lnTo>
                  <a:pt x="664" y="4865"/>
                </a:lnTo>
                <a:lnTo>
                  <a:pt x="644" y="4865"/>
                </a:lnTo>
                <a:lnTo>
                  <a:pt x="637" y="4865"/>
                </a:lnTo>
                <a:lnTo>
                  <a:pt x="639" y="4862"/>
                </a:lnTo>
                <a:lnTo>
                  <a:pt x="647" y="4849"/>
                </a:lnTo>
                <a:lnTo>
                  <a:pt x="659" y="4831"/>
                </a:lnTo>
                <a:lnTo>
                  <a:pt x="674" y="4804"/>
                </a:lnTo>
                <a:lnTo>
                  <a:pt x="694" y="4771"/>
                </a:lnTo>
                <a:lnTo>
                  <a:pt x="719" y="4733"/>
                </a:lnTo>
                <a:lnTo>
                  <a:pt x="745" y="4688"/>
                </a:lnTo>
                <a:lnTo>
                  <a:pt x="775" y="4638"/>
                </a:lnTo>
                <a:lnTo>
                  <a:pt x="808" y="4584"/>
                </a:lnTo>
                <a:lnTo>
                  <a:pt x="843" y="4524"/>
                </a:lnTo>
                <a:lnTo>
                  <a:pt x="881" y="4461"/>
                </a:lnTo>
                <a:lnTo>
                  <a:pt x="923" y="4394"/>
                </a:lnTo>
                <a:lnTo>
                  <a:pt x="964" y="4326"/>
                </a:lnTo>
                <a:lnTo>
                  <a:pt x="1007" y="4254"/>
                </a:lnTo>
                <a:lnTo>
                  <a:pt x="1054" y="4179"/>
                </a:lnTo>
                <a:lnTo>
                  <a:pt x="1098" y="4103"/>
                </a:lnTo>
                <a:lnTo>
                  <a:pt x="1147" y="4025"/>
                </a:lnTo>
                <a:lnTo>
                  <a:pt x="1195" y="3947"/>
                </a:lnTo>
                <a:lnTo>
                  <a:pt x="1243" y="3867"/>
                </a:lnTo>
                <a:lnTo>
                  <a:pt x="1291" y="3788"/>
                </a:lnTo>
                <a:lnTo>
                  <a:pt x="1339" y="3708"/>
                </a:lnTo>
                <a:lnTo>
                  <a:pt x="1387" y="3628"/>
                </a:lnTo>
                <a:lnTo>
                  <a:pt x="1433" y="3550"/>
                </a:lnTo>
                <a:lnTo>
                  <a:pt x="1480" y="3474"/>
                </a:lnTo>
                <a:lnTo>
                  <a:pt x="1525" y="3400"/>
                </a:lnTo>
                <a:lnTo>
                  <a:pt x="1568" y="3328"/>
                </a:lnTo>
                <a:lnTo>
                  <a:pt x="1611" y="3259"/>
                </a:lnTo>
                <a:lnTo>
                  <a:pt x="1651" y="3192"/>
                </a:lnTo>
                <a:lnTo>
                  <a:pt x="1689" y="3129"/>
                </a:lnTo>
                <a:lnTo>
                  <a:pt x="1724" y="3071"/>
                </a:lnTo>
                <a:lnTo>
                  <a:pt x="1757" y="3017"/>
                </a:lnTo>
                <a:lnTo>
                  <a:pt x="1787" y="2968"/>
                </a:lnTo>
                <a:lnTo>
                  <a:pt x="1813" y="2924"/>
                </a:lnTo>
                <a:lnTo>
                  <a:pt x="1837" y="2886"/>
                </a:lnTo>
                <a:lnTo>
                  <a:pt x="1856" y="2852"/>
                </a:lnTo>
                <a:lnTo>
                  <a:pt x="1873" y="2826"/>
                </a:lnTo>
                <a:lnTo>
                  <a:pt x="1885" y="2808"/>
                </a:lnTo>
                <a:lnTo>
                  <a:pt x="1891" y="2796"/>
                </a:lnTo>
                <a:lnTo>
                  <a:pt x="1893" y="2791"/>
                </a:lnTo>
                <a:lnTo>
                  <a:pt x="1893" y="2076"/>
                </a:lnTo>
                <a:close/>
                <a:moveTo>
                  <a:pt x="1637" y="252"/>
                </a:moveTo>
                <a:lnTo>
                  <a:pt x="1637" y="2720"/>
                </a:lnTo>
                <a:lnTo>
                  <a:pt x="428" y="4715"/>
                </a:lnTo>
                <a:lnTo>
                  <a:pt x="397" y="4771"/>
                </a:lnTo>
                <a:lnTo>
                  <a:pt x="374" y="4822"/>
                </a:lnTo>
                <a:lnTo>
                  <a:pt x="357" y="4869"/>
                </a:lnTo>
                <a:lnTo>
                  <a:pt x="347" y="4912"/>
                </a:lnTo>
                <a:lnTo>
                  <a:pt x="342" y="4948"/>
                </a:lnTo>
                <a:lnTo>
                  <a:pt x="342" y="4978"/>
                </a:lnTo>
                <a:lnTo>
                  <a:pt x="347" y="5005"/>
                </a:lnTo>
                <a:lnTo>
                  <a:pt x="355" y="5025"/>
                </a:lnTo>
                <a:lnTo>
                  <a:pt x="369" y="5041"/>
                </a:lnTo>
                <a:lnTo>
                  <a:pt x="388" y="5059"/>
                </a:lnTo>
                <a:lnTo>
                  <a:pt x="415" y="5076"/>
                </a:lnTo>
                <a:lnTo>
                  <a:pt x="448" y="5091"/>
                </a:lnTo>
                <a:lnTo>
                  <a:pt x="490" y="5104"/>
                </a:lnTo>
                <a:lnTo>
                  <a:pt x="538" y="5114"/>
                </a:lnTo>
                <a:lnTo>
                  <a:pt x="594" y="5121"/>
                </a:lnTo>
                <a:lnTo>
                  <a:pt x="659" y="5122"/>
                </a:lnTo>
                <a:lnTo>
                  <a:pt x="3999" y="5122"/>
                </a:lnTo>
                <a:lnTo>
                  <a:pt x="4064" y="5121"/>
                </a:lnTo>
                <a:lnTo>
                  <a:pt x="4121" y="5114"/>
                </a:lnTo>
                <a:lnTo>
                  <a:pt x="4169" y="5104"/>
                </a:lnTo>
                <a:lnTo>
                  <a:pt x="4210" y="5091"/>
                </a:lnTo>
                <a:lnTo>
                  <a:pt x="4243" y="5076"/>
                </a:lnTo>
                <a:lnTo>
                  <a:pt x="4270" y="5059"/>
                </a:lnTo>
                <a:lnTo>
                  <a:pt x="4290" y="5041"/>
                </a:lnTo>
                <a:lnTo>
                  <a:pt x="4303" y="5025"/>
                </a:lnTo>
                <a:lnTo>
                  <a:pt x="4310" y="5005"/>
                </a:lnTo>
                <a:lnTo>
                  <a:pt x="4315" y="4978"/>
                </a:lnTo>
                <a:lnTo>
                  <a:pt x="4316" y="4948"/>
                </a:lnTo>
                <a:lnTo>
                  <a:pt x="4311" y="4912"/>
                </a:lnTo>
                <a:lnTo>
                  <a:pt x="4301" y="4869"/>
                </a:lnTo>
                <a:lnTo>
                  <a:pt x="4285" y="4822"/>
                </a:lnTo>
                <a:lnTo>
                  <a:pt x="4262" y="4771"/>
                </a:lnTo>
                <a:lnTo>
                  <a:pt x="4230" y="4715"/>
                </a:lnTo>
                <a:lnTo>
                  <a:pt x="3021" y="2720"/>
                </a:lnTo>
                <a:lnTo>
                  <a:pt x="3021" y="1819"/>
                </a:lnTo>
                <a:lnTo>
                  <a:pt x="3019" y="1819"/>
                </a:lnTo>
                <a:lnTo>
                  <a:pt x="3019" y="252"/>
                </a:lnTo>
                <a:lnTo>
                  <a:pt x="1637" y="252"/>
                </a:lnTo>
                <a:close/>
                <a:moveTo>
                  <a:pt x="1045" y="0"/>
                </a:moveTo>
                <a:lnTo>
                  <a:pt x="3600" y="0"/>
                </a:lnTo>
                <a:lnTo>
                  <a:pt x="3600" y="470"/>
                </a:lnTo>
                <a:lnTo>
                  <a:pt x="3361" y="470"/>
                </a:lnTo>
                <a:lnTo>
                  <a:pt x="3361" y="2625"/>
                </a:lnTo>
                <a:lnTo>
                  <a:pt x="4522" y="4537"/>
                </a:lnTo>
                <a:lnTo>
                  <a:pt x="4565" y="4618"/>
                </a:lnTo>
                <a:lnTo>
                  <a:pt x="4602" y="4695"/>
                </a:lnTo>
                <a:lnTo>
                  <a:pt x="4628" y="4771"/>
                </a:lnTo>
                <a:lnTo>
                  <a:pt x="4646" y="4844"/>
                </a:lnTo>
                <a:lnTo>
                  <a:pt x="4655" y="4915"/>
                </a:lnTo>
                <a:lnTo>
                  <a:pt x="4656" y="4983"/>
                </a:lnTo>
                <a:lnTo>
                  <a:pt x="4650" y="5046"/>
                </a:lnTo>
                <a:lnTo>
                  <a:pt x="4636" y="5107"/>
                </a:lnTo>
                <a:lnTo>
                  <a:pt x="4613" y="5166"/>
                </a:lnTo>
                <a:lnTo>
                  <a:pt x="4583" y="5219"/>
                </a:lnTo>
                <a:lnTo>
                  <a:pt x="4547" y="5267"/>
                </a:lnTo>
                <a:lnTo>
                  <a:pt x="4502" y="5310"/>
                </a:lnTo>
                <a:lnTo>
                  <a:pt x="4451" y="5350"/>
                </a:lnTo>
                <a:lnTo>
                  <a:pt x="4391" y="5383"/>
                </a:lnTo>
                <a:lnTo>
                  <a:pt x="4326" y="5411"/>
                </a:lnTo>
                <a:lnTo>
                  <a:pt x="4253" y="5434"/>
                </a:lnTo>
                <a:lnTo>
                  <a:pt x="4175" y="5451"/>
                </a:lnTo>
                <a:lnTo>
                  <a:pt x="4091" y="5461"/>
                </a:lnTo>
                <a:lnTo>
                  <a:pt x="3999" y="5464"/>
                </a:lnTo>
                <a:lnTo>
                  <a:pt x="659" y="5464"/>
                </a:lnTo>
                <a:lnTo>
                  <a:pt x="568" y="5461"/>
                </a:lnTo>
                <a:lnTo>
                  <a:pt x="483" y="5451"/>
                </a:lnTo>
                <a:lnTo>
                  <a:pt x="403" y="5434"/>
                </a:lnTo>
                <a:lnTo>
                  <a:pt x="332" y="5411"/>
                </a:lnTo>
                <a:lnTo>
                  <a:pt x="266" y="5383"/>
                </a:lnTo>
                <a:lnTo>
                  <a:pt x="208" y="5350"/>
                </a:lnTo>
                <a:lnTo>
                  <a:pt x="156" y="5310"/>
                </a:lnTo>
                <a:lnTo>
                  <a:pt x="111" y="5267"/>
                </a:lnTo>
                <a:lnTo>
                  <a:pt x="73" y="5219"/>
                </a:lnTo>
                <a:lnTo>
                  <a:pt x="43" y="5166"/>
                </a:lnTo>
                <a:lnTo>
                  <a:pt x="22" y="5107"/>
                </a:lnTo>
                <a:lnTo>
                  <a:pt x="7" y="5046"/>
                </a:lnTo>
                <a:lnTo>
                  <a:pt x="0" y="4983"/>
                </a:lnTo>
                <a:lnTo>
                  <a:pt x="2" y="4915"/>
                </a:lnTo>
                <a:lnTo>
                  <a:pt x="12" y="4844"/>
                </a:lnTo>
                <a:lnTo>
                  <a:pt x="30" y="4771"/>
                </a:lnTo>
                <a:lnTo>
                  <a:pt x="57" y="4695"/>
                </a:lnTo>
                <a:lnTo>
                  <a:pt x="92" y="4618"/>
                </a:lnTo>
                <a:lnTo>
                  <a:pt x="136" y="4537"/>
                </a:lnTo>
                <a:lnTo>
                  <a:pt x="1296" y="2625"/>
                </a:lnTo>
                <a:lnTo>
                  <a:pt x="1296" y="470"/>
                </a:lnTo>
                <a:lnTo>
                  <a:pt x="1045" y="470"/>
                </a:lnTo>
                <a:lnTo>
                  <a:pt x="1045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437" name="Group 436">
            <a:extLst>
              <a:ext uri="{FF2B5EF4-FFF2-40B4-BE49-F238E27FC236}">
                <a16:creationId xmlns:a16="http://schemas.microsoft.com/office/drawing/2014/main" id="{6A4E047D-B13F-4C50-9E6D-E1918F81050B}"/>
              </a:ext>
            </a:extLst>
          </p:cNvPr>
          <p:cNvGrpSpPr/>
          <p:nvPr/>
        </p:nvGrpSpPr>
        <p:grpSpPr>
          <a:xfrm>
            <a:off x="3241675" y="5680050"/>
            <a:ext cx="2285787" cy="119502"/>
            <a:chOff x="6210181" y="1592209"/>
            <a:chExt cx="2285787" cy="119502"/>
          </a:xfrm>
        </p:grpSpPr>
        <p:sp>
          <p:nvSpPr>
            <p:cNvPr id="438" name="Rectangle 437">
              <a:extLst>
                <a:ext uri="{FF2B5EF4-FFF2-40B4-BE49-F238E27FC236}">
                  <a16:creationId xmlns:a16="http://schemas.microsoft.com/office/drawing/2014/main" id="{B228FBA9-7372-4507-95FB-4BA53DD772C0}"/>
                </a:ext>
              </a:extLst>
            </p:cNvPr>
            <p:cNvSpPr/>
            <p:nvPr/>
          </p:nvSpPr>
          <p:spPr>
            <a:xfrm>
              <a:off x="6210181" y="1592209"/>
              <a:ext cx="2212300" cy="11950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sp>
          <p:nvSpPr>
            <p:cNvPr id="439" name="Isosceles Triangle 438">
              <a:extLst>
                <a:ext uri="{FF2B5EF4-FFF2-40B4-BE49-F238E27FC236}">
                  <a16:creationId xmlns:a16="http://schemas.microsoft.com/office/drawing/2014/main" id="{A71211CD-5929-4014-8B82-5110F624A76F}"/>
                </a:ext>
              </a:extLst>
            </p:cNvPr>
            <p:cNvSpPr/>
            <p:nvPr/>
          </p:nvSpPr>
          <p:spPr>
            <a:xfrm>
              <a:off x="8359022" y="1592209"/>
              <a:ext cx="136946" cy="119502"/>
            </a:xfrm>
            <a:prstGeom prst="triangl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40" name="Freeform 32">
            <a:extLst>
              <a:ext uri="{FF2B5EF4-FFF2-40B4-BE49-F238E27FC236}">
                <a16:creationId xmlns:a16="http://schemas.microsoft.com/office/drawing/2014/main" id="{9E2D94BA-856F-4578-8377-51A7CDDF7827}"/>
              </a:ext>
            </a:extLst>
          </p:cNvPr>
          <p:cNvSpPr>
            <a:spLocks noEditPoints="1"/>
          </p:cNvSpPr>
          <p:nvPr/>
        </p:nvSpPr>
        <p:spPr bwMode="auto">
          <a:xfrm>
            <a:off x="4195010" y="5523718"/>
            <a:ext cx="239224" cy="225796"/>
          </a:xfrm>
          <a:custGeom>
            <a:avLst/>
            <a:gdLst>
              <a:gd name="T0" fmla="*/ 2767 w 4656"/>
              <a:gd name="T1" fmla="*/ 2796 h 5464"/>
              <a:gd name="T2" fmla="*/ 2820 w 4656"/>
              <a:gd name="T3" fmla="*/ 2886 h 5464"/>
              <a:gd name="T4" fmla="*/ 2933 w 4656"/>
              <a:gd name="T5" fmla="*/ 3071 h 5464"/>
              <a:gd name="T6" fmla="*/ 3089 w 4656"/>
              <a:gd name="T7" fmla="*/ 3328 h 5464"/>
              <a:gd name="T8" fmla="*/ 3271 w 4656"/>
              <a:gd name="T9" fmla="*/ 3628 h 5464"/>
              <a:gd name="T10" fmla="*/ 3464 w 4656"/>
              <a:gd name="T11" fmla="*/ 3945 h 5464"/>
              <a:gd name="T12" fmla="*/ 3650 w 4656"/>
              <a:gd name="T13" fmla="*/ 4254 h 5464"/>
              <a:gd name="T14" fmla="*/ 3814 w 4656"/>
              <a:gd name="T15" fmla="*/ 4524 h 5464"/>
              <a:gd name="T16" fmla="*/ 3940 w 4656"/>
              <a:gd name="T17" fmla="*/ 4733 h 5464"/>
              <a:gd name="T18" fmla="*/ 4011 w 4656"/>
              <a:gd name="T19" fmla="*/ 4849 h 5464"/>
              <a:gd name="T20" fmla="*/ 3999 w 4656"/>
              <a:gd name="T21" fmla="*/ 4867 h 5464"/>
              <a:gd name="T22" fmla="*/ 3900 w 4656"/>
              <a:gd name="T23" fmla="*/ 4867 h 5464"/>
              <a:gd name="T24" fmla="*/ 3633 w 4656"/>
              <a:gd name="T25" fmla="*/ 4867 h 5464"/>
              <a:gd name="T26" fmla="*/ 3241 w 4656"/>
              <a:gd name="T27" fmla="*/ 4867 h 5464"/>
              <a:gd name="T28" fmla="*/ 2767 w 4656"/>
              <a:gd name="T29" fmla="*/ 4867 h 5464"/>
              <a:gd name="T30" fmla="*/ 2256 w 4656"/>
              <a:gd name="T31" fmla="*/ 4867 h 5464"/>
              <a:gd name="T32" fmla="*/ 1749 w 4656"/>
              <a:gd name="T33" fmla="*/ 4867 h 5464"/>
              <a:gd name="T34" fmla="*/ 1291 w 4656"/>
              <a:gd name="T35" fmla="*/ 4867 h 5464"/>
              <a:gd name="T36" fmla="*/ 926 w 4656"/>
              <a:gd name="T37" fmla="*/ 4867 h 5464"/>
              <a:gd name="T38" fmla="*/ 695 w 4656"/>
              <a:gd name="T39" fmla="*/ 4865 h 5464"/>
              <a:gd name="T40" fmla="*/ 639 w 4656"/>
              <a:gd name="T41" fmla="*/ 4862 h 5464"/>
              <a:gd name="T42" fmla="*/ 694 w 4656"/>
              <a:gd name="T43" fmla="*/ 4771 h 5464"/>
              <a:gd name="T44" fmla="*/ 808 w 4656"/>
              <a:gd name="T45" fmla="*/ 4584 h 5464"/>
              <a:gd name="T46" fmla="*/ 964 w 4656"/>
              <a:gd name="T47" fmla="*/ 4326 h 5464"/>
              <a:gd name="T48" fmla="*/ 1147 w 4656"/>
              <a:gd name="T49" fmla="*/ 4025 h 5464"/>
              <a:gd name="T50" fmla="*/ 1339 w 4656"/>
              <a:gd name="T51" fmla="*/ 3708 h 5464"/>
              <a:gd name="T52" fmla="*/ 1525 w 4656"/>
              <a:gd name="T53" fmla="*/ 3400 h 5464"/>
              <a:gd name="T54" fmla="*/ 1689 w 4656"/>
              <a:gd name="T55" fmla="*/ 3129 h 5464"/>
              <a:gd name="T56" fmla="*/ 1813 w 4656"/>
              <a:gd name="T57" fmla="*/ 2924 h 5464"/>
              <a:gd name="T58" fmla="*/ 1885 w 4656"/>
              <a:gd name="T59" fmla="*/ 2808 h 5464"/>
              <a:gd name="T60" fmla="*/ 1637 w 4656"/>
              <a:gd name="T61" fmla="*/ 252 h 5464"/>
              <a:gd name="T62" fmla="*/ 374 w 4656"/>
              <a:gd name="T63" fmla="*/ 4822 h 5464"/>
              <a:gd name="T64" fmla="*/ 342 w 4656"/>
              <a:gd name="T65" fmla="*/ 4978 h 5464"/>
              <a:gd name="T66" fmla="*/ 388 w 4656"/>
              <a:gd name="T67" fmla="*/ 5059 h 5464"/>
              <a:gd name="T68" fmla="*/ 538 w 4656"/>
              <a:gd name="T69" fmla="*/ 5114 h 5464"/>
              <a:gd name="T70" fmla="*/ 4064 w 4656"/>
              <a:gd name="T71" fmla="*/ 5121 h 5464"/>
              <a:gd name="T72" fmla="*/ 4243 w 4656"/>
              <a:gd name="T73" fmla="*/ 5076 h 5464"/>
              <a:gd name="T74" fmla="*/ 4310 w 4656"/>
              <a:gd name="T75" fmla="*/ 5005 h 5464"/>
              <a:gd name="T76" fmla="*/ 4301 w 4656"/>
              <a:gd name="T77" fmla="*/ 4869 h 5464"/>
              <a:gd name="T78" fmla="*/ 3021 w 4656"/>
              <a:gd name="T79" fmla="*/ 2720 h 5464"/>
              <a:gd name="T80" fmla="*/ 1637 w 4656"/>
              <a:gd name="T81" fmla="*/ 252 h 5464"/>
              <a:gd name="T82" fmla="*/ 3361 w 4656"/>
              <a:gd name="T83" fmla="*/ 470 h 5464"/>
              <a:gd name="T84" fmla="*/ 4602 w 4656"/>
              <a:gd name="T85" fmla="*/ 4695 h 5464"/>
              <a:gd name="T86" fmla="*/ 4656 w 4656"/>
              <a:gd name="T87" fmla="*/ 4983 h 5464"/>
              <a:gd name="T88" fmla="*/ 4583 w 4656"/>
              <a:gd name="T89" fmla="*/ 5219 h 5464"/>
              <a:gd name="T90" fmla="*/ 4391 w 4656"/>
              <a:gd name="T91" fmla="*/ 5383 h 5464"/>
              <a:gd name="T92" fmla="*/ 4091 w 4656"/>
              <a:gd name="T93" fmla="*/ 5461 h 5464"/>
              <a:gd name="T94" fmla="*/ 483 w 4656"/>
              <a:gd name="T95" fmla="*/ 5451 h 5464"/>
              <a:gd name="T96" fmla="*/ 208 w 4656"/>
              <a:gd name="T97" fmla="*/ 5350 h 5464"/>
              <a:gd name="T98" fmla="*/ 43 w 4656"/>
              <a:gd name="T99" fmla="*/ 5166 h 5464"/>
              <a:gd name="T100" fmla="*/ 2 w 4656"/>
              <a:gd name="T101" fmla="*/ 4915 h 5464"/>
              <a:gd name="T102" fmla="*/ 92 w 4656"/>
              <a:gd name="T103" fmla="*/ 4618 h 5464"/>
              <a:gd name="T104" fmla="*/ 1045 w 4656"/>
              <a:gd name="T105" fmla="*/ 470 h 5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656" h="5464">
                <a:moveTo>
                  <a:pt x="1893" y="2076"/>
                </a:moveTo>
                <a:lnTo>
                  <a:pt x="2764" y="2076"/>
                </a:lnTo>
                <a:lnTo>
                  <a:pt x="2764" y="2791"/>
                </a:lnTo>
                <a:lnTo>
                  <a:pt x="2767" y="2796"/>
                </a:lnTo>
                <a:lnTo>
                  <a:pt x="2774" y="2808"/>
                </a:lnTo>
                <a:lnTo>
                  <a:pt x="2785" y="2826"/>
                </a:lnTo>
                <a:lnTo>
                  <a:pt x="2800" y="2852"/>
                </a:lnTo>
                <a:lnTo>
                  <a:pt x="2820" y="2886"/>
                </a:lnTo>
                <a:lnTo>
                  <a:pt x="2843" y="2924"/>
                </a:lnTo>
                <a:lnTo>
                  <a:pt x="2872" y="2968"/>
                </a:lnTo>
                <a:lnTo>
                  <a:pt x="2901" y="3017"/>
                </a:lnTo>
                <a:lnTo>
                  <a:pt x="2933" y="3071"/>
                </a:lnTo>
                <a:lnTo>
                  <a:pt x="2969" y="3129"/>
                </a:lnTo>
                <a:lnTo>
                  <a:pt x="3008" y="3192"/>
                </a:lnTo>
                <a:lnTo>
                  <a:pt x="3047" y="3259"/>
                </a:lnTo>
                <a:lnTo>
                  <a:pt x="3089" y="3328"/>
                </a:lnTo>
                <a:lnTo>
                  <a:pt x="3134" y="3400"/>
                </a:lnTo>
                <a:lnTo>
                  <a:pt x="3178" y="3474"/>
                </a:lnTo>
                <a:lnTo>
                  <a:pt x="3225" y="3550"/>
                </a:lnTo>
                <a:lnTo>
                  <a:pt x="3271" y="3628"/>
                </a:lnTo>
                <a:lnTo>
                  <a:pt x="3319" y="3708"/>
                </a:lnTo>
                <a:lnTo>
                  <a:pt x="3368" y="3788"/>
                </a:lnTo>
                <a:lnTo>
                  <a:pt x="3416" y="3867"/>
                </a:lnTo>
                <a:lnTo>
                  <a:pt x="3464" y="3945"/>
                </a:lnTo>
                <a:lnTo>
                  <a:pt x="3512" y="4025"/>
                </a:lnTo>
                <a:lnTo>
                  <a:pt x="3558" y="4103"/>
                </a:lnTo>
                <a:lnTo>
                  <a:pt x="3605" y="4179"/>
                </a:lnTo>
                <a:lnTo>
                  <a:pt x="3650" y="4254"/>
                </a:lnTo>
                <a:lnTo>
                  <a:pt x="3694" y="4325"/>
                </a:lnTo>
                <a:lnTo>
                  <a:pt x="3736" y="4394"/>
                </a:lnTo>
                <a:lnTo>
                  <a:pt x="3776" y="4461"/>
                </a:lnTo>
                <a:lnTo>
                  <a:pt x="3814" y="4524"/>
                </a:lnTo>
                <a:lnTo>
                  <a:pt x="3850" y="4584"/>
                </a:lnTo>
                <a:lnTo>
                  <a:pt x="3883" y="4638"/>
                </a:lnTo>
                <a:lnTo>
                  <a:pt x="3913" y="4688"/>
                </a:lnTo>
                <a:lnTo>
                  <a:pt x="3940" y="4733"/>
                </a:lnTo>
                <a:lnTo>
                  <a:pt x="3963" y="4771"/>
                </a:lnTo>
                <a:lnTo>
                  <a:pt x="3983" y="4804"/>
                </a:lnTo>
                <a:lnTo>
                  <a:pt x="3999" y="4831"/>
                </a:lnTo>
                <a:lnTo>
                  <a:pt x="4011" y="4849"/>
                </a:lnTo>
                <a:lnTo>
                  <a:pt x="4018" y="4862"/>
                </a:lnTo>
                <a:lnTo>
                  <a:pt x="4021" y="4865"/>
                </a:lnTo>
                <a:lnTo>
                  <a:pt x="4011" y="4867"/>
                </a:lnTo>
                <a:lnTo>
                  <a:pt x="3999" y="4867"/>
                </a:lnTo>
                <a:lnTo>
                  <a:pt x="3993" y="4867"/>
                </a:lnTo>
                <a:lnTo>
                  <a:pt x="3975" y="4867"/>
                </a:lnTo>
                <a:lnTo>
                  <a:pt x="3943" y="4867"/>
                </a:lnTo>
                <a:lnTo>
                  <a:pt x="3900" y="4867"/>
                </a:lnTo>
                <a:lnTo>
                  <a:pt x="3849" y="4867"/>
                </a:lnTo>
                <a:lnTo>
                  <a:pt x="3786" y="4867"/>
                </a:lnTo>
                <a:lnTo>
                  <a:pt x="3714" y="4867"/>
                </a:lnTo>
                <a:lnTo>
                  <a:pt x="3633" y="4867"/>
                </a:lnTo>
                <a:lnTo>
                  <a:pt x="3545" y="4867"/>
                </a:lnTo>
                <a:lnTo>
                  <a:pt x="3450" y="4867"/>
                </a:lnTo>
                <a:lnTo>
                  <a:pt x="3349" y="4867"/>
                </a:lnTo>
                <a:lnTo>
                  <a:pt x="3241" y="4867"/>
                </a:lnTo>
                <a:lnTo>
                  <a:pt x="3129" y="4867"/>
                </a:lnTo>
                <a:lnTo>
                  <a:pt x="3013" y="4867"/>
                </a:lnTo>
                <a:lnTo>
                  <a:pt x="2891" y="4867"/>
                </a:lnTo>
                <a:lnTo>
                  <a:pt x="2767" y="4867"/>
                </a:lnTo>
                <a:lnTo>
                  <a:pt x="2641" y="4867"/>
                </a:lnTo>
                <a:lnTo>
                  <a:pt x="2513" y="4867"/>
                </a:lnTo>
                <a:lnTo>
                  <a:pt x="2386" y="4867"/>
                </a:lnTo>
                <a:lnTo>
                  <a:pt x="2256" y="4867"/>
                </a:lnTo>
                <a:lnTo>
                  <a:pt x="2127" y="4867"/>
                </a:lnTo>
                <a:lnTo>
                  <a:pt x="1999" y="4867"/>
                </a:lnTo>
                <a:lnTo>
                  <a:pt x="1873" y="4867"/>
                </a:lnTo>
                <a:lnTo>
                  <a:pt x="1749" y="4867"/>
                </a:lnTo>
                <a:lnTo>
                  <a:pt x="1629" y="4867"/>
                </a:lnTo>
                <a:lnTo>
                  <a:pt x="1511" y="4867"/>
                </a:lnTo>
                <a:lnTo>
                  <a:pt x="1399" y="4867"/>
                </a:lnTo>
                <a:lnTo>
                  <a:pt x="1291" y="4867"/>
                </a:lnTo>
                <a:lnTo>
                  <a:pt x="1190" y="4867"/>
                </a:lnTo>
                <a:lnTo>
                  <a:pt x="1093" y="4867"/>
                </a:lnTo>
                <a:lnTo>
                  <a:pt x="1006" y="4867"/>
                </a:lnTo>
                <a:lnTo>
                  <a:pt x="926" y="4867"/>
                </a:lnTo>
                <a:lnTo>
                  <a:pt x="853" y="4867"/>
                </a:lnTo>
                <a:lnTo>
                  <a:pt x="790" y="4867"/>
                </a:lnTo>
                <a:lnTo>
                  <a:pt x="737" y="4865"/>
                </a:lnTo>
                <a:lnTo>
                  <a:pt x="695" y="4865"/>
                </a:lnTo>
                <a:lnTo>
                  <a:pt x="664" y="4865"/>
                </a:lnTo>
                <a:lnTo>
                  <a:pt x="644" y="4865"/>
                </a:lnTo>
                <a:lnTo>
                  <a:pt x="637" y="4865"/>
                </a:lnTo>
                <a:lnTo>
                  <a:pt x="639" y="4862"/>
                </a:lnTo>
                <a:lnTo>
                  <a:pt x="647" y="4849"/>
                </a:lnTo>
                <a:lnTo>
                  <a:pt x="659" y="4831"/>
                </a:lnTo>
                <a:lnTo>
                  <a:pt x="674" y="4804"/>
                </a:lnTo>
                <a:lnTo>
                  <a:pt x="694" y="4771"/>
                </a:lnTo>
                <a:lnTo>
                  <a:pt x="719" y="4733"/>
                </a:lnTo>
                <a:lnTo>
                  <a:pt x="745" y="4688"/>
                </a:lnTo>
                <a:lnTo>
                  <a:pt x="775" y="4638"/>
                </a:lnTo>
                <a:lnTo>
                  <a:pt x="808" y="4584"/>
                </a:lnTo>
                <a:lnTo>
                  <a:pt x="843" y="4524"/>
                </a:lnTo>
                <a:lnTo>
                  <a:pt x="881" y="4461"/>
                </a:lnTo>
                <a:lnTo>
                  <a:pt x="923" y="4394"/>
                </a:lnTo>
                <a:lnTo>
                  <a:pt x="964" y="4326"/>
                </a:lnTo>
                <a:lnTo>
                  <a:pt x="1007" y="4254"/>
                </a:lnTo>
                <a:lnTo>
                  <a:pt x="1054" y="4179"/>
                </a:lnTo>
                <a:lnTo>
                  <a:pt x="1098" y="4103"/>
                </a:lnTo>
                <a:lnTo>
                  <a:pt x="1147" y="4025"/>
                </a:lnTo>
                <a:lnTo>
                  <a:pt x="1195" y="3947"/>
                </a:lnTo>
                <a:lnTo>
                  <a:pt x="1243" y="3867"/>
                </a:lnTo>
                <a:lnTo>
                  <a:pt x="1291" y="3788"/>
                </a:lnTo>
                <a:lnTo>
                  <a:pt x="1339" y="3708"/>
                </a:lnTo>
                <a:lnTo>
                  <a:pt x="1387" y="3628"/>
                </a:lnTo>
                <a:lnTo>
                  <a:pt x="1433" y="3550"/>
                </a:lnTo>
                <a:lnTo>
                  <a:pt x="1480" y="3474"/>
                </a:lnTo>
                <a:lnTo>
                  <a:pt x="1525" y="3400"/>
                </a:lnTo>
                <a:lnTo>
                  <a:pt x="1568" y="3328"/>
                </a:lnTo>
                <a:lnTo>
                  <a:pt x="1611" y="3259"/>
                </a:lnTo>
                <a:lnTo>
                  <a:pt x="1651" y="3192"/>
                </a:lnTo>
                <a:lnTo>
                  <a:pt x="1689" y="3129"/>
                </a:lnTo>
                <a:lnTo>
                  <a:pt x="1724" y="3071"/>
                </a:lnTo>
                <a:lnTo>
                  <a:pt x="1757" y="3017"/>
                </a:lnTo>
                <a:lnTo>
                  <a:pt x="1787" y="2968"/>
                </a:lnTo>
                <a:lnTo>
                  <a:pt x="1813" y="2924"/>
                </a:lnTo>
                <a:lnTo>
                  <a:pt x="1837" y="2886"/>
                </a:lnTo>
                <a:lnTo>
                  <a:pt x="1856" y="2852"/>
                </a:lnTo>
                <a:lnTo>
                  <a:pt x="1873" y="2826"/>
                </a:lnTo>
                <a:lnTo>
                  <a:pt x="1885" y="2808"/>
                </a:lnTo>
                <a:lnTo>
                  <a:pt x="1891" y="2796"/>
                </a:lnTo>
                <a:lnTo>
                  <a:pt x="1893" y="2791"/>
                </a:lnTo>
                <a:lnTo>
                  <a:pt x="1893" y="2076"/>
                </a:lnTo>
                <a:close/>
                <a:moveTo>
                  <a:pt x="1637" y="252"/>
                </a:moveTo>
                <a:lnTo>
                  <a:pt x="1637" y="2720"/>
                </a:lnTo>
                <a:lnTo>
                  <a:pt x="428" y="4715"/>
                </a:lnTo>
                <a:lnTo>
                  <a:pt x="397" y="4771"/>
                </a:lnTo>
                <a:lnTo>
                  <a:pt x="374" y="4822"/>
                </a:lnTo>
                <a:lnTo>
                  <a:pt x="357" y="4869"/>
                </a:lnTo>
                <a:lnTo>
                  <a:pt x="347" y="4912"/>
                </a:lnTo>
                <a:lnTo>
                  <a:pt x="342" y="4948"/>
                </a:lnTo>
                <a:lnTo>
                  <a:pt x="342" y="4978"/>
                </a:lnTo>
                <a:lnTo>
                  <a:pt x="347" y="5005"/>
                </a:lnTo>
                <a:lnTo>
                  <a:pt x="355" y="5025"/>
                </a:lnTo>
                <a:lnTo>
                  <a:pt x="369" y="5041"/>
                </a:lnTo>
                <a:lnTo>
                  <a:pt x="388" y="5059"/>
                </a:lnTo>
                <a:lnTo>
                  <a:pt x="415" y="5076"/>
                </a:lnTo>
                <a:lnTo>
                  <a:pt x="448" y="5091"/>
                </a:lnTo>
                <a:lnTo>
                  <a:pt x="490" y="5104"/>
                </a:lnTo>
                <a:lnTo>
                  <a:pt x="538" y="5114"/>
                </a:lnTo>
                <a:lnTo>
                  <a:pt x="594" y="5121"/>
                </a:lnTo>
                <a:lnTo>
                  <a:pt x="659" y="5122"/>
                </a:lnTo>
                <a:lnTo>
                  <a:pt x="3999" y="5122"/>
                </a:lnTo>
                <a:lnTo>
                  <a:pt x="4064" y="5121"/>
                </a:lnTo>
                <a:lnTo>
                  <a:pt x="4121" y="5114"/>
                </a:lnTo>
                <a:lnTo>
                  <a:pt x="4169" y="5104"/>
                </a:lnTo>
                <a:lnTo>
                  <a:pt x="4210" y="5091"/>
                </a:lnTo>
                <a:lnTo>
                  <a:pt x="4243" y="5076"/>
                </a:lnTo>
                <a:lnTo>
                  <a:pt x="4270" y="5059"/>
                </a:lnTo>
                <a:lnTo>
                  <a:pt x="4290" y="5041"/>
                </a:lnTo>
                <a:lnTo>
                  <a:pt x="4303" y="5025"/>
                </a:lnTo>
                <a:lnTo>
                  <a:pt x="4310" y="5005"/>
                </a:lnTo>
                <a:lnTo>
                  <a:pt x="4315" y="4978"/>
                </a:lnTo>
                <a:lnTo>
                  <a:pt x="4316" y="4948"/>
                </a:lnTo>
                <a:lnTo>
                  <a:pt x="4311" y="4912"/>
                </a:lnTo>
                <a:lnTo>
                  <a:pt x="4301" y="4869"/>
                </a:lnTo>
                <a:lnTo>
                  <a:pt x="4285" y="4822"/>
                </a:lnTo>
                <a:lnTo>
                  <a:pt x="4262" y="4771"/>
                </a:lnTo>
                <a:lnTo>
                  <a:pt x="4230" y="4715"/>
                </a:lnTo>
                <a:lnTo>
                  <a:pt x="3021" y="2720"/>
                </a:lnTo>
                <a:lnTo>
                  <a:pt x="3021" y="1819"/>
                </a:lnTo>
                <a:lnTo>
                  <a:pt x="3019" y="1819"/>
                </a:lnTo>
                <a:lnTo>
                  <a:pt x="3019" y="252"/>
                </a:lnTo>
                <a:lnTo>
                  <a:pt x="1637" y="252"/>
                </a:lnTo>
                <a:close/>
                <a:moveTo>
                  <a:pt x="1045" y="0"/>
                </a:moveTo>
                <a:lnTo>
                  <a:pt x="3600" y="0"/>
                </a:lnTo>
                <a:lnTo>
                  <a:pt x="3600" y="470"/>
                </a:lnTo>
                <a:lnTo>
                  <a:pt x="3361" y="470"/>
                </a:lnTo>
                <a:lnTo>
                  <a:pt x="3361" y="2625"/>
                </a:lnTo>
                <a:lnTo>
                  <a:pt x="4522" y="4537"/>
                </a:lnTo>
                <a:lnTo>
                  <a:pt x="4565" y="4618"/>
                </a:lnTo>
                <a:lnTo>
                  <a:pt x="4602" y="4695"/>
                </a:lnTo>
                <a:lnTo>
                  <a:pt x="4628" y="4771"/>
                </a:lnTo>
                <a:lnTo>
                  <a:pt x="4646" y="4844"/>
                </a:lnTo>
                <a:lnTo>
                  <a:pt x="4655" y="4915"/>
                </a:lnTo>
                <a:lnTo>
                  <a:pt x="4656" y="4983"/>
                </a:lnTo>
                <a:lnTo>
                  <a:pt x="4650" y="5046"/>
                </a:lnTo>
                <a:lnTo>
                  <a:pt x="4636" y="5107"/>
                </a:lnTo>
                <a:lnTo>
                  <a:pt x="4613" y="5166"/>
                </a:lnTo>
                <a:lnTo>
                  <a:pt x="4583" y="5219"/>
                </a:lnTo>
                <a:lnTo>
                  <a:pt x="4547" y="5267"/>
                </a:lnTo>
                <a:lnTo>
                  <a:pt x="4502" y="5310"/>
                </a:lnTo>
                <a:lnTo>
                  <a:pt x="4451" y="5350"/>
                </a:lnTo>
                <a:lnTo>
                  <a:pt x="4391" y="5383"/>
                </a:lnTo>
                <a:lnTo>
                  <a:pt x="4326" y="5411"/>
                </a:lnTo>
                <a:lnTo>
                  <a:pt x="4253" y="5434"/>
                </a:lnTo>
                <a:lnTo>
                  <a:pt x="4175" y="5451"/>
                </a:lnTo>
                <a:lnTo>
                  <a:pt x="4091" y="5461"/>
                </a:lnTo>
                <a:lnTo>
                  <a:pt x="3999" y="5464"/>
                </a:lnTo>
                <a:lnTo>
                  <a:pt x="659" y="5464"/>
                </a:lnTo>
                <a:lnTo>
                  <a:pt x="568" y="5461"/>
                </a:lnTo>
                <a:lnTo>
                  <a:pt x="483" y="5451"/>
                </a:lnTo>
                <a:lnTo>
                  <a:pt x="403" y="5434"/>
                </a:lnTo>
                <a:lnTo>
                  <a:pt x="332" y="5411"/>
                </a:lnTo>
                <a:lnTo>
                  <a:pt x="266" y="5383"/>
                </a:lnTo>
                <a:lnTo>
                  <a:pt x="208" y="5350"/>
                </a:lnTo>
                <a:lnTo>
                  <a:pt x="156" y="5310"/>
                </a:lnTo>
                <a:lnTo>
                  <a:pt x="111" y="5267"/>
                </a:lnTo>
                <a:lnTo>
                  <a:pt x="73" y="5219"/>
                </a:lnTo>
                <a:lnTo>
                  <a:pt x="43" y="5166"/>
                </a:lnTo>
                <a:lnTo>
                  <a:pt x="22" y="5107"/>
                </a:lnTo>
                <a:lnTo>
                  <a:pt x="7" y="5046"/>
                </a:lnTo>
                <a:lnTo>
                  <a:pt x="0" y="4983"/>
                </a:lnTo>
                <a:lnTo>
                  <a:pt x="2" y="4915"/>
                </a:lnTo>
                <a:lnTo>
                  <a:pt x="12" y="4844"/>
                </a:lnTo>
                <a:lnTo>
                  <a:pt x="30" y="4771"/>
                </a:lnTo>
                <a:lnTo>
                  <a:pt x="57" y="4695"/>
                </a:lnTo>
                <a:lnTo>
                  <a:pt x="92" y="4618"/>
                </a:lnTo>
                <a:lnTo>
                  <a:pt x="136" y="4537"/>
                </a:lnTo>
                <a:lnTo>
                  <a:pt x="1296" y="2625"/>
                </a:lnTo>
                <a:lnTo>
                  <a:pt x="1296" y="470"/>
                </a:lnTo>
                <a:lnTo>
                  <a:pt x="1045" y="470"/>
                </a:lnTo>
                <a:lnTo>
                  <a:pt x="1045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41" name="Freeform 26">
            <a:extLst>
              <a:ext uri="{FF2B5EF4-FFF2-40B4-BE49-F238E27FC236}">
                <a16:creationId xmlns:a16="http://schemas.microsoft.com/office/drawing/2014/main" id="{6F0D3DD1-5C3E-4554-BF24-12646AAA2DF3}"/>
              </a:ext>
            </a:extLst>
          </p:cNvPr>
          <p:cNvSpPr>
            <a:spLocks noEditPoints="1"/>
          </p:cNvSpPr>
          <p:nvPr/>
        </p:nvSpPr>
        <p:spPr bwMode="auto">
          <a:xfrm>
            <a:off x="4525913" y="5483235"/>
            <a:ext cx="289371" cy="266279"/>
          </a:xfrm>
          <a:custGeom>
            <a:avLst/>
            <a:gdLst>
              <a:gd name="T0" fmla="*/ 8 w 3558"/>
              <a:gd name="T1" fmla="*/ 4042 h 4066"/>
              <a:gd name="T2" fmla="*/ 6 w 3558"/>
              <a:gd name="T3" fmla="*/ 3846 h 4066"/>
              <a:gd name="T4" fmla="*/ 212 w 3558"/>
              <a:gd name="T5" fmla="*/ 3823 h 4066"/>
              <a:gd name="T6" fmla="*/ 226 w 3558"/>
              <a:gd name="T7" fmla="*/ 936 h 4066"/>
              <a:gd name="T8" fmla="*/ 819 w 3558"/>
              <a:gd name="T9" fmla="*/ 786 h 4066"/>
              <a:gd name="T10" fmla="*/ 1059 w 3558"/>
              <a:gd name="T11" fmla="*/ 1083 h 4066"/>
              <a:gd name="T12" fmla="*/ 1238 w 3558"/>
              <a:gd name="T13" fmla="*/ 2500 h 4066"/>
              <a:gd name="T14" fmla="*/ 1312 w 3558"/>
              <a:gd name="T15" fmla="*/ 3826 h 4066"/>
              <a:gd name="T16" fmla="*/ 1377 w 3558"/>
              <a:gd name="T17" fmla="*/ 2584 h 4066"/>
              <a:gd name="T18" fmla="*/ 1386 w 3558"/>
              <a:gd name="T19" fmla="*/ 472 h 4066"/>
              <a:gd name="T20" fmla="*/ 1333 w 3558"/>
              <a:gd name="T21" fmla="*/ 133 h 4066"/>
              <a:gd name="T22" fmla="*/ 1444 w 3558"/>
              <a:gd name="T23" fmla="*/ 10 h 4066"/>
              <a:gd name="T24" fmla="*/ 1825 w 3558"/>
              <a:gd name="T25" fmla="*/ 26 h 4066"/>
              <a:gd name="T26" fmla="*/ 1911 w 3558"/>
              <a:gd name="T27" fmla="*/ 132 h 4066"/>
              <a:gd name="T28" fmla="*/ 1912 w 3558"/>
              <a:gd name="T29" fmla="*/ 414 h 4066"/>
              <a:gd name="T30" fmla="*/ 1866 w 3558"/>
              <a:gd name="T31" fmla="*/ 1088 h 4066"/>
              <a:gd name="T32" fmla="*/ 1815 w 3558"/>
              <a:gd name="T33" fmla="*/ 1725 h 4066"/>
              <a:gd name="T34" fmla="*/ 1669 w 3558"/>
              <a:gd name="T35" fmla="*/ 2886 h 4066"/>
              <a:gd name="T36" fmla="*/ 1716 w 3558"/>
              <a:gd name="T37" fmla="*/ 3824 h 4066"/>
              <a:gd name="T38" fmla="*/ 1759 w 3558"/>
              <a:gd name="T39" fmla="*/ 2893 h 4066"/>
              <a:gd name="T40" fmla="*/ 1910 w 3558"/>
              <a:gd name="T41" fmla="*/ 1787 h 4066"/>
              <a:gd name="T42" fmla="*/ 2611 w 3558"/>
              <a:gd name="T43" fmla="*/ 1832 h 4066"/>
              <a:gd name="T44" fmla="*/ 2658 w 3558"/>
              <a:gd name="T45" fmla="*/ 2858 h 4066"/>
              <a:gd name="T46" fmla="*/ 2241 w 3558"/>
              <a:gd name="T47" fmla="*/ 2890 h 4066"/>
              <a:gd name="T48" fmla="*/ 3123 w 3558"/>
              <a:gd name="T49" fmla="*/ 2956 h 4066"/>
              <a:gd name="T50" fmla="*/ 3372 w 3558"/>
              <a:gd name="T51" fmla="*/ 3564 h 4066"/>
              <a:gd name="T52" fmla="*/ 3455 w 3558"/>
              <a:gd name="T53" fmla="*/ 3835 h 4066"/>
              <a:gd name="T54" fmla="*/ 3551 w 3558"/>
              <a:gd name="T55" fmla="*/ 3990 h 4066"/>
              <a:gd name="T56" fmla="*/ 3392 w 3558"/>
              <a:gd name="T57" fmla="*/ 4055 h 4066"/>
              <a:gd name="T58" fmla="*/ 522 w 3558"/>
              <a:gd name="T59" fmla="*/ 2516 h 4066"/>
              <a:gd name="T60" fmla="*/ 709 w 3558"/>
              <a:gd name="T61" fmla="*/ 1080 h 4066"/>
              <a:gd name="T62" fmla="*/ 801 w 3558"/>
              <a:gd name="T63" fmla="*/ 1001 h 4066"/>
              <a:gd name="T64" fmla="*/ 586 w 3558"/>
              <a:gd name="T65" fmla="*/ 946 h 4066"/>
              <a:gd name="T66" fmla="*/ 368 w 3558"/>
              <a:gd name="T67" fmla="*/ 1016 h 4066"/>
              <a:gd name="T68" fmla="*/ 447 w 3558"/>
              <a:gd name="T69" fmla="*/ 3826 h 4066"/>
              <a:gd name="T70" fmla="*/ 522 w 3558"/>
              <a:gd name="T71" fmla="*/ 2516 h 4066"/>
              <a:gd name="T72" fmla="*/ 2935 w 3558"/>
              <a:gd name="T73" fmla="*/ 3357 h 4066"/>
              <a:gd name="T74" fmla="*/ 2692 w 3558"/>
              <a:gd name="T75" fmla="*/ 3348 h 4066"/>
              <a:gd name="T76" fmla="*/ 2692 w 3558"/>
              <a:gd name="T77" fmla="*/ 3826 h 4066"/>
              <a:gd name="T78" fmla="*/ 2944 w 3558"/>
              <a:gd name="T79" fmla="*/ 3826 h 4066"/>
              <a:gd name="T80" fmla="*/ 3246 w 3558"/>
              <a:gd name="T81" fmla="*/ 3526 h 4066"/>
              <a:gd name="T82" fmla="*/ 3119 w 3558"/>
              <a:gd name="T83" fmla="*/ 3080 h 4066"/>
              <a:gd name="T84" fmla="*/ 2236 w 3558"/>
              <a:gd name="T85" fmla="*/ 3083 h 4066"/>
              <a:gd name="T86" fmla="*/ 3104 w 3558"/>
              <a:gd name="T87" fmla="*/ 3177 h 4066"/>
              <a:gd name="T88" fmla="*/ 3224 w 3558"/>
              <a:gd name="T89" fmla="*/ 3824 h 4066"/>
              <a:gd name="T90" fmla="*/ 2886 w 3558"/>
              <a:gd name="T91" fmla="*/ 2855 h 4066"/>
              <a:gd name="T92" fmla="*/ 2829 w 3558"/>
              <a:gd name="T93" fmla="*/ 2208 h 4066"/>
              <a:gd name="T94" fmla="*/ 2407 w 3558"/>
              <a:gd name="T95" fmla="*/ 1544 h 4066"/>
              <a:gd name="T96" fmla="*/ 2325 w 3558"/>
              <a:gd name="T97" fmla="*/ 1660 h 4066"/>
              <a:gd name="T98" fmla="*/ 2092 w 3558"/>
              <a:gd name="T99" fmla="*/ 1562 h 4066"/>
              <a:gd name="T100" fmla="*/ 2550 w 3558"/>
              <a:gd name="T101" fmla="*/ 1296 h 4066"/>
              <a:gd name="T102" fmla="*/ 3065 w 3558"/>
              <a:gd name="T103" fmla="*/ 1463 h 4066"/>
              <a:gd name="T104" fmla="*/ 2886 w 3558"/>
              <a:gd name="T105" fmla="*/ 2855 h 4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58" h="4066">
                <a:moveTo>
                  <a:pt x="452" y="4052"/>
                </a:moveTo>
                <a:cubicBezTo>
                  <a:pt x="214" y="4048"/>
                  <a:pt x="14" y="4043"/>
                  <a:pt x="8" y="4042"/>
                </a:cubicBezTo>
                <a:cubicBezTo>
                  <a:pt x="3" y="4041"/>
                  <a:pt x="0" y="3996"/>
                  <a:pt x="2" y="3943"/>
                </a:cubicBezTo>
                <a:lnTo>
                  <a:pt x="6" y="3846"/>
                </a:lnTo>
                <a:lnTo>
                  <a:pt x="109" y="3835"/>
                </a:lnTo>
                <a:lnTo>
                  <a:pt x="212" y="3823"/>
                </a:lnTo>
                <a:lnTo>
                  <a:pt x="212" y="2412"/>
                </a:lnTo>
                <a:cubicBezTo>
                  <a:pt x="212" y="1474"/>
                  <a:pt x="217" y="979"/>
                  <a:pt x="226" y="936"/>
                </a:cubicBezTo>
                <a:cubicBezTo>
                  <a:pt x="243" y="858"/>
                  <a:pt x="289" y="809"/>
                  <a:pt x="366" y="788"/>
                </a:cubicBezTo>
                <a:cubicBezTo>
                  <a:pt x="430" y="770"/>
                  <a:pt x="745" y="769"/>
                  <a:pt x="819" y="786"/>
                </a:cubicBezTo>
                <a:cubicBezTo>
                  <a:pt x="886" y="801"/>
                  <a:pt x="942" y="862"/>
                  <a:pt x="952" y="929"/>
                </a:cubicBezTo>
                <a:cubicBezTo>
                  <a:pt x="974" y="1077"/>
                  <a:pt x="971" y="1072"/>
                  <a:pt x="1059" y="1083"/>
                </a:cubicBezTo>
                <a:cubicBezTo>
                  <a:pt x="1153" y="1095"/>
                  <a:pt x="1199" y="1125"/>
                  <a:pt x="1222" y="1188"/>
                </a:cubicBezTo>
                <a:cubicBezTo>
                  <a:pt x="1233" y="1222"/>
                  <a:pt x="1238" y="1555"/>
                  <a:pt x="1238" y="2500"/>
                </a:cubicBezTo>
                <a:cubicBezTo>
                  <a:pt x="1239" y="3196"/>
                  <a:pt x="1243" y="3780"/>
                  <a:pt x="1247" y="3796"/>
                </a:cubicBezTo>
                <a:cubicBezTo>
                  <a:pt x="1254" y="3822"/>
                  <a:pt x="1265" y="3826"/>
                  <a:pt x="1312" y="3826"/>
                </a:cubicBezTo>
                <a:lnTo>
                  <a:pt x="1368" y="3826"/>
                </a:lnTo>
                <a:lnTo>
                  <a:pt x="1377" y="2584"/>
                </a:lnTo>
                <a:cubicBezTo>
                  <a:pt x="1382" y="1901"/>
                  <a:pt x="1386" y="1146"/>
                  <a:pt x="1386" y="907"/>
                </a:cubicBezTo>
                <a:lnTo>
                  <a:pt x="1386" y="472"/>
                </a:lnTo>
                <a:lnTo>
                  <a:pt x="1344" y="416"/>
                </a:lnTo>
                <a:cubicBezTo>
                  <a:pt x="1278" y="326"/>
                  <a:pt x="1271" y="133"/>
                  <a:pt x="1333" y="133"/>
                </a:cubicBezTo>
                <a:cubicBezTo>
                  <a:pt x="1380" y="133"/>
                  <a:pt x="1410" y="109"/>
                  <a:pt x="1420" y="63"/>
                </a:cubicBezTo>
                <a:cubicBezTo>
                  <a:pt x="1425" y="39"/>
                  <a:pt x="1436" y="15"/>
                  <a:pt x="1444" y="10"/>
                </a:cubicBezTo>
                <a:cubicBezTo>
                  <a:pt x="1452" y="5"/>
                  <a:pt x="1538" y="0"/>
                  <a:pt x="1635" y="0"/>
                </a:cubicBezTo>
                <a:cubicBezTo>
                  <a:pt x="1796" y="0"/>
                  <a:pt x="1813" y="2"/>
                  <a:pt x="1825" y="26"/>
                </a:cubicBezTo>
                <a:cubicBezTo>
                  <a:pt x="1833" y="40"/>
                  <a:pt x="1839" y="63"/>
                  <a:pt x="1839" y="78"/>
                </a:cubicBezTo>
                <a:cubicBezTo>
                  <a:pt x="1839" y="109"/>
                  <a:pt x="1854" y="121"/>
                  <a:pt x="1911" y="132"/>
                </a:cubicBezTo>
                <a:cubicBezTo>
                  <a:pt x="1944" y="139"/>
                  <a:pt x="1953" y="150"/>
                  <a:pt x="1962" y="187"/>
                </a:cubicBezTo>
                <a:cubicBezTo>
                  <a:pt x="1978" y="260"/>
                  <a:pt x="1962" y="337"/>
                  <a:pt x="1912" y="414"/>
                </a:cubicBezTo>
                <a:lnTo>
                  <a:pt x="1866" y="486"/>
                </a:lnTo>
                <a:lnTo>
                  <a:pt x="1866" y="1088"/>
                </a:lnTo>
                <a:lnTo>
                  <a:pt x="1866" y="1690"/>
                </a:lnTo>
                <a:lnTo>
                  <a:pt x="1815" y="1725"/>
                </a:lnTo>
                <a:cubicBezTo>
                  <a:pt x="1752" y="1768"/>
                  <a:pt x="1717" y="1815"/>
                  <a:pt x="1688" y="1893"/>
                </a:cubicBezTo>
                <a:cubicBezTo>
                  <a:pt x="1667" y="1948"/>
                  <a:pt x="1665" y="2037"/>
                  <a:pt x="1669" y="2886"/>
                </a:cubicBezTo>
                <a:lnTo>
                  <a:pt x="1672" y="3820"/>
                </a:lnTo>
                <a:lnTo>
                  <a:pt x="1716" y="3824"/>
                </a:lnTo>
                <a:lnTo>
                  <a:pt x="1759" y="3828"/>
                </a:lnTo>
                <a:lnTo>
                  <a:pt x="1759" y="2893"/>
                </a:lnTo>
                <a:cubicBezTo>
                  <a:pt x="1759" y="2001"/>
                  <a:pt x="1760" y="1957"/>
                  <a:pt x="1784" y="1909"/>
                </a:cubicBezTo>
                <a:cubicBezTo>
                  <a:pt x="1815" y="1850"/>
                  <a:pt x="1859" y="1807"/>
                  <a:pt x="1910" y="1787"/>
                </a:cubicBezTo>
                <a:cubicBezTo>
                  <a:pt x="1961" y="1768"/>
                  <a:pt x="2475" y="1769"/>
                  <a:pt x="2534" y="1788"/>
                </a:cubicBezTo>
                <a:cubicBezTo>
                  <a:pt x="2559" y="1797"/>
                  <a:pt x="2593" y="1816"/>
                  <a:pt x="2611" y="1832"/>
                </a:cubicBezTo>
                <a:cubicBezTo>
                  <a:pt x="2676" y="1890"/>
                  <a:pt x="2679" y="1914"/>
                  <a:pt x="2679" y="2398"/>
                </a:cubicBezTo>
                <a:cubicBezTo>
                  <a:pt x="2679" y="2798"/>
                  <a:pt x="2677" y="2851"/>
                  <a:pt x="2658" y="2858"/>
                </a:cubicBezTo>
                <a:cubicBezTo>
                  <a:pt x="2646" y="2863"/>
                  <a:pt x="2547" y="2866"/>
                  <a:pt x="2437" y="2866"/>
                </a:cubicBezTo>
                <a:cubicBezTo>
                  <a:pt x="2254" y="2866"/>
                  <a:pt x="2237" y="2868"/>
                  <a:pt x="2241" y="2890"/>
                </a:cubicBezTo>
                <a:cubicBezTo>
                  <a:pt x="2246" y="2911"/>
                  <a:pt x="2279" y="2914"/>
                  <a:pt x="2652" y="2920"/>
                </a:cubicBezTo>
                <a:cubicBezTo>
                  <a:pt x="3036" y="2926"/>
                  <a:pt x="3063" y="2928"/>
                  <a:pt x="3123" y="2956"/>
                </a:cubicBezTo>
                <a:cubicBezTo>
                  <a:pt x="3215" y="2998"/>
                  <a:pt x="3263" y="3036"/>
                  <a:pt x="3299" y="3093"/>
                </a:cubicBezTo>
                <a:cubicBezTo>
                  <a:pt x="3358" y="3186"/>
                  <a:pt x="3372" y="3281"/>
                  <a:pt x="3372" y="3564"/>
                </a:cubicBezTo>
                <a:lnTo>
                  <a:pt x="3372" y="3824"/>
                </a:lnTo>
                <a:lnTo>
                  <a:pt x="3455" y="3835"/>
                </a:lnTo>
                <a:cubicBezTo>
                  <a:pt x="3534" y="3846"/>
                  <a:pt x="3539" y="3849"/>
                  <a:pt x="3550" y="3890"/>
                </a:cubicBezTo>
                <a:cubicBezTo>
                  <a:pt x="3558" y="3916"/>
                  <a:pt x="3558" y="3956"/>
                  <a:pt x="3551" y="3990"/>
                </a:cubicBezTo>
                <a:lnTo>
                  <a:pt x="3539" y="4046"/>
                </a:lnTo>
                <a:lnTo>
                  <a:pt x="3392" y="4055"/>
                </a:lnTo>
                <a:cubicBezTo>
                  <a:pt x="3200" y="4066"/>
                  <a:pt x="1008" y="4064"/>
                  <a:pt x="452" y="4052"/>
                </a:cubicBezTo>
                <a:close/>
                <a:moveTo>
                  <a:pt x="522" y="2516"/>
                </a:moveTo>
                <a:cubicBezTo>
                  <a:pt x="525" y="1423"/>
                  <a:pt x="529" y="1200"/>
                  <a:pt x="544" y="1170"/>
                </a:cubicBezTo>
                <a:cubicBezTo>
                  <a:pt x="565" y="1129"/>
                  <a:pt x="655" y="1080"/>
                  <a:pt x="709" y="1080"/>
                </a:cubicBezTo>
                <a:cubicBezTo>
                  <a:pt x="728" y="1080"/>
                  <a:pt x="758" y="1074"/>
                  <a:pt x="775" y="1068"/>
                </a:cubicBezTo>
                <a:cubicBezTo>
                  <a:pt x="803" y="1058"/>
                  <a:pt x="806" y="1049"/>
                  <a:pt x="801" y="1001"/>
                </a:cubicBezTo>
                <a:lnTo>
                  <a:pt x="796" y="946"/>
                </a:lnTo>
                <a:lnTo>
                  <a:pt x="586" y="946"/>
                </a:lnTo>
                <a:lnTo>
                  <a:pt x="376" y="946"/>
                </a:lnTo>
                <a:lnTo>
                  <a:pt x="368" y="1016"/>
                </a:lnTo>
                <a:cubicBezTo>
                  <a:pt x="357" y="1108"/>
                  <a:pt x="356" y="3730"/>
                  <a:pt x="367" y="3785"/>
                </a:cubicBezTo>
                <a:cubicBezTo>
                  <a:pt x="375" y="3825"/>
                  <a:pt x="378" y="3826"/>
                  <a:pt x="447" y="3826"/>
                </a:cubicBezTo>
                <a:lnTo>
                  <a:pt x="518" y="3826"/>
                </a:lnTo>
                <a:lnTo>
                  <a:pt x="522" y="2516"/>
                </a:lnTo>
                <a:close/>
                <a:moveTo>
                  <a:pt x="2953" y="3751"/>
                </a:moveTo>
                <a:cubicBezTo>
                  <a:pt x="2965" y="3656"/>
                  <a:pt x="2952" y="3374"/>
                  <a:pt x="2935" y="3357"/>
                </a:cubicBezTo>
                <a:cubicBezTo>
                  <a:pt x="2916" y="3338"/>
                  <a:pt x="2822" y="3329"/>
                  <a:pt x="2753" y="3339"/>
                </a:cubicBezTo>
                <a:lnTo>
                  <a:pt x="2692" y="3348"/>
                </a:lnTo>
                <a:lnTo>
                  <a:pt x="2692" y="3587"/>
                </a:lnTo>
                <a:lnTo>
                  <a:pt x="2692" y="3826"/>
                </a:lnTo>
                <a:lnTo>
                  <a:pt x="2818" y="3826"/>
                </a:lnTo>
                <a:lnTo>
                  <a:pt x="2944" y="3826"/>
                </a:lnTo>
                <a:lnTo>
                  <a:pt x="2953" y="3751"/>
                </a:lnTo>
                <a:close/>
                <a:moveTo>
                  <a:pt x="3246" y="3526"/>
                </a:moveTo>
                <a:cubicBezTo>
                  <a:pt x="3245" y="3238"/>
                  <a:pt x="3245" y="3232"/>
                  <a:pt x="3212" y="3173"/>
                </a:cubicBezTo>
                <a:cubicBezTo>
                  <a:pt x="3190" y="3134"/>
                  <a:pt x="3158" y="3102"/>
                  <a:pt x="3119" y="3080"/>
                </a:cubicBezTo>
                <a:cubicBezTo>
                  <a:pt x="3059" y="3047"/>
                  <a:pt x="3058" y="3046"/>
                  <a:pt x="2659" y="3043"/>
                </a:cubicBezTo>
                <a:cubicBezTo>
                  <a:pt x="2257" y="3039"/>
                  <a:pt x="2198" y="3044"/>
                  <a:pt x="2236" y="3083"/>
                </a:cubicBezTo>
                <a:cubicBezTo>
                  <a:pt x="2249" y="3095"/>
                  <a:pt x="2347" y="3102"/>
                  <a:pt x="2623" y="3107"/>
                </a:cubicBezTo>
                <a:cubicBezTo>
                  <a:pt x="3007" y="3115"/>
                  <a:pt x="3041" y="3120"/>
                  <a:pt x="3104" y="3177"/>
                </a:cubicBezTo>
                <a:cubicBezTo>
                  <a:pt x="3173" y="3240"/>
                  <a:pt x="3185" y="3294"/>
                  <a:pt x="3186" y="3540"/>
                </a:cubicBezTo>
                <a:cubicBezTo>
                  <a:pt x="3186" y="3790"/>
                  <a:pt x="3191" y="3830"/>
                  <a:pt x="3224" y="3824"/>
                </a:cubicBezTo>
                <a:cubicBezTo>
                  <a:pt x="3243" y="3820"/>
                  <a:pt x="3246" y="3786"/>
                  <a:pt x="3246" y="3526"/>
                </a:cubicBezTo>
                <a:close/>
                <a:moveTo>
                  <a:pt x="2886" y="2855"/>
                </a:moveTo>
                <a:lnTo>
                  <a:pt x="2832" y="2846"/>
                </a:lnTo>
                <a:lnTo>
                  <a:pt x="2829" y="2208"/>
                </a:lnTo>
                <a:cubicBezTo>
                  <a:pt x="2826" y="1763"/>
                  <a:pt x="2821" y="1563"/>
                  <a:pt x="2811" y="1551"/>
                </a:cubicBezTo>
                <a:cubicBezTo>
                  <a:pt x="2794" y="1531"/>
                  <a:pt x="2506" y="1526"/>
                  <a:pt x="2407" y="1544"/>
                </a:cubicBezTo>
                <a:cubicBezTo>
                  <a:pt x="2360" y="1552"/>
                  <a:pt x="2353" y="1559"/>
                  <a:pt x="2340" y="1607"/>
                </a:cubicBezTo>
                <a:lnTo>
                  <a:pt x="2325" y="1660"/>
                </a:lnTo>
                <a:lnTo>
                  <a:pt x="2239" y="1664"/>
                </a:lnTo>
                <a:cubicBezTo>
                  <a:pt x="2096" y="1671"/>
                  <a:pt x="2092" y="1668"/>
                  <a:pt x="2092" y="1562"/>
                </a:cubicBezTo>
                <a:cubicBezTo>
                  <a:pt x="2092" y="1458"/>
                  <a:pt x="2128" y="1372"/>
                  <a:pt x="2190" y="1327"/>
                </a:cubicBezTo>
                <a:cubicBezTo>
                  <a:pt x="2225" y="1302"/>
                  <a:pt x="2249" y="1300"/>
                  <a:pt x="2550" y="1296"/>
                </a:cubicBezTo>
                <a:cubicBezTo>
                  <a:pt x="2754" y="1293"/>
                  <a:pt x="2890" y="1297"/>
                  <a:pt x="2921" y="1306"/>
                </a:cubicBezTo>
                <a:cubicBezTo>
                  <a:pt x="2980" y="1323"/>
                  <a:pt x="3046" y="1395"/>
                  <a:pt x="3065" y="1463"/>
                </a:cubicBezTo>
                <a:cubicBezTo>
                  <a:pt x="3080" y="1517"/>
                  <a:pt x="3085" y="2807"/>
                  <a:pt x="3071" y="2845"/>
                </a:cubicBezTo>
                <a:cubicBezTo>
                  <a:pt x="3062" y="2868"/>
                  <a:pt x="2994" y="2871"/>
                  <a:pt x="2886" y="2855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442" name="TextBox 441">
            <a:extLst>
              <a:ext uri="{FF2B5EF4-FFF2-40B4-BE49-F238E27FC236}">
                <a16:creationId xmlns:a16="http://schemas.microsoft.com/office/drawing/2014/main" id="{C41BE50D-A640-4697-B789-B7BB03EA2845}"/>
              </a:ext>
            </a:extLst>
          </p:cNvPr>
          <p:cNvSpPr txBox="1"/>
          <p:nvPr/>
        </p:nvSpPr>
        <p:spPr>
          <a:xfrm>
            <a:off x="5607607" y="5648442"/>
            <a:ext cx="4940651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Decarbonization of feedstock</a:t>
            </a:r>
            <a:r>
              <a:rPr lang="en-US" sz="1200" baseline="30000" dirty="0"/>
              <a:t>4</a:t>
            </a: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D200D72C-B243-49FF-8C92-A50675419E26}"/>
              </a:ext>
            </a:extLst>
          </p:cNvPr>
          <p:cNvSpPr txBox="1"/>
          <p:nvPr/>
        </p:nvSpPr>
        <p:spPr>
          <a:xfrm>
            <a:off x="8454232" y="5390902"/>
            <a:ext cx="2223808" cy="18466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Steel</a:t>
            </a:r>
            <a:r>
              <a:rPr lang="en-US" sz="1200" baseline="30000" dirty="0"/>
              <a:t>3</a:t>
            </a:r>
          </a:p>
        </p:txBody>
      </p:sp>
      <p:sp>
        <p:nvSpPr>
          <p:cNvPr id="179" name="Freeform 137">
            <a:extLst>
              <a:ext uri="{FF2B5EF4-FFF2-40B4-BE49-F238E27FC236}">
                <a16:creationId xmlns:a16="http://schemas.microsoft.com/office/drawing/2014/main" id="{8EAF3F4B-C1FA-46C4-B41B-78E4D8D00970}"/>
              </a:ext>
            </a:extLst>
          </p:cNvPr>
          <p:cNvSpPr>
            <a:spLocks noEditPoints="1"/>
          </p:cNvSpPr>
          <p:nvPr/>
        </p:nvSpPr>
        <p:spPr bwMode="auto">
          <a:xfrm>
            <a:off x="7223910" y="5381876"/>
            <a:ext cx="230118" cy="202816"/>
          </a:xfrm>
          <a:custGeom>
            <a:avLst/>
            <a:gdLst>
              <a:gd name="T0" fmla="*/ 1 w 2948"/>
              <a:gd name="T1" fmla="*/ 2366 h 2600"/>
              <a:gd name="T2" fmla="*/ 758 w 2948"/>
              <a:gd name="T3" fmla="*/ 2230 h 2600"/>
              <a:gd name="T4" fmla="*/ 774 w 2948"/>
              <a:gd name="T5" fmla="*/ 1442 h 2600"/>
              <a:gd name="T6" fmla="*/ 348 w 2948"/>
              <a:gd name="T7" fmla="*/ 1356 h 2600"/>
              <a:gd name="T8" fmla="*/ 4 w 2948"/>
              <a:gd name="T9" fmla="*/ 1164 h 2600"/>
              <a:gd name="T10" fmla="*/ 981 w 2948"/>
              <a:gd name="T11" fmla="*/ 1040 h 2600"/>
              <a:gd name="T12" fmla="*/ 1961 w 2948"/>
              <a:gd name="T13" fmla="*/ 1158 h 2600"/>
              <a:gd name="T14" fmla="*/ 1644 w 2948"/>
              <a:gd name="T15" fmla="*/ 1332 h 2600"/>
              <a:gd name="T16" fmla="*/ 1094 w 2948"/>
              <a:gd name="T17" fmla="*/ 1431 h 2600"/>
              <a:gd name="T18" fmla="*/ 1104 w 2948"/>
              <a:gd name="T19" fmla="*/ 2227 h 2600"/>
              <a:gd name="T20" fmla="*/ 1958 w 2948"/>
              <a:gd name="T21" fmla="*/ 2374 h 2600"/>
              <a:gd name="T22" fmla="*/ 1961 w 2948"/>
              <a:gd name="T23" fmla="*/ 2600 h 2600"/>
              <a:gd name="T24" fmla="*/ 1 w 2948"/>
              <a:gd name="T25" fmla="*/ 2600 h 2600"/>
              <a:gd name="T26" fmla="*/ 2028 w 2948"/>
              <a:gd name="T27" fmla="*/ 2416 h 2600"/>
              <a:gd name="T28" fmla="*/ 2484 w 2948"/>
              <a:gd name="T29" fmla="*/ 1439 h 2600"/>
              <a:gd name="T30" fmla="*/ 2488 w 2948"/>
              <a:gd name="T31" fmla="*/ 1554 h 2600"/>
              <a:gd name="T32" fmla="*/ 2028 w 2948"/>
              <a:gd name="T33" fmla="*/ 2416 h 2600"/>
              <a:gd name="T34" fmla="*/ 434 w 2948"/>
              <a:gd name="T35" fmla="*/ 2022 h 2600"/>
              <a:gd name="T36" fmla="*/ 731 w 2948"/>
              <a:gd name="T37" fmla="*/ 1970 h 2600"/>
              <a:gd name="T38" fmla="*/ 123 w 2948"/>
              <a:gd name="T39" fmla="*/ 2294 h 2600"/>
              <a:gd name="T40" fmla="*/ 1531 w 2948"/>
              <a:gd name="T41" fmla="*/ 2236 h 2600"/>
              <a:gd name="T42" fmla="*/ 1522 w 2948"/>
              <a:gd name="T43" fmla="*/ 1747 h 2600"/>
              <a:gd name="T44" fmla="*/ 1939 w 2948"/>
              <a:gd name="T45" fmla="*/ 1316 h 2600"/>
              <a:gd name="T46" fmla="*/ 2354 w 2948"/>
              <a:gd name="T47" fmla="*/ 885 h 2600"/>
              <a:gd name="T48" fmla="*/ 2832 w 2948"/>
              <a:gd name="T49" fmla="*/ 494 h 2600"/>
              <a:gd name="T50" fmla="*/ 2417 w 2948"/>
              <a:gd name="T51" fmla="*/ 1424 h 2600"/>
              <a:gd name="T52" fmla="*/ 1531 w 2948"/>
              <a:gd name="T53" fmla="*/ 2236 h 2600"/>
              <a:gd name="T54" fmla="*/ 1148 w 2948"/>
              <a:gd name="T55" fmla="*/ 1446 h 2600"/>
              <a:gd name="T56" fmla="*/ 1811 w 2948"/>
              <a:gd name="T57" fmla="*/ 1353 h 2600"/>
              <a:gd name="T58" fmla="*/ 1148 w 2948"/>
              <a:gd name="T59" fmla="*/ 2127 h 2600"/>
              <a:gd name="T60" fmla="*/ 1988 w 2948"/>
              <a:gd name="T61" fmla="*/ 1137 h 2600"/>
              <a:gd name="T62" fmla="*/ 2457 w 2948"/>
              <a:gd name="T63" fmla="*/ 520 h 2600"/>
              <a:gd name="T64" fmla="*/ 2948 w 2948"/>
              <a:gd name="T65" fmla="*/ 64 h 2600"/>
              <a:gd name="T66" fmla="*/ 2026 w 2948"/>
              <a:gd name="T67" fmla="*/ 1211 h 2600"/>
              <a:gd name="T68" fmla="*/ 1988 w 2948"/>
              <a:gd name="T69" fmla="*/ 1137 h 2600"/>
              <a:gd name="T70" fmla="*/ 1191 w 2948"/>
              <a:gd name="T71" fmla="*/ 502 h 2600"/>
              <a:gd name="T72" fmla="*/ 2591 w 2948"/>
              <a:gd name="T73" fmla="*/ 4 h 2600"/>
              <a:gd name="T74" fmla="*/ 2430 w 2948"/>
              <a:gd name="T75" fmla="*/ 510 h 2600"/>
              <a:gd name="T76" fmla="*/ 1021 w 2948"/>
              <a:gd name="T77" fmla="*/ 1017 h 2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948" h="2600">
                <a:moveTo>
                  <a:pt x="1" y="2483"/>
                </a:moveTo>
                <a:lnTo>
                  <a:pt x="1" y="2366"/>
                </a:lnTo>
                <a:lnTo>
                  <a:pt x="371" y="2301"/>
                </a:lnTo>
                <a:cubicBezTo>
                  <a:pt x="575" y="2266"/>
                  <a:pt x="749" y="2234"/>
                  <a:pt x="758" y="2230"/>
                </a:cubicBezTo>
                <a:cubicBezTo>
                  <a:pt x="770" y="2226"/>
                  <a:pt x="774" y="2134"/>
                  <a:pt x="774" y="1833"/>
                </a:cubicBezTo>
                <a:lnTo>
                  <a:pt x="774" y="1442"/>
                </a:lnTo>
                <a:lnTo>
                  <a:pt x="731" y="1433"/>
                </a:lnTo>
                <a:cubicBezTo>
                  <a:pt x="707" y="1429"/>
                  <a:pt x="535" y="1394"/>
                  <a:pt x="348" y="1356"/>
                </a:cubicBezTo>
                <a:lnTo>
                  <a:pt x="8" y="1287"/>
                </a:lnTo>
                <a:lnTo>
                  <a:pt x="4" y="1164"/>
                </a:lnTo>
                <a:lnTo>
                  <a:pt x="0" y="1040"/>
                </a:lnTo>
                <a:lnTo>
                  <a:pt x="981" y="1040"/>
                </a:lnTo>
                <a:lnTo>
                  <a:pt x="1961" y="1040"/>
                </a:lnTo>
                <a:lnTo>
                  <a:pt x="1961" y="1158"/>
                </a:lnTo>
                <a:lnTo>
                  <a:pt x="1961" y="1276"/>
                </a:lnTo>
                <a:lnTo>
                  <a:pt x="1644" y="1332"/>
                </a:lnTo>
                <a:cubicBezTo>
                  <a:pt x="1470" y="1363"/>
                  <a:pt x="1275" y="1398"/>
                  <a:pt x="1211" y="1409"/>
                </a:cubicBezTo>
                <a:lnTo>
                  <a:pt x="1094" y="1431"/>
                </a:lnTo>
                <a:lnTo>
                  <a:pt x="1094" y="1829"/>
                </a:lnTo>
                <a:cubicBezTo>
                  <a:pt x="1094" y="2048"/>
                  <a:pt x="1099" y="2227"/>
                  <a:pt x="1104" y="2227"/>
                </a:cubicBezTo>
                <a:cubicBezTo>
                  <a:pt x="1110" y="2227"/>
                  <a:pt x="1303" y="2260"/>
                  <a:pt x="1534" y="2301"/>
                </a:cubicBezTo>
                <a:cubicBezTo>
                  <a:pt x="1765" y="2341"/>
                  <a:pt x="1956" y="2374"/>
                  <a:pt x="1958" y="2374"/>
                </a:cubicBezTo>
                <a:cubicBezTo>
                  <a:pt x="1959" y="2374"/>
                  <a:pt x="1961" y="2425"/>
                  <a:pt x="1961" y="2487"/>
                </a:cubicBezTo>
                <a:lnTo>
                  <a:pt x="1961" y="2600"/>
                </a:lnTo>
                <a:lnTo>
                  <a:pt x="981" y="2600"/>
                </a:lnTo>
                <a:lnTo>
                  <a:pt x="1" y="2600"/>
                </a:lnTo>
                <a:lnTo>
                  <a:pt x="1" y="2483"/>
                </a:lnTo>
                <a:close/>
                <a:moveTo>
                  <a:pt x="2028" y="2416"/>
                </a:moveTo>
                <a:lnTo>
                  <a:pt x="2028" y="2319"/>
                </a:lnTo>
                <a:lnTo>
                  <a:pt x="2484" y="1439"/>
                </a:lnTo>
                <a:cubicBezTo>
                  <a:pt x="2735" y="954"/>
                  <a:pt x="2943" y="566"/>
                  <a:pt x="2945" y="577"/>
                </a:cubicBezTo>
                <a:cubicBezTo>
                  <a:pt x="2947" y="587"/>
                  <a:pt x="2741" y="1027"/>
                  <a:pt x="2488" y="1554"/>
                </a:cubicBezTo>
                <a:lnTo>
                  <a:pt x="2028" y="2514"/>
                </a:lnTo>
                <a:lnTo>
                  <a:pt x="2028" y="2416"/>
                </a:lnTo>
                <a:close/>
                <a:moveTo>
                  <a:pt x="128" y="2282"/>
                </a:moveTo>
                <a:cubicBezTo>
                  <a:pt x="135" y="2275"/>
                  <a:pt x="273" y="2158"/>
                  <a:pt x="434" y="2022"/>
                </a:cubicBezTo>
                <a:lnTo>
                  <a:pt x="728" y="1775"/>
                </a:lnTo>
                <a:lnTo>
                  <a:pt x="731" y="1970"/>
                </a:lnTo>
                <a:cubicBezTo>
                  <a:pt x="733" y="2077"/>
                  <a:pt x="733" y="2166"/>
                  <a:pt x="731" y="2168"/>
                </a:cubicBezTo>
                <a:cubicBezTo>
                  <a:pt x="727" y="2172"/>
                  <a:pt x="138" y="2294"/>
                  <a:pt x="123" y="2294"/>
                </a:cubicBezTo>
                <a:cubicBezTo>
                  <a:pt x="119" y="2294"/>
                  <a:pt x="121" y="2288"/>
                  <a:pt x="128" y="2282"/>
                </a:cubicBezTo>
                <a:close/>
                <a:moveTo>
                  <a:pt x="1531" y="2236"/>
                </a:moveTo>
                <a:cubicBezTo>
                  <a:pt x="1335" y="2206"/>
                  <a:pt x="1174" y="2178"/>
                  <a:pt x="1174" y="2173"/>
                </a:cubicBezTo>
                <a:cubicBezTo>
                  <a:pt x="1174" y="2169"/>
                  <a:pt x="1331" y="1977"/>
                  <a:pt x="1522" y="1747"/>
                </a:cubicBezTo>
                <a:lnTo>
                  <a:pt x="1870" y="1327"/>
                </a:lnTo>
                <a:lnTo>
                  <a:pt x="1939" y="1316"/>
                </a:lnTo>
                <a:lnTo>
                  <a:pt x="2008" y="1304"/>
                </a:lnTo>
                <a:lnTo>
                  <a:pt x="2354" y="885"/>
                </a:lnTo>
                <a:cubicBezTo>
                  <a:pt x="2634" y="547"/>
                  <a:pt x="2706" y="467"/>
                  <a:pt x="2728" y="472"/>
                </a:cubicBezTo>
                <a:cubicBezTo>
                  <a:pt x="2742" y="476"/>
                  <a:pt x="2789" y="485"/>
                  <a:pt x="2832" y="494"/>
                </a:cubicBezTo>
                <a:cubicBezTo>
                  <a:pt x="2896" y="507"/>
                  <a:pt x="2908" y="513"/>
                  <a:pt x="2901" y="532"/>
                </a:cubicBezTo>
                <a:cubicBezTo>
                  <a:pt x="2897" y="544"/>
                  <a:pt x="2679" y="945"/>
                  <a:pt x="2417" y="1424"/>
                </a:cubicBezTo>
                <a:cubicBezTo>
                  <a:pt x="2022" y="2147"/>
                  <a:pt x="1937" y="2294"/>
                  <a:pt x="1915" y="2292"/>
                </a:cubicBezTo>
                <a:cubicBezTo>
                  <a:pt x="1900" y="2291"/>
                  <a:pt x="1727" y="2266"/>
                  <a:pt x="1531" y="2236"/>
                </a:cubicBezTo>
                <a:close/>
                <a:moveTo>
                  <a:pt x="1148" y="1787"/>
                </a:moveTo>
                <a:lnTo>
                  <a:pt x="1148" y="1446"/>
                </a:lnTo>
                <a:lnTo>
                  <a:pt x="1477" y="1398"/>
                </a:lnTo>
                <a:cubicBezTo>
                  <a:pt x="1659" y="1371"/>
                  <a:pt x="1809" y="1351"/>
                  <a:pt x="1811" y="1353"/>
                </a:cubicBezTo>
                <a:cubicBezTo>
                  <a:pt x="1816" y="1357"/>
                  <a:pt x="1246" y="2025"/>
                  <a:pt x="1180" y="2094"/>
                </a:cubicBezTo>
                <a:lnTo>
                  <a:pt x="1148" y="2127"/>
                </a:lnTo>
                <a:lnTo>
                  <a:pt x="1148" y="1787"/>
                </a:lnTo>
                <a:close/>
                <a:moveTo>
                  <a:pt x="1988" y="1137"/>
                </a:moveTo>
                <a:lnTo>
                  <a:pt x="1988" y="1019"/>
                </a:lnTo>
                <a:lnTo>
                  <a:pt x="2457" y="520"/>
                </a:lnTo>
                <a:cubicBezTo>
                  <a:pt x="2715" y="245"/>
                  <a:pt x="2931" y="18"/>
                  <a:pt x="2937" y="16"/>
                </a:cubicBezTo>
                <a:cubicBezTo>
                  <a:pt x="2943" y="14"/>
                  <a:pt x="2948" y="35"/>
                  <a:pt x="2948" y="64"/>
                </a:cubicBezTo>
                <a:cubicBezTo>
                  <a:pt x="2948" y="114"/>
                  <a:pt x="2923" y="146"/>
                  <a:pt x="2506" y="642"/>
                </a:cubicBezTo>
                <a:cubicBezTo>
                  <a:pt x="2263" y="931"/>
                  <a:pt x="2047" y="1187"/>
                  <a:pt x="2026" y="1211"/>
                </a:cubicBezTo>
                <a:lnTo>
                  <a:pt x="1988" y="1255"/>
                </a:lnTo>
                <a:lnTo>
                  <a:pt x="1988" y="1137"/>
                </a:lnTo>
                <a:close/>
                <a:moveTo>
                  <a:pt x="105" y="1012"/>
                </a:moveTo>
                <a:cubicBezTo>
                  <a:pt x="110" y="1007"/>
                  <a:pt x="599" y="778"/>
                  <a:pt x="1191" y="502"/>
                </a:cubicBezTo>
                <a:lnTo>
                  <a:pt x="2268" y="0"/>
                </a:lnTo>
                <a:lnTo>
                  <a:pt x="2591" y="4"/>
                </a:lnTo>
                <a:lnTo>
                  <a:pt x="2914" y="7"/>
                </a:lnTo>
                <a:lnTo>
                  <a:pt x="2430" y="510"/>
                </a:lnTo>
                <a:lnTo>
                  <a:pt x="1946" y="1013"/>
                </a:lnTo>
                <a:lnTo>
                  <a:pt x="1021" y="1017"/>
                </a:lnTo>
                <a:cubicBezTo>
                  <a:pt x="512" y="1019"/>
                  <a:pt x="100" y="1017"/>
                  <a:pt x="105" y="1012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EC7815FD-A2A5-4628-BAF1-7DB68A4C9959}"/>
              </a:ext>
            </a:extLst>
          </p:cNvPr>
          <p:cNvSpPr/>
          <p:nvPr/>
        </p:nvSpPr>
        <p:spPr>
          <a:xfrm>
            <a:off x="3241675" y="5178888"/>
            <a:ext cx="2808000" cy="11950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78" name="Freeform 132">
            <a:extLst>
              <a:ext uri="{FF2B5EF4-FFF2-40B4-BE49-F238E27FC236}">
                <a16:creationId xmlns:a16="http://schemas.microsoft.com/office/drawing/2014/main" id="{E15F67E2-A47D-456C-947C-E8A352F1AEA5}"/>
              </a:ext>
            </a:extLst>
          </p:cNvPr>
          <p:cNvSpPr>
            <a:spLocks noEditPoints="1"/>
          </p:cNvSpPr>
          <p:nvPr/>
        </p:nvSpPr>
        <p:spPr bwMode="auto">
          <a:xfrm>
            <a:off x="4542834" y="5071417"/>
            <a:ext cx="285418" cy="302758"/>
          </a:xfrm>
          <a:custGeom>
            <a:avLst/>
            <a:gdLst>
              <a:gd name="T0" fmla="*/ 1586 w 3280"/>
              <a:gd name="T1" fmla="*/ 3540 h 3766"/>
              <a:gd name="T2" fmla="*/ 1540 w 3280"/>
              <a:gd name="T3" fmla="*/ 3315 h 3766"/>
              <a:gd name="T4" fmla="*/ 1353 w 3280"/>
              <a:gd name="T5" fmla="*/ 3003 h 3766"/>
              <a:gd name="T6" fmla="*/ 930 w 3280"/>
              <a:gd name="T7" fmla="*/ 2759 h 3766"/>
              <a:gd name="T8" fmla="*/ 747 w 3280"/>
              <a:gd name="T9" fmla="*/ 2713 h 3766"/>
              <a:gd name="T10" fmla="*/ 226 w 3280"/>
              <a:gd name="T11" fmla="*/ 2760 h 3766"/>
              <a:gd name="T12" fmla="*/ 23 w 3280"/>
              <a:gd name="T13" fmla="*/ 2833 h 3766"/>
              <a:gd name="T14" fmla="*/ 173 w 3280"/>
              <a:gd name="T15" fmla="*/ 2668 h 3766"/>
              <a:gd name="T16" fmla="*/ 346 w 3280"/>
              <a:gd name="T17" fmla="*/ 2473 h 3766"/>
              <a:gd name="T18" fmla="*/ 523 w 3280"/>
              <a:gd name="T19" fmla="*/ 2208 h 3766"/>
              <a:gd name="T20" fmla="*/ 560 w 3280"/>
              <a:gd name="T21" fmla="*/ 1880 h 3766"/>
              <a:gd name="T22" fmla="*/ 523 w 3280"/>
              <a:gd name="T23" fmla="*/ 1552 h 3766"/>
              <a:gd name="T24" fmla="*/ 346 w 3280"/>
              <a:gd name="T25" fmla="*/ 1288 h 3766"/>
              <a:gd name="T26" fmla="*/ 173 w 3280"/>
              <a:gd name="T27" fmla="*/ 1092 h 3766"/>
              <a:gd name="T28" fmla="*/ 23 w 3280"/>
              <a:gd name="T29" fmla="*/ 927 h 3766"/>
              <a:gd name="T30" fmla="*/ 226 w 3280"/>
              <a:gd name="T31" fmla="*/ 1000 h 3766"/>
              <a:gd name="T32" fmla="*/ 620 w 3280"/>
              <a:gd name="T33" fmla="*/ 1020 h 3766"/>
              <a:gd name="T34" fmla="*/ 860 w 3280"/>
              <a:gd name="T35" fmla="*/ 1139 h 3766"/>
              <a:gd name="T36" fmla="*/ 1375 w 3280"/>
              <a:gd name="T37" fmla="*/ 812 h 3766"/>
              <a:gd name="T38" fmla="*/ 1538 w 3280"/>
              <a:gd name="T39" fmla="*/ 445 h 3766"/>
              <a:gd name="T40" fmla="*/ 1589 w 3280"/>
              <a:gd name="T41" fmla="*/ 214 h 3766"/>
              <a:gd name="T42" fmla="*/ 1640 w 3280"/>
              <a:gd name="T43" fmla="*/ 0 h 3766"/>
              <a:gd name="T44" fmla="*/ 1690 w 3280"/>
              <a:gd name="T45" fmla="*/ 215 h 3766"/>
              <a:gd name="T46" fmla="*/ 1747 w 3280"/>
              <a:gd name="T47" fmla="*/ 454 h 3766"/>
              <a:gd name="T48" fmla="*/ 1891 w 3280"/>
              <a:gd name="T49" fmla="*/ 818 h 3766"/>
              <a:gd name="T50" fmla="*/ 2434 w 3280"/>
              <a:gd name="T51" fmla="*/ 1115 h 3766"/>
              <a:gd name="T52" fmla="*/ 2833 w 3280"/>
              <a:gd name="T53" fmla="*/ 1086 h 3766"/>
              <a:gd name="T54" fmla="*/ 3231 w 3280"/>
              <a:gd name="T55" fmla="*/ 897 h 3766"/>
              <a:gd name="T56" fmla="*/ 3280 w 3280"/>
              <a:gd name="T57" fmla="*/ 974 h 3766"/>
              <a:gd name="T58" fmla="*/ 2923 w 3280"/>
              <a:gd name="T59" fmla="*/ 1198 h 3766"/>
              <a:gd name="T60" fmla="*/ 2756 w 3280"/>
              <a:gd name="T61" fmla="*/ 1546 h 3766"/>
              <a:gd name="T62" fmla="*/ 2706 w 3280"/>
              <a:gd name="T63" fmla="*/ 1880 h 3766"/>
              <a:gd name="T64" fmla="*/ 2756 w 3280"/>
              <a:gd name="T65" fmla="*/ 2214 h 3766"/>
              <a:gd name="T66" fmla="*/ 2922 w 3280"/>
              <a:gd name="T67" fmla="*/ 2562 h 3766"/>
              <a:gd name="T68" fmla="*/ 3277 w 3280"/>
              <a:gd name="T69" fmla="*/ 2783 h 3766"/>
              <a:gd name="T70" fmla="*/ 3231 w 3280"/>
              <a:gd name="T71" fmla="*/ 2863 h 3766"/>
              <a:gd name="T72" fmla="*/ 2833 w 3280"/>
              <a:gd name="T73" fmla="*/ 2674 h 3766"/>
              <a:gd name="T74" fmla="*/ 2519 w 3280"/>
              <a:gd name="T75" fmla="*/ 2712 h 3766"/>
              <a:gd name="T76" fmla="*/ 2318 w 3280"/>
              <a:gd name="T77" fmla="*/ 2771 h 3766"/>
              <a:gd name="T78" fmla="*/ 1913 w 3280"/>
              <a:gd name="T79" fmla="*/ 3004 h 3766"/>
              <a:gd name="T80" fmla="*/ 1735 w 3280"/>
              <a:gd name="T81" fmla="*/ 3312 h 3766"/>
              <a:gd name="T82" fmla="*/ 1690 w 3280"/>
              <a:gd name="T83" fmla="*/ 3545 h 3766"/>
              <a:gd name="T84" fmla="*/ 1646 w 3280"/>
              <a:gd name="T85" fmla="*/ 3764 h 3766"/>
              <a:gd name="T86" fmla="*/ 1421 w 3280"/>
              <a:gd name="T87" fmla="*/ 2881 h 3766"/>
              <a:gd name="T88" fmla="*/ 1633 w 3280"/>
              <a:gd name="T89" fmla="*/ 2787 h 3766"/>
              <a:gd name="T90" fmla="*/ 1853 w 3280"/>
              <a:gd name="T91" fmla="*/ 2887 h 3766"/>
              <a:gd name="T92" fmla="*/ 2283 w 3280"/>
              <a:gd name="T93" fmla="*/ 2669 h 3766"/>
              <a:gd name="T94" fmla="*/ 2377 w 3280"/>
              <a:gd name="T95" fmla="*/ 2497 h 3766"/>
              <a:gd name="T96" fmla="*/ 2593 w 3280"/>
              <a:gd name="T97" fmla="*/ 2184 h 3766"/>
              <a:gd name="T98" fmla="*/ 2562 w 3280"/>
              <a:gd name="T99" fmla="*/ 1553 h 3766"/>
              <a:gd name="T100" fmla="*/ 2373 w 3280"/>
              <a:gd name="T101" fmla="*/ 1293 h 3766"/>
              <a:gd name="T102" fmla="*/ 2100 w 3280"/>
              <a:gd name="T103" fmla="*/ 1083 h 3766"/>
              <a:gd name="T104" fmla="*/ 1759 w 3280"/>
              <a:gd name="T105" fmla="*/ 950 h 3766"/>
              <a:gd name="T106" fmla="*/ 1456 w 3280"/>
              <a:gd name="T107" fmla="*/ 927 h 3766"/>
              <a:gd name="T108" fmla="*/ 991 w 3280"/>
              <a:gd name="T109" fmla="*/ 1185 h 3766"/>
              <a:gd name="T110" fmla="*/ 890 w 3280"/>
              <a:gd name="T111" fmla="*/ 1313 h 3766"/>
              <a:gd name="T112" fmla="*/ 666 w 3280"/>
              <a:gd name="T113" fmla="*/ 1573 h 3766"/>
              <a:gd name="T114" fmla="*/ 666 w 3280"/>
              <a:gd name="T115" fmla="*/ 2187 h 3766"/>
              <a:gd name="T116" fmla="*/ 844 w 3280"/>
              <a:gd name="T117" fmla="*/ 2312 h 3766"/>
              <a:gd name="T118" fmla="*/ 876 w 3280"/>
              <a:gd name="T119" fmla="*/ 2574 h 3766"/>
              <a:gd name="T120" fmla="*/ 1397 w 3280"/>
              <a:gd name="T121" fmla="*/ 2899 h 3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280" h="3766">
                <a:moveTo>
                  <a:pt x="1596" y="3758"/>
                </a:moveTo>
                <a:cubicBezTo>
                  <a:pt x="1590" y="3753"/>
                  <a:pt x="1586" y="3655"/>
                  <a:pt x="1586" y="3540"/>
                </a:cubicBezTo>
                <a:lnTo>
                  <a:pt x="1586" y="3332"/>
                </a:lnTo>
                <a:lnTo>
                  <a:pt x="1540" y="3315"/>
                </a:lnTo>
                <a:cubicBezTo>
                  <a:pt x="1435" y="3277"/>
                  <a:pt x="1374" y="3195"/>
                  <a:pt x="1361" y="3075"/>
                </a:cubicBezTo>
                <a:lnTo>
                  <a:pt x="1353" y="3003"/>
                </a:lnTo>
                <a:lnTo>
                  <a:pt x="1206" y="2918"/>
                </a:lnTo>
                <a:cubicBezTo>
                  <a:pt x="1126" y="2871"/>
                  <a:pt x="1001" y="2800"/>
                  <a:pt x="930" y="2759"/>
                </a:cubicBezTo>
                <a:lnTo>
                  <a:pt x="800" y="2686"/>
                </a:lnTo>
                <a:lnTo>
                  <a:pt x="747" y="2713"/>
                </a:lnTo>
                <a:cubicBezTo>
                  <a:pt x="651" y="2762"/>
                  <a:pt x="530" y="2747"/>
                  <a:pt x="425" y="2672"/>
                </a:cubicBezTo>
                <a:cubicBezTo>
                  <a:pt x="409" y="2660"/>
                  <a:pt x="369" y="2677"/>
                  <a:pt x="226" y="2760"/>
                </a:cubicBezTo>
                <a:lnTo>
                  <a:pt x="48" y="2863"/>
                </a:lnTo>
                <a:lnTo>
                  <a:pt x="23" y="2833"/>
                </a:lnTo>
                <a:cubicBezTo>
                  <a:pt x="10" y="2816"/>
                  <a:pt x="0" y="2794"/>
                  <a:pt x="2" y="2783"/>
                </a:cubicBezTo>
                <a:cubicBezTo>
                  <a:pt x="4" y="2772"/>
                  <a:pt x="81" y="2720"/>
                  <a:pt x="173" y="2668"/>
                </a:cubicBezTo>
                <a:lnTo>
                  <a:pt x="340" y="2572"/>
                </a:lnTo>
                <a:lnTo>
                  <a:pt x="346" y="2473"/>
                </a:lnTo>
                <a:cubicBezTo>
                  <a:pt x="350" y="2416"/>
                  <a:pt x="363" y="2355"/>
                  <a:pt x="376" y="2331"/>
                </a:cubicBezTo>
                <a:cubicBezTo>
                  <a:pt x="402" y="2283"/>
                  <a:pt x="467" y="2229"/>
                  <a:pt x="523" y="2208"/>
                </a:cubicBezTo>
                <a:lnTo>
                  <a:pt x="560" y="2194"/>
                </a:lnTo>
                <a:lnTo>
                  <a:pt x="560" y="1880"/>
                </a:lnTo>
                <a:lnTo>
                  <a:pt x="560" y="1566"/>
                </a:lnTo>
                <a:lnTo>
                  <a:pt x="523" y="1552"/>
                </a:lnTo>
                <a:cubicBezTo>
                  <a:pt x="467" y="1531"/>
                  <a:pt x="402" y="1477"/>
                  <a:pt x="376" y="1429"/>
                </a:cubicBezTo>
                <a:cubicBezTo>
                  <a:pt x="363" y="1405"/>
                  <a:pt x="350" y="1344"/>
                  <a:pt x="346" y="1288"/>
                </a:cubicBezTo>
                <a:lnTo>
                  <a:pt x="340" y="1188"/>
                </a:lnTo>
                <a:lnTo>
                  <a:pt x="173" y="1092"/>
                </a:lnTo>
                <a:cubicBezTo>
                  <a:pt x="81" y="1039"/>
                  <a:pt x="4" y="987"/>
                  <a:pt x="2" y="976"/>
                </a:cubicBezTo>
                <a:cubicBezTo>
                  <a:pt x="0" y="966"/>
                  <a:pt x="10" y="944"/>
                  <a:pt x="23" y="927"/>
                </a:cubicBezTo>
                <a:lnTo>
                  <a:pt x="48" y="897"/>
                </a:lnTo>
                <a:lnTo>
                  <a:pt x="226" y="1000"/>
                </a:lnTo>
                <a:cubicBezTo>
                  <a:pt x="369" y="1083"/>
                  <a:pt x="409" y="1100"/>
                  <a:pt x="425" y="1088"/>
                </a:cubicBezTo>
                <a:cubicBezTo>
                  <a:pt x="493" y="1040"/>
                  <a:pt x="550" y="1020"/>
                  <a:pt x="620" y="1020"/>
                </a:cubicBezTo>
                <a:cubicBezTo>
                  <a:pt x="702" y="1020"/>
                  <a:pt x="758" y="1043"/>
                  <a:pt x="820" y="1101"/>
                </a:cubicBezTo>
                <a:lnTo>
                  <a:pt x="860" y="1139"/>
                </a:lnTo>
                <a:lnTo>
                  <a:pt x="1120" y="988"/>
                </a:lnTo>
                <a:cubicBezTo>
                  <a:pt x="1331" y="866"/>
                  <a:pt x="1379" y="833"/>
                  <a:pt x="1375" y="812"/>
                </a:cubicBezTo>
                <a:cubicBezTo>
                  <a:pt x="1372" y="798"/>
                  <a:pt x="1367" y="758"/>
                  <a:pt x="1363" y="722"/>
                </a:cubicBezTo>
                <a:cubicBezTo>
                  <a:pt x="1351" y="601"/>
                  <a:pt x="1423" y="487"/>
                  <a:pt x="1538" y="445"/>
                </a:cubicBezTo>
                <a:lnTo>
                  <a:pt x="1586" y="428"/>
                </a:lnTo>
                <a:lnTo>
                  <a:pt x="1589" y="214"/>
                </a:lnTo>
                <a:lnTo>
                  <a:pt x="1593" y="0"/>
                </a:lnTo>
                <a:lnTo>
                  <a:pt x="1640" y="0"/>
                </a:lnTo>
                <a:lnTo>
                  <a:pt x="1686" y="0"/>
                </a:lnTo>
                <a:lnTo>
                  <a:pt x="1690" y="215"/>
                </a:lnTo>
                <a:lnTo>
                  <a:pt x="1694" y="430"/>
                </a:lnTo>
                <a:lnTo>
                  <a:pt x="1747" y="454"/>
                </a:lnTo>
                <a:cubicBezTo>
                  <a:pt x="1813" y="483"/>
                  <a:pt x="1871" y="548"/>
                  <a:pt x="1893" y="614"/>
                </a:cubicBezTo>
                <a:cubicBezTo>
                  <a:pt x="1907" y="657"/>
                  <a:pt x="1906" y="766"/>
                  <a:pt x="1891" y="818"/>
                </a:cubicBezTo>
                <a:cubicBezTo>
                  <a:pt x="1888" y="829"/>
                  <a:pt x="1981" y="891"/>
                  <a:pt x="2150" y="990"/>
                </a:cubicBezTo>
                <a:cubicBezTo>
                  <a:pt x="2411" y="1142"/>
                  <a:pt x="2415" y="1143"/>
                  <a:pt x="2434" y="1115"/>
                </a:cubicBezTo>
                <a:cubicBezTo>
                  <a:pt x="2473" y="1061"/>
                  <a:pt x="2562" y="1020"/>
                  <a:pt x="2645" y="1020"/>
                </a:cubicBezTo>
                <a:cubicBezTo>
                  <a:pt x="2718" y="1020"/>
                  <a:pt x="2812" y="1053"/>
                  <a:pt x="2833" y="1086"/>
                </a:cubicBezTo>
                <a:cubicBezTo>
                  <a:pt x="2849" y="1112"/>
                  <a:pt x="2881" y="1099"/>
                  <a:pt x="3056" y="998"/>
                </a:cubicBezTo>
                <a:lnTo>
                  <a:pt x="3231" y="897"/>
                </a:lnTo>
                <a:lnTo>
                  <a:pt x="3255" y="926"/>
                </a:lnTo>
                <a:cubicBezTo>
                  <a:pt x="3269" y="943"/>
                  <a:pt x="3280" y="964"/>
                  <a:pt x="3280" y="974"/>
                </a:cubicBezTo>
                <a:cubicBezTo>
                  <a:pt x="3280" y="984"/>
                  <a:pt x="3199" y="1038"/>
                  <a:pt x="3101" y="1095"/>
                </a:cubicBezTo>
                <a:lnTo>
                  <a:pt x="2923" y="1198"/>
                </a:lnTo>
                <a:lnTo>
                  <a:pt x="2923" y="1279"/>
                </a:lnTo>
                <a:cubicBezTo>
                  <a:pt x="2924" y="1405"/>
                  <a:pt x="2865" y="1501"/>
                  <a:pt x="2756" y="1546"/>
                </a:cubicBezTo>
                <a:lnTo>
                  <a:pt x="2706" y="1567"/>
                </a:lnTo>
                <a:lnTo>
                  <a:pt x="2706" y="1880"/>
                </a:lnTo>
                <a:lnTo>
                  <a:pt x="2706" y="2193"/>
                </a:lnTo>
                <a:lnTo>
                  <a:pt x="2756" y="2214"/>
                </a:lnTo>
                <a:cubicBezTo>
                  <a:pt x="2865" y="2259"/>
                  <a:pt x="2924" y="2355"/>
                  <a:pt x="2923" y="2481"/>
                </a:cubicBezTo>
                <a:lnTo>
                  <a:pt x="2922" y="2562"/>
                </a:lnTo>
                <a:lnTo>
                  <a:pt x="3097" y="2663"/>
                </a:lnTo>
                <a:cubicBezTo>
                  <a:pt x="3194" y="2718"/>
                  <a:pt x="3275" y="2772"/>
                  <a:pt x="3277" y="2783"/>
                </a:cubicBezTo>
                <a:cubicBezTo>
                  <a:pt x="3279" y="2794"/>
                  <a:pt x="3270" y="2816"/>
                  <a:pt x="3256" y="2833"/>
                </a:cubicBezTo>
                <a:lnTo>
                  <a:pt x="3231" y="2863"/>
                </a:lnTo>
                <a:lnTo>
                  <a:pt x="3056" y="2762"/>
                </a:lnTo>
                <a:cubicBezTo>
                  <a:pt x="2881" y="2661"/>
                  <a:pt x="2849" y="2648"/>
                  <a:pt x="2833" y="2674"/>
                </a:cubicBezTo>
                <a:cubicBezTo>
                  <a:pt x="2828" y="2681"/>
                  <a:pt x="2801" y="2699"/>
                  <a:pt x="2772" y="2714"/>
                </a:cubicBezTo>
                <a:cubicBezTo>
                  <a:pt x="2701" y="2750"/>
                  <a:pt x="2586" y="2749"/>
                  <a:pt x="2519" y="2712"/>
                </a:cubicBezTo>
                <a:lnTo>
                  <a:pt x="2469" y="2683"/>
                </a:lnTo>
                <a:lnTo>
                  <a:pt x="2318" y="2771"/>
                </a:lnTo>
                <a:cubicBezTo>
                  <a:pt x="2234" y="2819"/>
                  <a:pt x="2109" y="2891"/>
                  <a:pt x="2040" y="2931"/>
                </a:cubicBezTo>
                <a:lnTo>
                  <a:pt x="1913" y="3004"/>
                </a:lnTo>
                <a:lnTo>
                  <a:pt x="1905" y="3075"/>
                </a:lnTo>
                <a:cubicBezTo>
                  <a:pt x="1892" y="3192"/>
                  <a:pt x="1836" y="3271"/>
                  <a:pt x="1735" y="3312"/>
                </a:cubicBezTo>
                <a:lnTo>
                  <a:pt x="1694" y="3330"/>
                </a:lnTo>
                <a:lnTo>
                  <a:pt x="1690" y="3545"/>
                </a:lnTo>
                <a:lnTo>
                  <a:pt x="1686" y="3760"/>
                </a:lnTo>
                <a:lnTo>
                  <a:pt x="1646" y="3764"/>
                </a:lnTo>
                <a:cubicBezTo>
                  <a:pt x="1623" y="3766"/>
                  <a:pt x="1601" y="3764"/>
                  <a:pt x="1596" y="3758"/>
                </a:cubicBezTo>
                <a:close/>
                <a:moveTo>
                  <a:pt x="1421" y="2881"/>
                </a:moveTo>
                <a:cubicBezTo>
                  <a:pt x="1425" y="2871"/>
                  <a:pt x="1453" y="2845"/>
                  <a:pt x="1484" y="2825"/>
                </a:cubicBezTo>
                <a:cubicBezTo>
                  <a:pt x="1532" y="2792"/>
                  <a:pt x="1553" y="2787"/>
                  <a:pt x="1633" y="2787"/>
                </a:cubicBezTo>
                <a:cubicBezTo>
                  <a:pt x="1717" y="2787"/>
                  <a:pt x="1733" y="2791"/>
                  <a:pt x="1790" y="2831"/>
                </a:cubicBezTo>
                <a:cubicBezTo>
                  <a:pt x="1824" y="2855"/>
                  <a:pt x="1853" y="2880"/>
                  <a:pt x="1853" y="2887"/>
                </a:cubicBezTo>
                <a:cubicBezTo>
                  <a:pt x="1853" y="2912"/>
                  <a:pt x="1883" y="2900"/>
                  <a:pt x="2024" y="2818"/>
                </a:cubicBezTo>
                <a:cubicBezTo>
                  <a:pt x="2102" y="2773"/>
                  <a:pt x="2219" y="2705"/>
                  <a:pt x="2283" y="2669"/>
                </a:cubicBezTo>
                <a:cubicBezTo>
                  <a:pt x="2370" y="2619"/>
                  <a:pt x="2398" y="2596"/>
                  <a:pt x="2392" y="2581"/>
                </a:cubicBezTo>
                <a:cubicBezTo>
                  <a:pt x="2388" y="2569"/>
                  <a:pt x="2381" y="2532"/>
                  <a:pt x="2377" y="2497"/>
                </a:cubicBezTo>
                <a:cubicBezTo>
                  <a:pt x="2363" y="2383"/>
                  <a:pt x="2426" y="2276"/>
                  <a:pt x="2546" y="2210"/>
                </a:cubicBezTo>
                <a:lnTo>
                  <a:pt x="2593" y="2184"/>
                </a:lnTo>
                <a:lnTo>
                  <a:pt x="2597" y="1899"/>
                </a:lnTo>
                <a:cubicBezTo>
                  <a:pt x="2601" y="1586"/>
                  <a:pt x="2597" y="1553"/>
                  <a:pt x="2562" y="1553"/>
                </a:cubicBezTo>
                <a:cubicBezTo>
                  <a:pt x="2524" y="1553"/>
                  <a:pt x="2425" y="1461"/>
                  <a:pt x="2398" y="1401"/>
                </a:cubicBezTo>
                <a:cubicBezTo>
                  <a:pt x="2385" y="1371"/>
                  <a:pt x="2373" y="1323"/>
                  <a:pt x="2373" y="1293"/>
                </a:cubicBezTo>
                <a:lnTo>
                  <a:pt x="2372" y="1240"/>
                </a:lnTo>
                <a:lnTo>
                  <a:pt x="2100" y="1083"/>
                </a:lnTo>
                <a:cubicBezTo>
                  <a:pt x="1950" y="997"/>
                  <a:pt x="1819" y="927"/>
                  <a:pt x="1810" y="927"/>
                </a:cubicBezTo>
                <a:cubicBezTo>
                  <a:pt x="1800" y="927"/>
                  <a:pt x="1777" y="937"/>
                  <a:pt x="1759" y="950"/>
                </a:cubicBezTo>
                <a:cubicBezTo>
                  <a:pt x="1713" y="983"/>
                  <a:pt x="1553" y="983"/>
                  <a:pt x="1507" y="950"/>
                </a:cubicBezTo>
                <a:cubicBezTo>
                  <a:pt x="1488" y="937"/>
                  <a:pt x="1466" y="927"/>
                  <a:pt x="1456" y="927"/>
                </a:cubicBezTo>
                <a:cubicBezTo>
                  <a:pt x="1447" y="927"/>
                  <a:pt x="1360" y="973"/>
                  <a:pt x="1263" y="1029"/>
                </a:cubicBezTo>
                <a:cubicBezTo>
                  <a:pt x="1166" y="1086"/>
                  <a:pt x="1043" y="1156"/>
                  <a:pt x="991" y="1185"/>
                </a:cubicBezTo>
                <a:lnTo>
                  <a:pt x="896" y="1238"/>
                </a:lnTo>
                <a:lnTo>
                  <a:pt x="890" y="1313"/>
                </a:lnTo>
                <a:cubicBezTo>
                  <a:pt x="883" y="1414"/>
                  <a:pt x="826" y="1497"/>
                  <a:pt x="734" y="1541"/>
                </a:cubicBezTo>
                <a:lnTo>
                  <a:pt x="666" y="1573"/>
                </a:lnTo>
                <a:lnTo>
                  <a:pt x="666" y="1880"/>
                </a:lnTo>
                <a:lnTo>
                  <a:pt x="666" y="2187"/>
                </a:lnTo>
                <a:lnTo>
                  <a:pt x="734" y="2219"/>
                </a:lnTo>
                <a:cubicBezTo>
                  <a:pt x="780" y="2241"/>
                  <a:pt x="815" y="2271"/>
                  <a:pt x="844" y="2312"/>
                </a:cubicBezTo>
                <a:cubicBezTo>
                  <a:pt x="881" y="2366"/>
                  <a:pt x="886" y="2384"/>
                  <a:pt x="886" y="2460"/>
                </a:cubicBezTo>
                <a:cubicBezTo>
                  <a:pt x="886" y="2508"/>
                  <a:pt x="882" y="2559"/>
                  <a:pt x="876" y="2574"/>
                </a:cubicBezTo>
                <a:cubicBezTo>
                  <a:pt x="867" y="2597"/>
                  <a:pt x="896" y="2618"/>
                  <a:pt x="1123" y="2750"/>
                </a:cubicBezTo>
                <a:cubicBezTo>
                  <a:pt x="1264" y="2832"/>
                  <a:pt x="1387" y="2899"/>
                  <a:pt x="1397" y="2899"/>
                </a:cubicBezTo>
                <a:cubicBezTo>
                  <a:pt x="1406" y="2900"/>
                  <a:pt x="1417" y="2891"/>
                  <a:pt x="1421" y="2881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80" name="Isosceles Triangle 179">
            <a:extLst>
              <a:ext uri="{FF2B5EF4-FFF2-40B4-BE49-F238E27FC236}">
                <a16:creationId xmlns:a16="http://schemas.microsoft.com/office/drawing/2014/main" id="{4D4A4666-AA76-4177-8EDA-3703ACEAD722}"/>
              </a:ext>
            </a:extLst>
          </p:cNvPr>
          <p:cNvSpPr/>
          <p:nvPr/>
        </p:nvSpPr>
        <p:spPr>
          <a:xfrm>
            <a:off x="5986530" y="5179413"/>
            <a:ext cx="136946" cy="119502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82" name="Isosceles Triangle 181">
            <a:extLst>
              <a:ext uri="{FF2B5EF4-FFF2-40B4-BE49-F238E27FC236}">
                <a16:creationId xmlns:a16="http://schemas.microsoft.com/office/drawing/2014/main" id="{4D4A4666-AA76-4177-8EDA-3703ACEAD722}"/>
              </a:ext>
            </a:extLst>
          </p:cNvPr>
          <p:cNvSpPr/>
          <p:nvPr/>
        </p:nvSpPr>
        <p:spPr>
          <a:xfrm>
            <a:off x="4626024" y="5178888"/>
            <a:ext cx="136946" cy="119502"/>
          </a:xfrm>
          <a:prstGeom prst="triangl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379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420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527" name="think-cell Slide" r:id="rId9" imgW="530" imgH="528" progId="TCLayout.ActiveDocument.1">
                  <p:embed/>
                </p:oleObj>
              </mc:Choice>
              <mc:Fallback>
                <p:oleObj name="think-cell Slide" r:id="rId9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Hydrogen has significant potential across all applications</a:t>
            </a:r>
            <a:endParaRPr lang="de-DE" dirty="0"/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339119" y="5881319"/>
            <a:ext cx="2311530" cy="33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altLang="en-US" sz="1200" b="1" dirty="0">
                <a:sym typeface="+mn-lt"/>
              </a:rPr>
              <a:t>Relative importance by 2050</a:t>
            </a:r>
            <a:br>
              <a:rPr lang="en-US" altLang="en-US" sz="1200" b="1" dirty="0">
                <a:sym typeface="+mn-lt"/>
              </a:rPr>
            </a:br>
            <a:r>
              <a:rPr lang="en-US" altLang="en-US" sz="1200" dirty="0">
                <a:solidFill>
                  <a:schemeClr val="accent6"/>
                </a:solidFill>
                <a:sym typeface="+mn-lt"/>
              </a:rPr>
              <a:t>Market share potential in segment</a:t>
            </a:r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54" name="4. Footnote"/>
          <p:cNvSpPr txBox="1">
            <a:spLocks noChangeArrowheads="1"/>
          </p:cNvSpPr>
          <p:nvPr/>
        </p:nvSpPr>
        <p:spPr bwMode="gray">
          <a:xfrm>
            <a:off x="158757" y="6306659"/>
            <a:ext cx="1063855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latin typeface="Arial" panose="020B0604020202020204" pitchFamily="34" charset="0"/>
              </a:rPr>
              <a:t>1 Percent of total annual growth in hydrogen and variable renewable power demand	2 F</a:t>
            </a:r>
            <a:r>
              <a:rPr lang="en-US" altLang="en-US" dirty="0">
                <a:latin typeface="Arial" panose="020B0604020202020204" pitchFamily="34" charset="0"/>
              </a:rPr>
              <a:t>or aviation and freight ships	</a:t>
            </a:r>
            <a:r>
              <a:rPr lang="en-US" dirty="0">
                <a:latin typeface="Arial" panose="020B0604020202020204" pitchFamily="34" charset="0"/>
              </a:rPr>
              <a:t>3 Percent of total methanol, olefin, BTX production using olefins and captured carbon</a:t>
            </a:r>
          </a:p>
        </p:txBody>
      </p:sp>
      <p:sp>
        <p:nvSpPr>
          <p:cNvPr id="164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Hydrogen Council</a:t>
            </a:r>
          </a:p>
        </p:txBody>
      </p:sp>
      <p:grpSp>
        <p:nvGrpSpPr>
          <p:cNvPr id="469" name="Group 468"/>
          <p:cNvGrpSpPr/>
          <p:nvPr/>
        </p:nvGrpSpPr>
        <p:grpSpPr>
          <a:xfrm>
            <a:off x="7196305" y="736193"/>
            <a:ext cx="4454345" cy="196908"/>
            <a:chOff x="7456430" y="816203"/>
            <a:chExt cx="4454345" cy="196908"/>
          </a:xfrm>
        </p:grpSpPr>
        <p:sp>
          <p:nvSpPr>
            <p:cNvPr id="77" name="TextBox 76"/>
            <p:cNvSpPr txBox="1"/>
            <p:nvPr/>
          </p:nvSpPr>
          <p:spPr>
            <a:xfrm>
              <a:off x="7800974" y="822324"/>
              <a:ext cx="4109801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en-US" sz="1200" dirty="0">
                  <a:solidFill>
                    <a:srgbClr val="000000"/>
                  </a:solidFill>
                </a:rPr>
                <a:t>Bubble size indicates hydrogen potential in 2050 in EJ (1 EJ)</a:t>
              </a:r>
              <a:endParaRPr lang="en-US" sz="1200" dirty="0"/>
            </a:p>
          </p:txBody>
        </p:sp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E14770A0-DDB3-40FC-A6C7-058EB1338C04}"/>
                </a:ext>
              </a:extLst>
            </p:cNvPr>
            <p:cNvSpPr/>
            <p:nvPr/>
          </p:nvSpPr>
          <p:spPr>
            <a:xfrm>
              <a:off x="7456430" y="816203"/>
              <a:ext cx="196908" cy="19690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99" name="Rectangle 598">
            <a:extLst>
              <a:ext uri="{FF2B5EF4-FFF2-40B4-BE49-F238E27FC236}">
                <a16:creationId xmlns:a16="http://schemas.microsoft.com/office/drawing/2014/main" id="{0273C206-149B-4BAD-AECF-4EA92E2BA26D}"/>
              </a:ext>
            </a:extLst>
          </p:cNvPr>
          <p:cNvSpPr/>
          <p:nvPr/>
        </p:nvSpPr>
        <p:spPr>
          <a:xfrm>
            <a:off x="2186209" y="996938"/>
            <a:ext cx="9464440" cy="4545519"/>
          </a:xfrm>
          <a:prstGeom prst="rect">
            <a:avLst/>
          </a:prstGeom>
          <a:solidFill>
            <a:srgbClr val="F3F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435888A6-3994-4F9F-A919-DD67D550BC7C}"/>
              </a:ext>
            </a:extLst>
          </p:cNvPr>
          <p:cNvSpPr/>
          <p:nvPr/>
        </p:nvSpPr>
        <p:spPr>
          <a:xfrm>
            <a:off x="8283857" y="1018680"/>
            <a:ext cx="119936" cy="450220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pic>
        <p:nvPicPr>
          <p:cNvPr id="147" name="Picture 146"/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8" t="6145" r="11638" b="17131"/>
          <a:stretch/>
        </p:blipFill>
        <p:spPr>
          <a:xfrm>
            <a:off x="158960" y="2069872"/>
            <a:ext cx="703994" cy="604080"/>
          </a:xfrm>
          <a:prstGeom prst="hexagon">
            <a:avLst>
              <a:gd name="adj" fmla="val 28490"/>
              <a:gd name="vf" fmla="val 115470"/>
            </a:avLst>
          </a:prstGeom>
          <a:ln w="12700">
            <a:solidFill>
              <a:schemeClr val="accent4"/>
            </a:solidFill>
          </a:ln>
        </p:spPr>
      </p:pic>
      <p:sp>
        <p:nvSpPr>
          <p:cNvPr id="232" name="TextBox 231"/>
          <p:cNvSpPr txBox="1">
            <a:spLocks/>
          </p:cNvSpPr>
          <p:nvPr/>
        </p:nvSpPr>
        <p:spPr>
          <a:xfrm>
            <a:off x="282627" y="2024428"/>
            <a:ext cx="264542" cy="219769"/>
          </a:xfrm>
          <a:prstGeom prst="hexagon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4</a:t>
            </a:r>
          </a:p>
        </p:txBody>
      </p:sp>
      <p:pic>
        <p:nvPicPr>
          <p:cNvPr id="135" name="Picture 134"/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" t="2503" r="8761" b="20093"/>
          <a:stretch/>
        </p:blipFill>
        <p:spPr>
          <a:xfrm>
            <a:off x="158960" y="1166728"/>
            <a:ext cx="703994" cy="604080"/>
          </a:xfrm>
          <a:prstGeom prst="hexagon">
            <a:avLst>
              <a:gd name="adj" fmla="val 29028"/>
              <a:gd name="vf" fmla="val 115470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</p:pic>
      <p:sp>
        <p:nvSpPr>
          <p:cNvPr id="233" name="TextBox 232"/>
          <p:cNvSpPr txBox="1">
            <a:spLocks/>
          </p:cNvSpPr>
          <p:nvPr/>
        </p:nvSpPr>
        <p:spPr>
          <a:xfrm>
            <a:off x="289206" y="1116853"/>
            <a:ext cx="264542" cy="219769"/>
          </a:xfrm>
          <a:prstGeom prst="hexagon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1</a:t>
            </a:r>
          </a:p>
        </p:txBody>
      </p:sp>
      <p:pic>
        <p:nvPicPr>
          <p:cNvPr id="194" name="Picture 193"/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t="4583" r="11710" b="18837"/>
          <a:stretch/>
        </p:blipFill>
        <p:spPr>
          <a:xfrm>
            <a:off x="158960" y="2981964"/>
            <a:ext cx="703994" cy="604080"/>
          </a:xfrm>
          <a:prstGeom prst="hexagon">
            <a:avLst>
              <a:gd name="adj" fmla="val 29027"/>
              <a:gd name="vf" fmla="val 115470"/>
            </a:avLst>
          </a:prstGeom>
          <a:ln w="12700">
            <a:solidFill>
              <a:schemeClr val="accent6"/>
            </a:solidFill>
          </a:ln>
        </p:spPr>
      </p:pic>
      <p:sp>
        <p:nvSpPr>
          <p:cNvPr id="234" name="TextBox 233"/>
          <p:cNvSpPr txBox="1">
            <a:spLocks/>
          </p:cNvSpPr>
          <p:nvPr/>
        </p:nvSpPr>
        <p:spPr>
          <a:xfrm>
            <a:off x="289206" y="2927572"/>
            <a:ext cx="264542" cy="219769"/>
          </a:xfrm>
          <a:prstGeom prst="hexagon">
            <a:avLst/>
          </a:prstGeom>
          <a:solidFill>
            <a:schemeClr val="accent6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5</a:t>
            </a:r>
          </a:p>
        </p:txBody>
      </p:sp>
      <p:pic>
        <p:nvPicPr>
          <p:cNvPr id="211" name="Picture 210"/>
          <p:cNvPicPr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t="11710" r="11710" b="11710"/>
          <a:stretch>
            <a:fillRect/>
          </a:stretch>
        </p:blipFill>
        <p:spPr>
          <a:xfrm>
            <a:off x="158960" y="3891728"/>
            <a:ext cx="703994" cy="604080"/>
          </a:xfrm>
          <a:prstGeom prst="hexagon">
            <a:avLst>
              <a:gd name="adj" fmla="val 29027"/>
              <a:gd name="vf" fmla="val 115470"/>
            </a:avLst>
          </a:prstGeom>
          <a:ln w="12700">
            <a:solidFill>
              <a:srgbClr val="EE9D44"/>
            </a:solidFill>
          </a:ln>
        </p:spPr>
      </p:pic>
      <p:sp>
        <p:nvSpPr>
          <p:cNvPr id="235" name="TextBox 234"/>
          <p:cNvSpPr txBox="1">
            <a:spLocks/>
          </p:cNvSpPr>
          <p:nvPr/>
        </p:nvSpPr>
        <p:spPr>
          <a:xfrm>
            <a:off x="289206" y="3839665"/>
            <a:ext cx="264542" cy="219769"/>
          </a:xfrm>
          <a:prstGeom prst="hexagon">
            <a:avLst/>
          </a:prstGeom>
          <a:solidFill>
            <a:srgbClr val="EE9D44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6</a:t>
            </a:r>
          </a:p>
        </p:txBody>
      </p:sp>
      <p:pic>
        <p:nvPicPr>
          <p:cNvPr id="169" name="Picture 168"/>
          <p:cNvPicPr>
            <a:picLocks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t="6227" r="11710" b="17192"/>
          <a:stretch/>
        </p:blipFill>
        <p:spPr>
          <a:xfrm>
            <a:off x="158960" y="4815454"/>
            <a:ext cx="703994" cy="604080"/>
          </a:xfrm>
          <a:prstGeom prst="hexagon">
            <a:avLst>
              <a:gd name="adj" fmla="val 28490"/>
              <a:gd name="vf" fmla="val 115470"/>
            </a:avLst>
          </a:prstGeom>
          <a:ln w="12700">
            <a:solidFill>
              <a:schemeClr val="accent3"/>
            </a:solidFill>
          </a:ln>
        </p:spPr>
      </p:pic>
      <p:sp>
        <p:nvSpPr>
          <p:cNvPr id="236" name="TextBox 235"/>
          <p:cNvSpPr txBox="1">
            <a:spLocks/>
          </p:cNvSpPr>
          <p:nvPr/>
        </p:nvSpPr>
        <p:spPr>
          <a:xfrm>
            <a:off x="289206" y="4749428"/>
            <a:ext cx="264542" cy="219769"/>
          </a:xfrm>
          <a:prstGeom prst="hexagon">
            <a:avLst/>
          </a:prstGeom>
          <a:solidFill>
            <a:schemeClr val="accent3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7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57162" y="1897618"/>
            <a:ext cx="11493486" cy="2724999"/>
            <a:chOff x="157164" y="1976221"/>
            <a:chExt cx="11402810" cy="2418612"/>
          </a:xfrm>
        </p:grpSpPr>
        <p:cxnSp>
          <p:nvCxnSpPr>
            <p:cNvPr id="320" name="Straight Connector 319"/>
            <p:cNvCxnSpPr>
              <a:cxnSpLocks/>
            </p:cNvCxnSpPr>
            <p:nvPr/>
          </p:nvCxnSpPr>
          <p:spPr>
            <a:xfrm>
              <a:off x="157164" y="4394833"/>
              <a:ext cx="11402810" cy="0"/>
            </a:xfrm>
            <a:prstGeom prst="line">
              <a:avLst/>
            </a:prstGeom>
            <a:ln w="6350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9" name="Straight Connector 318"/>
            <p:cNvCxnSpPr>
              <a:cxnSpLocks/>
            </p:cNvCxnSpPr>
            <p:nvPr/>
          </p:nvCxnSpPr>
          <p:spPr>
            <a:xfrm>
              <a:off x="157164" y="2832249"/>
              <a:ext cx="11402810" cy="0"/>
            </a:xfrm>
            <a:prstGeom prst="line">
              <a:avLst/>
            </a:prstGeom>
            <a:ln w="6350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Straight Connector 317"/>
            <p:cNvCxnSpPr>
              <a:cxnSpLocks/>
            </p:cNvCxnSpPr>
            <p:nvPr/>
          </p:nvCxnSpPr>
          <p:spPr>
            <a:xfrm>
              <a:off x="157164" y="3587360"/>
              <a:ext cx="11402810" cy="0"/>
            </a:xfrm>
            <a:prstGeom prst="line">
              <a:avLst/>
            </a:prstGeom>
            <a:ln w="6350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>
              <a:cxnSpLocks/>
            </p:cNvCxnSpPr>
            <p:nvPr/>
          </p:nvCxnSpPr>
          <p:spPr>
            <a:xfrm>
              <a:off x="157164" y="1976221"/>
              <a:ext cx="11402810" cy="0"/>
            </a:xfrm>
            <a:prstGeom prst="line">
              <a:avLst/>
            </a:prstGeom>
            <a:ln w="6350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219A529C-077F-434B-8341-F5A16F8020EF}"/>
              </a:ext>
            </a:extLst>
          </p:cNvPr>
          <p:cNvCxnSpPr>
            <a:cxnSpLocks/>
          </p:cNvCxnSpPr>
          <p:nvPr/>
        </p:nvCxnSpPr>
        <p:spPr>
          <a:xfrm>
            <a:off x="2192789" y="5545537"/>
            <a:ext cx="6005399" cy="0"/>
          </a:xfrm>
          <a:prstGeom prst="line">
            <a:avLst/>
          </a:prstGeom>
          <a:ln w="63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157162" y="990044"/>
            <a:ext cx="11493486" cy="4555493"/>
            <a:chOff x="157164" y="1170690"/>
            <a:chExt cx="11402810" cy="4043293"/>
          </a:xfrm>
        </p:grpSpPr>
        <p:cxnSp>
          <p:nvCxnSpPr>
            <p:cNvPr id="304" name="Straight Connector 303">
              <a:extLst>
                <a:ext uri="{FF2B5EF4-FFF2-40B4-BE49-F238E27FC236}">
                  <a16:creationId xmlns:a16="http://schemas.microsoft.com/office/drawing/2014/main" id="{292F4BDC-346F-4C2B-8F22-BFBA601CA47F}"/>
                </a:ext>
              </a:extLst>
            </p:cNvPr>
            <p:cNvCxnSpPr>
              <a:cxnSpLocks/>
            </p:cNvCxnSpPr>
            <p:nvPr/>
          </p:nvCxnSpPr>
          <p:spPr>
            <a:xfrm>
              <a:off x="157164" y="1170690"/>
              <a:ext cx="11402810" cy="0"/>
            </a:xfrm>
            <a:prstGeom prst="line">
              <a:avLst/>
            </a:prstGeom>
            <a:ln w="6350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CB097875-DC94-4460-BCA6-FD3437614BE0}"/>
                </a:ext>
              </a:extLst>
            </p:cNvPr>
            <p:cNvCxnSpPr>
              <a:cxnSpLocks/>
            </p:cNvCxnSpPr>
            <p:nvPr/>
          </p:nvCxnSpPr>
          <p:spPr>
            <a:xfrm>
              <a:off x="7506995" y="5213983"/>
              <a:ext cx="4052979" cy="0"/>
            </a:xfrm>
            <a:prstGeom prst="line">
              <a:avLst/>
            </a:prstGeom>
            <a:ln w="635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5705860-6B8A-4343-89E2-37248C451E19}"/>
              </a:ext>
            </a:extLst>
          </p:cNvPr>
          <p:cNvCxnSpPr/>
          <p:nvPr/>
        </p:nvCxnSpPr>
        <p:spPr>
          <a:xfrm flipH="1">
            <a:off x="8163920" y="5461295"/>
            <a:ext cx="239873" cy="17590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EBB1402C-5B26-4E0C-A0A3-FA4566C2AE52}"/>
              </a:ext>
            </a:extLst>
          </p:cNvPr>
          <p:cNvCxnSpPr/>
          <p:nvPr/>
        </p:nvCxnSpPr>
        <p:spPr>
          <a:xfrm flipH="1">
            <a:off x="8283857" y="5461295"/>
            <a:ext cx="239873" cy="17590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55F9A42-98E3-4C9E-959E-91E5DD7944C7}"/>
              </a:ext>
            </a:extLst>
          </p:cNvPr>
          <p:cNvCxnSpPr/>
          <p:nvPr/>
        </p:nvCxnSpPr>
        <p:spPr>
          <a:xfrm flipV="1">
            <a:off x="2192789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5859B3B7-34D7-44EC-985D-BBECC0F49431}"/>
              </a:ext>
            </a:extLst>
          </p:cNvPr>
          <p:cNvCxnSpPr/>
          <p:nvPr/>
        </p:nvCxnSpPr>
        <p:spPr>
          <a:xfrm flipV="1">
            <a:off x="2906241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A13140F6-88AF-4E7B-AFBC-A724FCFDC7A9}"/>
              </a:ext>
            </a:extLst>
          </p:cNvPr>
          <p:cNvCxnSpPr/>
          <p:nvPr/>
        </p:nvCxnSpPr>
        <p:spPr>
          <a:xfrm flipV="1">
            <a:off x="3619691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D8A4DEE7-327D-4735-87E3-E931CFB41DA6}"/>
              </a:ext>
            </a:extLst>
          </p:cNvPr>
          <p:cNvCxnSpPr/>
          <p:nvPr/>
        </p:nvCxnSpPr>
        <p:spPr>
          <a:xfrm flipV="1">
            <a:off x="4333145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242C4FB0-59B5-4A32-AE71-9AF2CAA0DD10}"/>
              </a:ext>
            </a:extLst>
          </p:cNvPr>
          <p:cNvCxnSpPr/>
          <p:nvPr/>
        </p:nvCxnSpPr>
        <p:spPr>
          <a:xfrm flipV="1">
            <a:off x="5046596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176D5AA5-F380-4C7A-BF4A-6384E5CF58F6}"/>
              </a:ext>
            </a:extLst>
          </p:cNvPr>
          <p:cNvCxnSpPr/>
          <p:nvPr/>
        </p:nvCxnSpPr>
        <p:spPr>
          <a:xfrm flipV="1">
            <a:off x="5760047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4B81E2FD-3EFA-408B-9D33-1188F54CD568}"/>
              </a:ext>
            </a:extLst>
          </p:cNvPr>
          <p:cNvCxnSpPr/>
          <p:nvPr/>
        </p:nvCxnSpPr>
        <p:spPr>
          <a:xfrm flipV="1">
            <a:off x="6473499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F023398F-E3B2-4B74-BC1D-25DECB5CA929}"/>
              </a:ext>
            </a:extLst>
          </p:cNvPr>
          <p:cNvCxnSpPr/>
          <p:nvPr/>
        </p:nvCxnSpPr>
        <p:spPr>
          <a:xfrm flipV="1">
            <a:off x="7186951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ABD4EC8E-07B8-4EF3-8942-B8C5A85C66D8}"/>
              </a:ext>
            </a:extLst>
          </p:cNvPr>
          <p:cNvCxnSpPr/>
          <p:nvPr/>
        </p:nvCxnSpPr>
        <p:spPr>
          <a:xfrm flipV="1">
            <a:off x="7900402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Connector 349">
            <a:extLst>
              <a:ext uri="{FF2B5EF4-FFF2-40B4-BE49-F238E27FC236}">
                <a16:creationId xmlns:a16="http://schemas.microsoft.com/office/drawing/2014/main" id="{624019CB-1BF7-425D-9125-F6AF96B5F3AF}"/>
              </a:ext>
            </a:extLst>
          </p:cNvPr>
          <p:cNvCxnSpPr/>
          <p:nvPr/>
        </p:nvCxnSpPr>
        <p:spPr>
          <a:xfrm flipV="1">
            <a:off x="8796843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>
            <a:extLst>
              <a:ext uri="{FF2B5EF4-FFF2-40B4-BE49-F238E27FC236}">
                <a16:creationId xmlns:a16="http://schemas.microsoft.com/office/drawing/2014/main" id="{80CD9396-49DF-4D9B-8F4C-F7F83A66D490}"/>
              </a:ext>
            </a:extLst>
          </p:cNvPr>
          <p:cNvCxnSpPr/>
          <p:nvPr/>
        </p:nvCxnSpPr>
        <p:spPr>
          <a:xfrm flipV="1">
            <a:off x="9510295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Straight Connector 357">
            <a:extLst>
              <a:ext uri="{FF2B5EF4-FFF2-40B4-BE49-F238E27FC236}">
                <a16:creationId xmlns:a16="http://schemas.microsoft.com/office/drawing/2014/main" id="{2BBCEC71-DCD8-464D-89F1-CDDF4873989A}"/>
              </a:ext>
            </a:extLst>
          </p:cNvPr>
          <p:cNvCxnSpPr/>
          <p:nvPr/>
        </p:nvCxnSpPr>
        <p:spPr>
          <a:xfrm flipV="1">
            <a:off x="10223746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A817A304-03A1-457D-A70F-0CA896DA7D8A}"/>
              </a:ext>
            </a:extLst>
          </p:cNvPr>
          <p:cNvCxnSpPr/>
          <p:nvPr/>
        </p:nvCxnSpPr>
        <p:spPr>
          <a:xfrm flipV="1">
            <a:off x="10937198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1991718E-8EA5-41E6-83B9-40FD3A9ACBF0}"/>
              </a:ext>
            </a:extLst>
          </p:cNvPr>
          <p:cNvCxnSpPr/>
          <p:nvPr/>
        </p:nvCxnSpPr>
        <p:spPr>
          <a:xfrm flipV="1">
            <a:off x="11650648" y="5495636"/>
            <a:ext cx="0" cy="55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874C5CF8-D1B5-4978-BA6D-CC0F0FB6A26D}"/>
              </a:ext>
            </a:extLst>
          </p:cNvPr>
          <p:cNvCxnSpPr/>
          <p:nvPr/>
        </p:nvCxnSpPr>
        <p:spPr>
          <a:xfrm flipV="1">
            <a:off x="2192789" y="1040836"/>
            <a:ext cx="0" cy="4416994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3E401AA4-6997-4AB6-B059-7BEEBA9F0E22}"/>
              </a:ext>
            </a:extLst>
          </p:cNvPr>
          <p:cNvCxnSpPr/>
          <p:nvPr/>
        </p:nvCxnSpPr>
        <p:spPr>
          <a:xfrm flipV="1">
            <a:off x="2906241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09602547-24FA-4C8F-9D34-18DD24E4522A}"/>
              </a:ext>
            </a:extLst>
          </p:cNvPr>
          <p:cNvCxnSpPr/>
          <p:nvPr/>
        </p:nvCxnSpPr>
        <p:spPr>
          <a:xfrm flipV="1">
            <a:off x="3619691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3756296D-DE8A-4EF6-BCF3-A62EA0ADEF19}"/>
              </a:ext>
            </a:extLst>
          </p:cNvPr>
          <p:cNvCxnSpPr/>
          <p:nvPr/>
        </p:nvCxnSpPr>
        <p:spPr>
          <a:xfrm flipV="1">
            <a:off x="4333145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6" name="Straight Connector 385">
            <a:extLst>
              <a:ext uri="{FF2B5EF4-FFF2-40B4-BE49-F238E27FC236}">
                <a16:creationId xmlns:a16="http://schemas.microsoft.com/office/drawing/2014/main" id="{E630835F-478F-452B-A7D4-FAD610D12F78}"/>
              </a:ext>
            </a:extLst>
          </p:cNvPr>
          <p:cNvCxnSpPr/>
          <p:nvPr/>
        </p:nvCxnSpPr>
        <p:spPr>
          <a:xfrm flipV="1">
            <a:off x="5046596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8F1BC36C-6C6E-4FF4-92D3-6D6B13AE25FA}"/>
              </a:ext>
            </a:extLst>
          </p:cNvPr>
          <p:cNvCxnSpPr/>
          <p:nvPr/>
        </p:nvCxnSpPr>
        <p:spPr>
          <a:xfrm flipV="1">
            <a:off x="5760047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29D87BE6-C7CB-4D90-9C74-6A8FF09FC74A}"/>
              </a:ext>
            </a:extLst>
          </p:cNvPr>
          <p:cNvCxnSpPr/>
          <p:nvPr/>
        </p:nvCxnSpPr>
        <p:spPr>
          <a:xfrm flipV="1">
            <a:off x="6473499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BA62400A-28B9-4353-934C-18A595147A51}"/>
              </a:ext>
            </a:extLst>
          </p:cNvPr>
          <p:cNvCxnSpPr/>
          <p:nvPr/>
        </p:nvCxnSpPr>
        <p:spPr>
          <a:xfrm flipV="1">
            <a:off x="7186951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67DCC208-E534-4E0D-8097-847CEBFFD72E}"/>
              </a:ext>
            </a:extLst>
          </p:cNvPr>
          <p:cNvCxnSpPr/>
          <p:nvPr/>
        </p:nvCxnSpPr>
        <p:spPr>
          <a:xfrm flipV="1">
            <a:off x="7900402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7678648E-E5CB-4E58-9B57-D133495EDD88}"/>
              </a:ext>
            </a:extLst>
          </p:cNvPr>
          <p:cNvCxnSpPr/>
          <p:nvPr/>
        </p:nvCxnSpPr>
        <p:spPr>
          <a:xfrm flipV="1">
            <a:off x="8796843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Straight Connector 391">
            <a:extLst>
              <a:ext uri="{FF2B5EF4-FFF2-40B4-BE49-F238E27FC236}">
                <a16:creationId xmlns:a16="http://schemas.microsoft.com/office/drawing/2014/main" id="{B1589B8A-21C5-4120-875E-6D1DDD3E9104}"/>
              </a:ext>
            </a:extLst>
          </p:cNvPr>
          <p:cNvCxnSpPr/>
          <p:nvPr/>
        </p:nvCxnSpPr>
        <p:spPr>
          <a:xfrm flipV="1">
            <a:off x="9510295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875C3F41-D796-4DDD-A047-684BEF853B79}"/>
              </a:ext>
            </a:extLst>
          </p:cNvPr>
          <p:cNvCxnSpPr/>
          <p:nvPr/>
        </p:nvCxnSpPr>
        <p:spPr>
          <a:xfrm flipV="1">
            <a:off x="10223746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Straight Connector 393">
            <a:extLst>
              <a:ext uri="{FF2B5EF4-FFF2-40B4-BE49-F238E27FC236}">
                <a16:creationId xmlns:a16="http://schemas.microsoft.com/office/drawing/2014/main" id="{454F8A85-A4FE-4553-B1D5-398181721302}"/>
              </a:ext>
            </a:extLst>
          </p:cNvPr>
          <p:cNvCxnSpPr/>
          <p:nvPr/>
        </p:nvCxnSpPr>
        <p:spPr>
          <a:xfrm flipV="1">
            <a:off x="10937198" y="1040836"/>
            <a:ext cx="0" cy="441699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EE31B5AB-52F8-40BB-B6E4-E5687F9EF823}"/>
              </a:ext>
            </a:extLst>
          </p:cNvPr>
          <p:cNvCxnSpPr/>
          <p:nvPr/>
        </p:nvCxnSpPr>
        <p:spPr>
          <a:xfrm flipV="1">
            <a:off x="11650648" y="1040836"/>
            <a:ext cx="0" cy="4416994"/>
          </a:xfrm>
          <a:prstGeom prst="line">
            <a:avLst/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5" name="Oval 414">
            <a:extLst>
              <a:ext uri="{FF2B5EF4-FFF2-40B4-BE49-F238E27FC236}">
                <a16:creationId xmlns:a16="http://schemas.microsoft.com/office/drawing/2014/main" id="{5E810C9B-E3D1-4BA6-8062-5DC786DF6768}"/>
              </a:ext>
            </a:extLst>
          </p:cNvPr>
          <p:cNvSpPr/>
          <p:nvPr/>
        </p:nvSpPr>
        <p:spPr>
          <a:xfrm>
            <a:off x="2329155" y="992599"/>
            <a:ext cx="892330" cy="89233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417" name="Oval 416">
            <a:extLst>
              <a:ext uri="{FF2B5EF4-FFF2-40B4-BE49-F238E27FC236}">
                <a16:creationId xmlns:a16="http://schemas.microsoft.com/office/drawing/2014/main" id="{BAE28C08-C4F0-4552-B7DE-A2A2A0CE0FB8}"/>
              </a:ext>
            </a:extLst>
          </p:cNvPr>
          <p:cNvSpPr/>
          <p:nvPr/>
        </p:nvSpPr>
        <p:spPr>
          <a:xfrm>
            <a:off x="4327547" y="1307097"/>
            <a:ext cx="243362" cy="243362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12" name="Oval 511">
            <a:extLst>
              <a:ext uri="{FF2B5EF4-FFF2-40B4-BE49-F238E27FC236}">
                <a16:creationId xmlns:a16="http://schemas.microsoft.com/office/drawing/2014/main" id="{830FD0E2-B1F1-47E2-BA04-533BF2982441}"/>
              </a:ext>
            </a:extLst>
          </p:cNvPr>
          <p:cNvSpPr/>
          <p:nvPr/>
        </p:nvSpPr>
        <p:spPr>
          <a:xfrm>
            <a:off x="2820125" y="2504752"/>
            <a:ext cx="300147" cy="30014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13" name="Oval 512">
            <a:extLst>
              <a:ext uri="{FF2B5EF4-FFF2-40B4-BE49-F238E27FC236}">
                <a16:creationId xmlns:a16="http://schemas.microsoft.com/office/drawing/2014/main" id="{95F79073-332B-4D8F-9ED8-2BD75BDDAB5C}"/>
              </a:ext>
            </a:extLst>
          </p:cNvPr>
          <p:cNvSpPr/>
          <p:nvPr/>
        </p:nvSpPr>
        <p:spPr>
          <a:xfrm>
            <a:off x="3578930" y="1928975"/>
            <a:ext cx="308259" cy="308259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15" name="Oval 514">
            <a:extLst>
              <a:ext uri="{FF2B5EF4-FFF2-40B4-BE49-F238E27FC236}">
                <a16:creationId xmlns:a16="http://schemas.microsoft.com/office/drawing/2014/main" id="{569BA1E1-08AF-4150-8766-C0A9F65C400C}"/>
              </a:ext>
            </a:extLst>
          </p:cNvPr>
          <p:cNvSpPr/>
          <p:nvPr/>
        </p:nvSpPr>
        <p:spPr>
          <a:xfrm>
            <a:off x="4908249" y="2010684"/>
            <a:ext cx="709017" cy="70901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17" name="Oval 516">
            <a:extLst>
              <a:ext uri="{FF2B5EF4-FFF2-40B4-BE49-F238E27FC236}">
                <a16:creationId xmlns:a16="http://schemas.microsoft.com/office/drawing/2014/main" id="{1424DAD5-1038-4A10-AC93-52AE267049E4}"/>
              </a:ext>
            </a:extLst>
          </p:cNvPr>
          <p:cNvSpPr/>
          <p:nvPr/>
        </p:nvSpPr>
        <p:spPr>
          <a:xfrm>
            <a:off x="7554884" y="1921325"/>
            <a:ext cx="547566" cy="547566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44" name="Freeform 80">
            <a:extLst>
              <a:ext uri="{FF2B5EF4-FFF2-40B4-BE49-F238E27FC236}">
                <a16:creationId xmlns:a16="http://schemas.microsoft.com/office/drawing/2014/main" id="{3DB693E3-B35E-459D-A3D9-93461F5DC2C5}"/>
              </a:ext>
            </a:extLst>
          </p:cNvPr>
          <p:cNvSpPr>
            <a:spLocks noEditPoints="1"/>
          </p:cNvSpPr>
          <p:nvPr/>
        </p:nvSpPr>
        <p:spPr bwMode="auto">
          <a:xfrm>
            <a:off x="4127170" y="1948869"/>
            <a:ext cx="350979" cy="238376"/>
          </a:xfrm>
          <a:custGeom>
            <a:avLst/>
            <a:gdLst>
              <a:gd name="T0" fmla="*/ 2889 w 3597"/>
              <a:gd name="T1" fmla="*/ 1643 h 2016"/>
              <a:gd name="T2" fmla="*/ 2829 w 3597"/>
              <a:gd name="T3" fmla="*/ 1773 h 2016"/>
              <a:gd name="T4" fmla="*/ 2889 w 3597"/>
              <a:gd name="T5" fmla="*/ 1901 h 2016"/>
              <a:gd name="T6" fmla="*/ 3028 w 3597"/>
              <a:gd name="T7" fmla="*/ 1939 h 2016"/>
              <a:gd name="T8" fmla="*/ 3144 w 3597"/>
              <a:gd name="T9" fmla="*/ 1858 h 2016"/>
              <a:gd name="T10" fmla="*/ 3156 w 3597"/>
              <a:gd name="T11" fmla="*/ 1714 h 2016"/>
              <a:gd name="T12" fmla="*/ 3057 w 3597"/>
              <a:gd name="T13" fmla="*/ 1613 h 2016"/>
              <a:gd name="T14" fmla="*/ 478 w 3597"/>
              <a:gd name="T15" fmla="*/ 1613 h 2016"/>
              <a:gd name="T16" fmla="*/ 377 w 3597"/>
              <a:gd name="T17" fmla="*/ 1714 h 2016"/>
              <a:gd name="T18" fmla="*/ 391 w 3597"/>
              <a:gd name="T19" fmla="*/ 1858 h 2016"/>
              <a:gd name="T20" fmla="*/ 506 w 3597"/>
              <a:gd name="T21" fmla="*/ 1939 h 2016"/>
              <a:gd name="T22" fmla="*/ 645 w 3597"/>
              <a:gd name="T23" fmla="*/ 1901 h 2016"/>
              <a:gd name="T24" fmla="*/ 706 w 3597"/>
              <a:gd name="T25" fmla="*/ 1773 h 2016"/>
              <a:gd name="T26" fmla="*/ 645 w 3597"/>
              <a:gd name="T27" fmla="*/ 1643 h 2016"/>
              <a:gd name="T28" fmla="*/ 2998 w 3597"/>
              <a:gd name="T29" fmla="*/ 1528 h 2016"/>
              <a:gd name="T30" fmla="*/ 3170 w 3597"/>
              <a:gd name="T31" fmla="*/ 1600 h 2016"/>
              <a:gd name="T32" fmla="*/ 3241 w 3597"/>
              <a:gd name="T33" fmla="*/ 1773 h 2016"/>
              <a:gd name="T34" fmla="*/ 3170 w 3597"/>
              <a:gd name="T35" fmla="*/ 1945 h 2016"/>
              <a:gd name="T36" fmla="*/ 2998 w 3597"/>
              <a:gd name="T37" fmla="*/ 2016 h 2016"/>
              <a:gd name="T38" fmla="*/ 2825 w 3597"/>
              <a:gd name="T39" fmla="*/ 1945 h 2016"/>
              <a:gd name="T40" fmla="*/ 2755 w 3597"/>
              <a:gd name="T41" fmla="*/ 1773 h 2016"/>
              <a:gd name="T42" fmla="*/ 2825 w 3597"/>
              <a:gd name="T43" fmla="*/ 1600 h 2016"/>
              <a:gd name="T44" fmla="*/ 2998 w 3597"/>
              <a:gd name="T45" fmla="*/ 1528 h 2016"/>
              <a:gd name="T46" fmla="*/ 680 w 3597"/>
              <a:gd name="T47" fmla="*/ 1576 h 2016"/>
              <a:gd name="T48" fmla="*/ 777 w 3597"/>
              <a:gd name="T49" fmla="*/ 1733 h 2016"/>
              <a:gd name="T50" fmla="*/ 733 w 3597"/>
              <a:gd name="T51" fmla="*/ 1916 h 2016"/>
              <a:gd name="T52" fmla="*/ 576 w 3597"/>
              <a:gd name="T53" fmla="*/ 2013 h 2016"/>
              <a:gd name="T54" fmla="*/ 393 w 3597"/>
              <a:gd name="T55" fmla="*/ 1969 h 2016"/>
              <a:gd name="T56" fmla="*/ 296 w 3597"/>
              <a:gd name="T57" fmla="*/ 1812 h 2016"/>
              <a:gd name="T58" fmla="*/ 339 w 3597"/>
              <a:gd name="T59" fmla="*/ 1629 h 2016"/>
              <a:gd name="T60" fmla="*/ 496 w 3597"/>
              <a:gd name="T61" fmla="*/ 1532 h 2016"/>
              <a:gd name="T62" fmla="*/ 3482 w 3597"/>
              <a:gd name="T63" fmla="*/ 1455 h 2016"/>
              <a:gd name="T64" fmla="*/ 3482 w 3597"/>
              <a:gd name="T65" fmla="*/ 1588 h 2016"/>
              <a:gd name="T66" fmla="*/ 3543 w 3597"/>
              <a:gd name="T67" fmla="*/ 1598 h 2016"/>
              <a:gd name="T68" fmla="*/ 3559 w 3597"/>
              <a:gd name="T69" fmla="*/ 1467 h 2016"/>
              <a:gd name="T70" fmla="*/ 280 w 3597"/>
              <a:gd name="T71" fmla="*/ 1402 h 2016"/>
              <a:gd name="T72" fmla="*/ 814 w 3597"/>
              <a:gd name="T73" fmla="*/ 1616 h 2016"/>
              <a:gd name="T74" fmla="*/ 638 w 3597"/>
              <a:gd name="T75" fmla="*/ 1490 h 2016"/>
              <a:gd name="T76" fmla="*/ 417 w 3597"/>
              <a:gd name="T77" fmla="*/ 1504 h 2016"/>
              <a:gd name="T78" fmla="*/ 260 w 3597"/>
              <a:gd name="T79" fmla="*/ 1648 h 2016"/>
              <a:gd name="T80" fmla="*/ 163 w 3597"/>
              <a:gd name="T81" fmla="*/ 1628 h 2016"/>
              <a:gd name="T82" fmla="*/ 144 w 3597"/>
              <a:gd name="T83" fmla="*/ 1513 h 2016"/>
              <a:gd name="T84" fmla="*/ 226 w 3597"/>
              <a:gd name="T85" fmla="*/ 1413 h 2016"/>
              <a:gd name="T86" fmla="*/ 2655 w 3597"/>
              <a:gd name="T87" fmla="*/ 567 h 2016"/>
              <a:gd name="T88" fmla="*/ 2639 w 3597"/>
              <a:gd name="T89" fmla="*/ 967 h 2016"/>
              <a:gd name="T90" fmla="*/ 3333 w 3597"/>
              <a:gd name="T91" fmla="*/ 998 h 2016"/>
              <a:gd name="T92" fmla="*/ 3380 w 3597"/>
              <a:gd name="T93" fmla="*/ 952 h 2016"/>
              <a:gd name="T94" fmla="*/ 3130 w 3597"/>
              <a:gd name="T95" fmla="*/ 567 h 2016"/>
              <a:gd name="T96" fmla="*/ 2546 w 3597"/>
              <a:gd name="T97" fmla="*/ 471 h 2016"/>
              <a:gd name="T98" fmla="*/ 3221 w 3597"/>
              <a:gd name="T99" fmla="*/ 489 h 2016"/>
              <a:gd name="T100" fmla="*/ 3595 w 3597"/>
              <a:gd name="T101" fmla="*/ 1639 h 2016"/>
              <a:gd name="T102" fmla="*/ 3307 w 3597"/>
              <a:gd name="T103" fmla="*/ 1670 h 2016"/>
              <a:gd name="T104" fmla="*/ 3170 w 3597"/>
              <a:gd name="T105" fmla="*/ 1521 h 2016"/>
              <a:gd name="T106" fmla="*/ 2965 w 3597"/>
              <a:gd name="T107" fmla="*/ 1480 h 2016"/>
              <a:gd name="T108" fmla="*/ 2782 w 3597"/>
              <a:gd name="T109" fmla="*/ 1570 h 2016"/>
              <a:gd name="T110" fmla="*/ 2532 w 3597"/>
              <a:gd name="T111" fmla="*/ 1668 h 2016"/>
              <a:gd name="T112" fmla="*/ 2500 w 3597"/>
              <a:gd name="T113" fmla="*/ 517 h 2016"/>
              <a:gd name="T114" fmla="*/ 2546 w 3597"/>
              <a:gd name="T115" fmla="*/ 471 h 2016"/>
              <a:gd name="T116" fmla="*/ 0 w 3597"/>
              <a:gd name="T117" fmla="*/ 0 h 20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597" h="2016">
                <a:moveTo>
                  <a:pt x="2998" y="1604"/>
                </a:moveTo>
                <a:lnTo>
                  <a:pt x="2967" y="1606"/>
                </a:lnTo>
                <a:lnTo>
                  <a:pt x="2939" y="1613"/>
                </a:lnTo>
                <a:lnTo>
                  <a:pt x="2913" y="1627"/>
                </a:lnTo>
                <a:lnTo>
                  <a:pt x="2889" y="1643"/>
                </a:lnTo>
                <a:lnTo>
                  <a:pt x="2869" y="1664"/>
                </a:lnTo>
                <a:lnTo>
                  <a:pt x="2852" y="1688"/>
                </a:lnTo>
                <a:lnTo>
                  <a:pt x="2840" y="1714"/>
                </a:lnTo>
                <a:lnTo>
                  <a:pt x="2832" y="1742"/>
                </a:lnTo>
                <a:lnTo>
                  <a:pt x="2829" y="1773"/>
                </a:lnTo>
                <a:lnTo>
                  <a:pt x="2832" y="1803"/>
                </a:lnTo>
                <a:lnTo>
                  <a:pt x="2840" y="1832"/>
                </a:lnTo>
                <a:lnTo>
                  <a:pt x="2852" y="1858"/>
                </a:lnTo>
                <a:lnTo>
                  <a:pt x="2869" y="1882"/>
                </a:lnTo>
                <a:lnTo>
                  <a:pt x="2889" y="1901"/>
                </a:lnTo>
                <a:lnTo>
                  <a:pt x="2913" y="1919"/>
                </a:lnTo>
                <a:lnTo>
                  <a:pt x="2939" y="1931"/>
                </a:lnTo>
                <a:lnTo>
                  <a:pt x="2967" y="1939"/>
                </a:lnTo>
                <a:lnTo>
                  <a:pt x="2998" y="1942"/>
                </a:lnTo>
                <a:lnTo>
                  <a:pt x="3028" y="1939"/>
                </a:lnTo>
                <a:lnTo>
                  <a:pt x="3057" y="1931"/>
                </a:lnTo>
                <a:lnTo>
                  <a:pt x="3083" y="1919"/>
                </a:lnTo>
                <a:lnTo>
                  <a:pt x="3107" y="1901"/>
                </a:lnTo>
                <a:lnTo>
                  <a:pt x="3128" y="1882"/>
                </a:lnTo>
                <a:lnTo>
                  <a:pt x="3144" y="1858"/>
                </a:lnTo>
                <a:lnTo>
                  <a:pt x="3156" y="1832"/>
                </a:lnTo>
                <a:lnTo>
                  <a:pt x="3165" y="1803"/>
                </a:lnTo>
                <a:lnTo>
                  <a:pt x="3167" y="1773"/>
                </a:lnTo>
                <a:lnTo>
                  <a:pt x="3165" y="1742"/>
                </a:lnTo>
                <a:lnTo>
                  <a:pt x="3156" y="1714"/>
                </a:lnTo>
                <a:lnTo>
                  <a:pt x="3144" y="1688"/>
                </a:lnTo>
                <a:lnTo>
                  <a:pt x="3128" y="1664"/>
                </a:lnTo>
                <a:lnTo>
                  <a:pt x="3107" y="1643"/>
                </a:lnTo>
                <a:lnTo>
                  <a:pt x="3083" y="1627"/>
                </a:lnTo>
                <a:lnTo>
                  <a:pt x="3057" y="1613"/>
                </a:lnTo>
                <a:lnTo>
                  <a:pt x="3028" y="1606"/>
                </a:lnTo>
                <a:lnTo>
                  <a:pt x="2998" y="1604"/>
                </a:lnTo>
                <a:close/>
                <a:moveTo>
                  <a:pt x="537" y="1604"/>
                </a:moveTo>
                <a:lnTo>
                  <a:pt x="506" y="1606"/>
                </a:lnTo>
                <a:lnTo>
                  <a:pt x="478" y="1613"/>
                </a:lnTo>
                <a:lnTo>
                  <a:pt x="451" y="1627"/>
                </a:lnTo>
                <a:lnTo>
                  <a:pt x="428" y="1643"/>
                </a:lnTo>
                <a:lnTo>
                  <a:pt x="407" y="1664"/>
                </a:lnTo>
                <a:lnTo>
                  <a:pt x="391" y="1688"/>
                </a:lnTo>
                <a:lnTo>
                  <a:pt x="377" y="1714"/>
                </a:lnTo>
                <a:lnTo>
                  <a:pt x="370" y="1742"/>
                </a:lnTo>
                <a:lnTo>
                  <a:pt x="368" y="1773"/>
                </a:lnTo>
                <a:lnTo>
                  <a:pt x="370" y="1803"/>
                </a:lnTo>
                <a:lnTo>
                  <a:pt x="377" y="1832"/>
                </a:lnTo>
                <a:lnTo>
                  <a:pt x="391" y="1858"/>
                </a:lnTo>
                <a:lnTo>
                  <a:pt x="407" y="1882"/>
                </a:lnTo>
                <a:lnTo>
                  <a:pt x="428" y="1901"/>
                </a:lnTo>
                <a:lnTo>
                  <a:pt x="451" y="1919"/>
                </a:lnTo>
                <a:lnTo>
                  <a:pt x="478" y="1931"/>
                </a:lnTo>
                <a:lnTo>
                  <a:pt x="506" y="1939"/>
                </a:lnTo>
                <a:lnTo>
                  <a:pt x="537" y="1942"/>
                </a:lnTo>
                <a:lnTo>
                  <a:pt x="566" y="1939"/>
                </a:lnTo>
                <a:lnTo>
                  <a:pt x="596" y="1931"/>
                </a:lnTo>
                <a:lnTo>
                  <a:pt x="622" y="1919"/>
                </a:lnTo>
                <a:lnTo>
                  <a:pt x="645" y="1901"/>
                </a:lnTo>
                <a:lnTo>
                  <a:pt x="665" y="1882"/>
                </a:lnTo>
                <a:lnTo>
                  <a:pt x="682" y="1858"/>
                </a:lnTo>
                <a:lnTo>
                  <a:pt x="695" y="1832"/>
                </a:lnTo>
                <a:lnTo>
                  <a:pt x="703" y="1803"/>
                </a:lnTo>
                <a:lnTo>
                  <a:pt x="706" y="1773"/>
                </a:lnTo>
                <a:lnTo>
                  <a:pt x="703" y="1742"/>
                </a:lnTo>
                <a:lnTo>
                  <a:pt x="695" y="1714"/>
                </a:lnTo>
                <a:lnTo>
                  <a:pt x="682" y="1688"/>
                </a:lnTo>
                <a:lnTo>
                  <a:pt x="665" y="1664"/>
                </a:lnTo>
                <a:lnTo>
                  <a:pt x="645" y="1643"/>
                </a:lnTo>
                <a:lnTo>
                  <a:pt x="622" y="1627"/>
                </a:lnTo>
                <a:lnTo>
                  <a:pt x="596" y="1613"/>
                </a:lnTo>
                <a:lnTo>
                  <a:pt x="566" y="1606"/>
                </a:lnTo>
                <a:lnTo>
                  <a:pt x="537" y="1604"/>
                </a:lnTo>
                <a:close/>
                <a:moveTo>
                  <a:pt x="2998" y="1528"/>
                </a:moveTo>
                <a:lnTo>
                  <a:pt x="3037" y="1532"/>
                </a:lnTo>
                <a:lnTo>
                  <a:pt x="3075" y="1541"/>
                </a:lnTo>
                <a:lnTo>
                  <a:pt x="3110" y="1556"/>
                </a:lnTo>
                <a:lnTo>
                  <a:pt x="3142" y="1576"/>
                </a:lnTo>
                <a:lnTo>
                  <a:pt x="3170" y="1600"/>
                </a:lnTo>
                <a:lnTo>
                  <a:pt x="3194" y="1629"/>
                </a:lnTo>
                <a:lnTo>
                  <a:pt x="3214" y="1660"/>
                </a:lnTo>
                <a:lnTo>
                  <a:pt x="3229" y="1695"/>
                </a:lnTo>
                <a:lnTo>
                  <a:pt x="3238" y="1733"/>
                </a:lnTo>
                <a:lnTo>
                  <a:pt x="3241" y="1773"/>
                </a:lnTo>
                <a:lnTo>
                  <a:pt x="3238" y="1812"/>
                </a:lnTo>
                <a:lnTo>
                  <a:pt x="3229" y="1849"/>
                </a:lnTo>
                <a:lnTo>
                  <a:pt x="3214" y="1884"/>
                </a:lnTo>
                <a:lnTo>
                  <a:pt x="3194" y="1916"/>
                </a:lnTo>
                <a:lnTo>
                  <a:pt x="3170" y="1945"/>
                </a:lnTo>
                <a:lnTo>
                  <a:pt x="3142" y="1969"/>
                </a:lnTo>
                <a:lnTo>
                  <a:pt x="3110" y="1989"/>
                </a:lnTo>
                <a:lnTo>
                  <a:pt x="3075" y="2004"/>
                </a:lnTo>
                <a:lnTo>
                  <a:pt x="3037" y="2013"/>
                </a:lnTo>
                <a:lnTo>
                  <a:pt x="2998" y="2016"/>
                </a:lnTo>
                <a:lnTo>
                  <a:pt x="2959" y="2013"/>
                </a:lnTo>
                <a:lnTo>
                  <a:pt x="2921" y="2004"/>
                </a:lnTo>
                <a:lnTo>
                  <a:pt x="2887" y="1989"/>
                </a:lnTo>
                <a:lnTo>
                  <a:pt x="2854" y="1969"/>
                </a:lnTo>
                <a:lnTo>
                  <a:pt x="2825" y="1945"/>
                </a:lnTo>
                <a:lnTo>
                  <a:pt x="2801" y="1916"/>
                </a:lnTo>
                <a:lnTo>
                  <a:pt x="2782" y="1884"/>
                </a:lnTo>
                <a:lnTo>
                  <a:pt x="2767" y="1849"/>
                </a:lnTo>
                <a:lnTo>
                  <a:pt x="2758" y="1812"/>
                </a:lnTo>
                <a:lnTo>
                  <a:pt x="2755" y="1773"/>
                </a:lnTo>
                <a:lnTo>
                  <a:pt x="2758" y="1733"/>
                </a:lnTo>
                <a:lnTo>
                  <a:pt x="2767" y="1695"/>
                </a:lnTo>
                <a:lnTo>
                  <a:pt x="2782" y="1660"/>
                </a:lnTo>
                <a:lnTo>
                  <a:pt x="2801" y="1629"/>
                </a:lnTo>
                <a:lnTo>
                  <a:pt x="2825" y="1600"/>
                </a:lnTo>
                <a:lnTo>
                  <a:pt x="2854" y="1576"/>
                </a:lnTo>
                <a:lnTo>
                  <a:pt x="2887" y="1556"/>
                </a:lnTo>
                <a:lnTo>
                  <a:pt x="2921" y="1541"/>
                </a:lnTo>
                <a:lnTo>
                  <a:pt x="2959" y="1532"/>
                </a:lnTo>
                <a:lnTo>
                  <a:pt x="2998" y="1528"/>
                </a:lnTo>
                <a:close/>
                <a:moveTo>
                  <a:pt x="537" y="1528"/>
                </a:moveTo>
                <a:lnTo>
                  <a:pt x="576" y="1532"/>
                </a:lnTo>
                <a:lnTo>
                  <a:pt x="613" y="1541"/>
                </a:lnTo>
                <a:lnTo>
                  <a:pt x="648" y="1556"/>
                </a:lnTo>
                <a:lnTo>
                  <a:pt x="680" y="1576"/>
                </a:lnTo>
                <a:lnTo>
                  <a:pt x="708" y="1600"/>
                </a:lnTo>
                <a:lnTo>
                  <a:pt x="733" y="1629"/>
                </a:lnTo>
                <a:lnTo>
                  <a:pt x="753" y="1660"/>
                </a:lnTo>
                <a:lnTo>
                  <a:pt x="767" y="1695"/>
                </a:lnTo>
                <a:lnTo>
                  <a:pt x="777" y="1733"/>
                </a:lnTo>
                <a:lnTo>
                  <a:pt x="780" y="1773"/>
                </a:lnTo>
                <a:lnTo>
                  <a:pt x="777" y="1812"/>
                </a:lnTo>
                <a:lnTo>
                  <a:pt x="767" y="1849"/>
                </a:lnTo>
                <a:lnTo>
                  <a:pt x="753" y="1884"/>
                </a:lnTo>
                <a:lnTo>
                  <a:pt x="733" y="1916"/>
                </a:lnTo>
                <a:lnTo>
                  <a:pt x="708" y="1945"/>
                </a:lnTo>
                <a:lnTo>
                  <a:pt x="680" y="1969"/>
                </a:lnTo>
                <a:lnTo>
                  <a:pt x="648" y="1989"/>
                </a:lnTo>
                <a:lnTo>
                  <a:pt x="613" y="2004"/>
                </a:lnTo>
                <a:lnTo>
                  <a:pt x="576" y="2013"/>
                </a:lnTo>
                <a:lnTo>
                  <a:pt x="537" y="2016"/>
                </a:lnTo>
                <a:lnTo>
                  <a:pt x="496" y="2013"/>
                </a:lnTo>
                <a:lnTo>
                  <a:pt x="459" y="2004"/>
                </a:lnTo>
                <a:lnTo>
                  <a:pt x="424" y="1989"/>
                </a:lnTo>
                <a:lnTo>
                  <a:pt x="393" y="1969"/>
                </a:lnTo>
                <a:lnTo>
                  <a:pt x="364" y="1945"/>
                </a:lnTo>
                <a:lnTo>
                  <a:pt x="339" y="1916"/>
                </a:lnTo>
                <a:lnTo>
                  <a:pt x="320" y="1884"/>
                </a:lnTo>
                <a:lnTo>
                  <a:pt x="305" y="1849"/>
                </a:lnTo>
                <a:lnTo>
                  <a:pt x="296" y="1812"/>
                </a:lnTo>
                <a:lnTo>
                  <a:pt x="292" y="1773"/>
                </a:lnTo>
                <a:lnTo>
                  <a:pt x="296" y="1733"/>
                </a:lnTo>
                <a:lnTo>
                  <a:pt x="305" y="1695"/>
                </a:lnTo>
                <a:lnTo>
                  <a:pt x="320" y="1660"/>
                </a:lnTo>
                <a:lnTo>
                  <a:pt x="339" y="1629"/>
                </a:lnTo>
                <a:lnTo>
                  <a:pt x="364" y="1600"/>
                </a:lnTo>
                <a:lnTo>
                  <a:pt x="393" y="1576"/>
                </a:lnTo>
                <a:lnTo>
                  <a:pt x="424" y="1556"/>
                </a:lnTo>
                <a:lnTo>
                  <a:pt x="459" y="1541"/>
                </a:lnTo>
                <a:lnTo>
                  <a:pt x="496" y="1532"/>
                </a:lnTo>
                <a:lnTo>
                  <a:pt x="537" y="1528"/>
                </a:lnTo>
                <a:close/>
                <a:moveTo>
                  <a:pt x="3518" y="1438"/>
                </a:moveTo>
                <a:lnTo>
                  <a:pt x="3504" y="1440"/>
                </a:lnTo>
                <a:lnTo>
                  <a:pt x="3492" y="1445"/>
                </a:lnTo>
                <a:lnTo>
                  <a:pt x="3482" y="1455"/>
                </a:lnTo>
                <a:lnTo>
                  <a:pt x="3477" y="1467"/>
                </a:lnTo>
                <a:lnTo>
                  <a:pt x="3475" y="1480"/>
                </a:lnTo>
                <a:lnTo>
                  <a:pt x="3475" y="1563"/>
                </a:lnTo>
                <a:lnTo>
                  <a:pt x="3477" y="1576"/>
                </a:lnTo>
                <a:lnTo>
                  <a:pt x="3482" y="1588"/>
                </a:lnTo>
                <a:lnTo>
                  <a:pt x="3492" y="1598"/>
                </a:lnTo>
                <a:lnTo>
                  <a:pt x="3504" y="1605"/>
                </a:lnTo>
                <a:lnTo>
                  <a:pt x="3518" y="1607"/>
                </a:lnTo>
                <a:lnTo>
                  <a:pt x="3531" y="1605"/>
                </a:lnTo>
                <a:lnTo>
                  <a:pt x="3543" y="1598"/>
                </a:lnTo>
                <a:lnTo>
                  <a:pt x="3553" y="1588"/>
                </a:lnTo>
                <a:lnTo>
                  <a:pt x="3559" y="1576"/>
                </a:lnTo>
                <a:lnTo>
                  <a:pt x="3561" y="1563"/>
                </a:lnTo>
                <a:lnTo>
                  <a:pt x="3561" y="1480"/>
                </a:lnTo>
                <a:lnTo>
                  <a:pt x="3559" y="1467"/>
                </a:lnTo>
                <a:lnTo>
                  <a:pt x="3553" y="1455"/>
                </a:lnTo>
                <a:lnTo>
                  <a:pt x="3543" y="1445"/>
                </a:lnTo>
                <a:lnTo>
                  <a:pt x="3531" y="1440"/>
                </a:lnTo>
                <a:lnTo>
                  <a:pt x="3518" y="1438"/>
                </a:lnTo>
                <a:close/>
                <a:moveTo>
                  <a:pt x="280" y="1402"/>
                </a:moveTo>
                <a:lnTo>
                  <a:pt x="2388" y="1402"/>
                </a:lnTo>
                <a:lnTo>
                  <a:pt x="2388" y="1693"/>
                </a:lnTo>
                <a:lnTo>
                  <a:pt x="855" y="1693"/>
                </a:lnTo>
                <a:lnTo>
                  <a:pt x="837" y="1653"/>
                </a:lnTo>
                <a:lnTo>
                  <a:pt x="814" y="1616"/>
                </a:lnTo>
                <a:lnTo>
                  <a:pt x="787" y="1582"/>
                </a:lnTo>
                <a:lnTo>
                  <a:pt x="754" y="1551"/>
                </a:lnTo>
                <a:lnTo>
                  <a:pt x="719" y="1526"/>
                </a:lnTo>
                <a:lnTo>
                  <a:pt x="680" y="1505"/>
                </a:lnTo>
                <a:lnTo>
                  <a:pt x="638" y="1490"/>
                </a:lnTo>
                <a:lnTo>
                  <a:pt x="593" y="1481"/>
                </a:lnTo>
                <a:lnTo>
                  <a:pt x="548" y="1478"/>
                </a:lnTo>
                <a:lnTo>
                  <a:pt x="502" y="1480"/>
                </a:lnTo>
                <a:lnTo>
                  <a:pt x="458" y="1490"/>
                </a:lnTo>
                <a:lnTo>
                  <a:pt x="417" y="1504"/>
                </a:lnTo>
                <a:lnTo>
                  <a:pt x="379" y="1525"/>
                </a:lnTo>
                <a:lnTo>
                  <a:pt x="343" y="1550"/>
                </a:lnTo>
                <a:lnTo>
                  <a:pt x="311" y="1579"/>
                </a:lnTo>
                <a:lnTo>
                  <a:pt x="284" y="1611"/>
                </a:lnTo>
                <a:lnTo>
                  <a:pt x="260" y="1648"/>
                </a:lnTo>
                <a:lnTo>
                  <a:pt x="242" y="1688"/>
                </a:lnTo>
                <a:lnTo>
                  <a:pt x="218" y="1679"/>
                </a:lnTo>
                <a:lnTo>
                  <a:pt x="196" y="1665"/>
                </a:lnTo>
                <a:lnTo>
                  <a:pt x="178" y="1648"/>
                </a:lnTo>
                <a:lnTo>
                  <a:pt x="163" y="1628"/>
                </a:lnTo>
                <a:lnTo>
                  <a:pt x="151" y="1605"/>
                </a:lnTo>
                <a:lnTo>
                  <a:pt x="143" y="1581"/>
                </a:lnTo>
                <a:lnTo>
                  <a:pt x="141" y="1553"/>
                </a:lnTo>
                <a:lnTo>
                  <a:pt x="141" y="1541"/>
                </a:lnTo>
                <a:lnTo>
                  <a:pt x="144" y="1513"/>
                </a:lnTo>
                <a:lnTo>
                  <a:pt x="152" y="1487"/>
                </a:lnTo>
                <a:lnTo>
                  <a:pt x="165" y="1463"/>
                </a:lnTo>
                <a:lnTo>
                  <a:pt x="182" y="1442"/>
                </a:lnTo>
                <a:lnTo>
                  <a:pt x="202" y="1426"/>
                </a:lnTo>
                <a:lnTo>
                  <a:pt x="226" y="1413"/>
                </a:lnTo>
                <a:lnTo>
                  <a:pt x="252" y="1405"/>
                </a:lnTo>
                <a:lnTo>
                  <a:pt x="280" y="1402"/>
                </a:lnTo>
                <a:close/>
                <a:moveTo>
                  <a:pt x="2684" y="559"/>
                </a:moveTo>
                <a:lnTo>
                  <a:pt x="2668" y="561"/>
                </a:lnTo>
                <a:lnTo>
                  <a:pt x="2655" y="567"/>
                </a:lnTo>
                <a:lnTo>
                  <a:pt x="2645" y="577"/>
                </a:lnTo>
                <a:lnTo>
                  <a:pt x="2639" y="590"/>
                </a:lnTo>
                <a:lnTo>
                  <a:pt x="2637" y="604"/>
                </a:lnTo>
                <a:lnTo>
                  <a:pt x="2637" y="952"/>
                </a:lnTo>
                <a:lnTo>
                  <a:pt x="2639" y="967"/>
                </a:lnTo>
                <a:lnTo>
                  <a:pt x="2645" y="980"/>
                </a:lnTo>
                <a:lnTo>
                  <a:pt x="2655" y="989"/>
                </a:lnTo>
                <a:lnTo>
                  <a:pt x="2668" y="996"/>
                </a:lnTo>
                <a:lnTo>
                  <a:pt x="2684" y="998"/>
                </a:lnTo>
                <a:lnTo>
                  <a:pt x="3333" y="998"/>
                </a:lnTo>
                <a:lnTo>
                  <a:pt x="3348" y="996"/>
                </a:lnTo>
                <a:lnTo>
                  <a:pt x="3360" y="989"/>
                </a:lnTo>
                <a:lnTo>
                  <a:pt x="3371" y="980"/>
                </a:lnTo>
                <a:lnTo>
                  <a:pt x="3377" y="967"/>
                </a:lnTo>
                <a:lnTo>
                  <a:pt x="3380" y="952"/>
                </a:lnTo>
                <a:lnTo>
                  <a:pt x="3170" y="604"/>
                </a:lnTo>
                <a:lnTo>
                  <a:pt x="3163" y="592"/>
                </a:lnTo>
                <a:lnTo>
                  <a:pt x="3155" y="583"/>
                </a:lnTo>
                <a:lnTo>
                  <a:pt x="3144" y="574"/>
                </a:lnTo>
                <a:lnTo>
                  <a:pt x="3130" y="567"/>
                </a:lnTo>
                <a:lnTo>
                  <a:pt x="3112" y="562"/>
                </a:lnTo>
                <a:lnTo>
                  <a:pt x="3091" y="559"/>
                </a:lnTo>
                <a:lnTo>
                  <a:pt x="3063" y="559"/>
                </a:lnTo>
                <a:lnTo>
                  <a:pt x="2684" y="559"/>
                </a:lnTo>
                <a:close/>
                <a:moveTo>
                  <a:pt x="2546" y="471"/>
                </a:moveTo>
                <a:lnTo>
                  <a:pt x="3159" y="471"/>
                </a:lnTo>
                <a:lnTo>
                  <a:pt x="3173" y="471"/>
                </a:lnTo>
                <a:lnTo>
                  <a:pt x="3189" y="475"/>
                </a:lnTo>
                <a:lnTo>
                  <a:pt x="3205" y="480"/>
                </a:lnTo>
                <a:lnTo>
                  <a:pt x="3221" y="489"/>
                </a:lnTo>
                <a:lnTo>
                  <a:pt x="3238" y="501"/>
                </a:lnTo>
                <a:lnTo>
                  <a:pt x="3252" y="517"/>
                </a:lnTo>
                <a:lnTo>
                  <a:pt x="3597" y="1072"/>
                </a:lnTo>
                <a:lnTo>
                  <a:pt x="3597" y="1623"/>
                </a:lnTo>
                <a:lnTo>
                  <a:pt x="3595" y="1639"/>
                </a:lnTo>
                <a:lnTo>
                  <a:pt x="3588" y="1651"/>
                </a:lnTo>
                <a:lnTo>
                  <a:pt x="3578" y="1661"/>
                </a:lnTo>
                <a:lnTo>
                  <a:pt x="3565" y="1668"/>
                </a:lnTo>
                <a:lnTo>
                  <a:pt x="3550" y="1670"/>
                </a:lnTo>
                <a:lnTo>
                  <a:pt x="3307" y="1670"/>
                </a:lnTo>
                <a:lnTo>
                  <a:pt x="3288" y="1634"/>
                </a:lnTo>
                <a:lnTo>
                  <a:pt x="3264" y="1600"/>
                </a:lnTo>
                <a:lnTo>
                  <a:pt x="3236" y="1570"/>
                </a:lnTo>
                <a:lnTo>
                  <a:pt x="3205" y="1544"/>
                </a:lnTo>
                <a:lnTo>
                  <a:pt x="3170" y="1521"/>
                </a:lnTo>
                <a:lnTo>
                  <a:pt x="3133" y="1502"/>
                </a:lnTo>
                <a:lnTo>
                  <a:pt x="3094" y="1489"/>
                </a:lnTo>
                <a:lnTo>
                  <a:pt x="3052" y="1480"/>
                </a:lnTo>
                <a:lnTo>
                  <a:pt x="3009" y="1478"/>
                </a:lnTo>
                <a:lnTo>
                  <a:pt x="2965" y="1480"/>
                </a:lnTo>
                <a:lnTo>
                  <a:pt x="2924" y="1489"/>
                </a:lnTo>
                <a:lnTo>
                  <a:pt x="2884" y="1502"/>
                </a:lnTo>
                <a:lnTo>
                  <a:pt x="2847" y="1521"/>
                </a:lnTo>
                <a:lnTo>
                  <a:pt x="2812" y="1544"/>
                </a:lnTo>
                <a:lnTo>
                  <a:pt x="2782" y="1570"/>
                </a:lnTo>
                <a:lnTo>
                  <a:pt x="2753" y="1600"/>
                </a:lnTo>
                <a:lnTo>
                  <a:pt x="2731" y="1634"/>
                </a:lnTo>
                <a:lnTo>
                  <a:pt x="2711" y="1670"/>
                </a:lnTo>
                <a:lnTo>
                  <a:pt x="2546" y="1670"/>
                </a:lnTo>
                <a:lnTo>
                  <a:pt x="2532" y="1668"/>
                </a:lnTo>
                <a:lnTo>
                  <a:pt x="2519" y="1661"/>
                </a:lnTo>
                <a:lnTo>
                  <a:pt x="2509" y="1651"/>
                </a:lnTo>
                <a:lnTo>
                  <a:pt x="2503" y="1639"/>
                </a:lnTo>
                <a:lnTo>
                  <a:pt x="2500" y="1623"/>
                </a:lnTo>
                <a:lnTo>
                  <a:pt x="2500" y="517"/>
                </a:lnTo>
                <a:lnTo>
                  <a:pt x="2503" y="503"/>
                </a:lnTo>
                <a:lnTo>
                  <a:pt x="2509" y="490"/>
                </a:lnTo>
                <a:lnTo>
                  <a:pt x="2519" y="480"/>
                </a:lnTo>
                <a:lnTo>
                  <a:pt x="2532" y="473"/>
                </a:lnTo>
                <a:lnTo>
                  <a:pt x="2546" y="471"/>
                </a:lnTo>
                <a:close/>
                <a:moveTo>
                  <a:pt x="0" y="0"/>
                </a:moveTo>
                <a:lnTo>
                  <a:pt x="2388" y="0"/>
                </a:lnTo>
                <a:lnTo>
                  <a:pt x="2388" y="1319"/>
                </a:lnTo>
                <a:lnTo>
                  <a:pt x="0" y="131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0">
            <a:solidFill>
              <a:schemeClr val="accent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551" name="Oval 550">
            <a:extLst>
              <a:ext uri="{FF2B5EF4-FFF2-40B4-BE49-F238E27FC236}">
                <a16:creationId xmlns:a16="http://schemas.microsoft.com/office/drawing/2014/main" id="{F4F3BF07-39DB-4804-9CC6-E019411096A1}"/>
              </a:ext>
            </a:extLst>
          </p:cNvPr>
          <p:cNvSpPr/>
          <p:nvPr/>
        </p:nvSpPr>
        <p:spPr>
          <a:xfrm>
            <a:off x="2751269" y="2980870"/>
            <a:ext cx="581274" cy="581274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52" name="Oval 551">
            <a:extLst>
              <a:ext uri="{FF2B5EF4-FFF2-40B4-BE49-F238E27FC236}">
                <a16:creationId xmlns:a16="http://schemas.microsoft.com/office/drawing/2014/main" id="{07564807-C142-4BA1-A139-A31041762F4B}"/>
              </a:ext>
            </a:extLst>
          </p:cNvPr>
          <p:cNvSpPr/>
          <p:nvPr/>
        </p:nvSpPr>
        <p:spPr>
          <a:xfrm>
            <a:off x="4911631" y="2755485"/>
            <a:ext cx="1014011" cy="1014012"/>
          </a:xfrm>
          <a:prstGeom prst="ellipse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60" name="Oval 559">
            <a:extLst>
              <a:ext uri="{FF2B5EF4-FFF2-40B4-BE49-F238E27FC236}">
                <a16:creationId xmlns:a16="http://schemas.microsoft.com/office/drawing/2014/main" id="{3C4E0E0E-E982-450E-B246-C64F658921A2}"/>
              </a:ext>
            </a:extLst>
          </p:cNvPr>
          <p:cNvSpPr/>
          <p:nvPr/>
        </p:nvSpPr>
        <p:spPr>
          <a:xfrm>
            <a:off x="4284954" y="3774420"/>
            <a:ext cx="774405" cy="774405"/>
          </a:xfrm>
          <a:prstGeom prst="ellipse">
            <a:avLst/>
          </a:prstGeom>
          <a:solidFill>
            <a:srgbClr val="EE9D4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61" name="Oval 560">
            <a:extLst>
              <a:ext uri="{FF2B5EF4-FFF2-40B4-BE49-F238E27FC236}">
                <a16:creationId xmlns:a16="http://schemas.microsoft.com/office/drawing/2014/main" id="{F72E8536-36CD-4922-96C3-A43EA5A137ED}"/>
              </a:ext>
            </a:extLst>
          </p:cNvPr>
          <p:cNvSpPr/>
          <p:nvPr/>
        </p:nvSpPr>
        <p:spPr>
          <a:xfrm>
            <a:off x="2248203" y="4090245"/>
            <a:ext cx="142754" cy="142754"/>
          </a:xfrm>
          <a:prstGeom prst="ellipse">
            <a:avLst/>
          </a:prstGeom>
          <a:solidFill>
            <a:srgbClr val="EE9D4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75" name="Oval 574">
            <a:extLst>
              <a:ext uri="{FF2B5EF4-FFF2-40B4-BE49-F238E27FC236}">
                <a16:creationId xmlns:a16="http://schemas.microsoft.com/office/drawing/2014/main" id="{044B2594-8E3A-449A-B5A9-25DE3F6FD8AC}"/>
              </a:ext>
            </a:extLst>
          </p:cNvPr>
          <p:cNvSpPr/>
          <p:nvPr/>
        </p:nvSpPr>
        <p:spPr>
          <a:xfrm>
            <a:off x="3402935" y="4865136"/>
            <a:ext cx="427448" cy="427448"/>
          </a:xfrm>
          <a:prstGeom prst="ellipse">
            <a:avLst/>
          </a:prstGeom>
          <a:solidFill>
            <a:srgbClr val="86ADA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76" name="Oval 575">
            <a:extLst>
              <a:ext uri="{FF2B5EF4-FFF2-40B4-BE49-F238E27FC236}">
                <a16:creationId xmlns:a16="http://schemas.microsoft.com/office/drawing/2014/main" id="{6DC236CC-1F71-49AF-AFB7-2308AF1DAD4A}"/>
              </a:ext>
            </a:extLst>
          </p:cNvPr>
          <p:cNvSpPr/>
          <p:nvPr/>
        </p:nvSpPr>
        <p:spPr>
          <a:xfrm>
            <a:off x="6092655" y="4691660"/>
            <a:ext cx="774405" cy="774405"/>
          </a:xfrm>
          <a:prstGeom prst="ellipse">
            <a:avLst/>
          </a:prstGeom>
          <a:solidFill>
            <a:srgbClr val="86ADA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80" name="Freeform 137">
            <a:extLst>
              <a:ext uri="{FF2B5EF4-FFF2-40B4-BE49-F238E27FC236}">
                <a16:creationId xmlns:a16="http://schemas.microsoft.com/office/drawing/2014/main" id="{8EAF3F4B-C1FA-46C4-B41B-78E4D8D00970}"/>
              </a:ext>
            </a:extLst>
          </p:cNvPr>
          <p:cNvSpPr>
            <a:spLocks noEditPoints="1"/>
          </p:cNvSpPr>
          <p:nvPr/>
        </p:nvSpPr>
        <p:spPr bwMode="auto">
          <a:xfrm>
            <a:off x="4273331" y="4964606"/>
            <a:ext cx="259269" cy="228508"/>
          </a:xfrm>
          <a:custGeom>
            <a:avLst/>
            <a:gdLst>
              <a:gd name="T0" fmla="*/ 1 w 2948"/>
              <a:gd name="T1" fmla="*/ 2366 h 2600"/>
              <a:gd name="T2" fmla="*/ 758 w 2948"/>
              <a:gd name="T3" fmla="*/ 2230 h 2600"/>
              <a:gd name="T4" fmla="*/ 774 w 2948"/>
              <a:gd name="T5" fmla="*/ 1442 h 2600"/>
              <a:gd name="T6" fmla="*/ 348 w 2948"/>
              <a:gd name="T7" fmla="*/ 1356 h 2600"/>
              <a:gd name="T8" fmla="*/ 4 w 2948"/>
              <a:gd name="T9" fmla="*/ 1164 h 2600"/>
              <a:gd name="T10" fmla="*/ 981 w 2948"/>
              <a:gd name="T11" fmla="*/ 1040 h 2600"/>
              <a:gd name="T12" fmla="*/ 1961 w 2948"/>
              <a:gd name="T13" fmla="*/ 1158 h 2600"/>
              <a:gd name="T14" fmla="*/ 1644 w 2948"/>
              <a:gd name="T15" fmla="*/ 1332 h 2600"/>
              <a:gd name="T16" fmla="*/ 1094 w 2948"/>
              <a:gd name="T17" fmla="*/ 1431 h 2600"/>
              <a:gd name="T18" fmla="*/ 1104 w 2948"/>
              <a:gd name="T19" fmla="*/ 2227 h 2600"/>
              <a:gd name="T20" fmla="*/ 1958 w 2948"/>
              <a:gd name="T21" fmla="*/ 2374 h 2600"/>
              <a:gd name="T22" fmla="*/ 1961 w 2948"/>
              <a:gd name="T23" fmla="*/ 2600 h 2600"/>
              <a:gd name="T24" fmla="*/ 1 w 2948"/>
              <a:gd name="T25" fmla="*/ 2600 h 2600"/>
              <a:gd name="T26" fmla="*/ 2028 w 2948"/>
              <a:gd name="T27" fmla="*/ 2416 h 2600"/>
              <a:gd name="T28" fmla="*/ 2484 w 2948"/>
              <a:gd name="T29" fmla="*/ 1439 h 2600"/>
              <a:gd name="T30" fmla="*/ 2488 w 2948"/>
              <a:gd name="T31" fmla="*/ 1554 h 2600"/>
              <a:gd name="T32" fmla="*/ 2028 w 2948"/>
              <a:gd name="T33" fmla="*/ 2416 h 2600"/>
              <a:gd name="T34" fmla="*/ 434 w 2948"/>
              <a:gd name="T35" fmla="*/ 2022 h 2600"/>
              <a:gd name="T36" fmla="*/ 731 w 2948"/>
              <a:gd name="T37" fmla="*/ 1970 h 2600"/>
              <a:gd name="T38" fmla="*/ 123 w 2948"/>
              <a:gd name="T39" fmla="*/ 2294 h 2600"/>
              <a:gd name="T40" fmla="*/ 1531 w 2948"/>
              <a:gd name="T41" fmla="*/ 2236 h 2600"/>
              <a:gd name="T42" fmla="*/ 1522 w 2948"/>
              <a:gd name="T43" fmla="*/ 1747 h 2600"/>
              <a:gd name="T44" fmla="*/ 1939 w 2948"/>
              <a:gd name="T45" fmla="*/ 1316 h 2600"/>
              <a:gd name="T46" fmla="*/ 2354 w 2948"/>
              <a:gd name="T47" fmla="*/ 885 h 2600"/>
              <a:gd name="T48" fmla="*/ 2832 w 2948"/>
              <a:gd name="T49" fmla="*/ 494 h 2600"/>
              <a:gd name="T50" fmla="*/ 2417 w 2948"/>
              <a:gd name="T51" fmla="*/ 1424 h 2600"/>
              <a:gd name="T52" fmla="*/ 1531 w 2948"/>
              <a:gd name="T53" fmla="*/ 2236 h 2600"/>
              <a:gd name="T54" fmla="*/ 1148 w 2948"/>
              <a:gd name="T55" fmla="*/ 1446 h 2600"/>
              <a:gd name="T56" fmla="*/ 1811 w 2948"/>
              <a:gd name="T57" fmla="*/ 1353 h 2600"/>
              <a:gd name="T58" fmla="*/ 1148 w 2948"/>
              <a:gd name="T59" fmla="*/ 2127 h 2600"/>
              <a:gd name="T60" fmla="*/ 1988 w 2948"/>
              <a:gd name="T61" fmla="*/ 1137 h 2600"/>
              <a:gd name="T62" fmla="*/ 2457 w 2948"/>
              <a:gd name="T63" fmla="*/ 520 h 2600"/>
              <a:gd name="T64" fmla="*/ 2948 w 2948"/>
              <a:gd name="T65" fmla="*/ 64 h 2600"/>
              <a:gd name="T66" fmla="*/ 2026 w 2948"/>
              <a:gd name="T67" fmla="*/ 1211 h 2600"/>
              <a:gd name="T68" fmla="*/ 1988 w 2948"/>
              <a:gd name="T69" fmla="*/ 1137 h 2600"/>
              <a:gd name="T70" fmla="*/ 1191 w 2948"/>
              <a:gd name="T71" fmla="*/ 502 h 2600"/>
              <a:gd name="T72" fmla="*/ 2591 w 2948"/>
              <a:gd name="T73" fmla="*/ 4 h 2600"/>
              <a:gd name="T74" fmla="*/ 2430 w 2948"/>
              <a:gd name="T75" fmla="*/ 510 h 2600"/>
              <a:gd name="T76" fmla="*/ 1021 w 2948"/>
              <a:gd name="T77" fmla="*/ 1017 h 2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948" h="2600">
                <a:moveTo>
                  <a:pt x="1" y="2483"/>
                </a:moveTo>
                <a:lnTo>
                  <a:pt x="1" y="2366"/>
                </a:lnTo>
                <a:lnTo>
                  <a:pt x="371" y="2301"/>
                </a:lnTo>
                <a:cubicBezTo>
                  <a:pt x="575" y="2266"/>
                  <a:pt x="749" y="2234"/>
                  <a:pt x="758" y="2230"/>
                </a:cubicBezTo>
                <a:cubicBezTo>
                  <a:pt x="770" y="2226"/>
                  <a:pt x="774" y="2134"/>
                  <a:pt x="774" y="1833"/>
                </a:cubicBezTo>
                <a:lnTo>
                  <a:pt x="774" y="1442"/>
                </a:lnTo>
                <a:lnTo>
                  <a:pt x="731" y="1433"/>
                </a:lnTo>
                <a:cubicBezTo>
                  <a:pt x="707" y="1429"/>
                  <a:pt x="535" y="1394"/>
                  <a:pt x="348" y="1356"/>
                </a:cubicBezTo>
                <a:lnTo>
                  <a:pt x="8" y="1287"/>
                </a:lnTo>
                <a:lnTo>
                  <a:pt x="4" y="1164"/>
                </a:lnTo>
                <a:lnTo>
                  <a:pt x="0" y="1040"/>
                </a:lnTo>
                <a:lnTo>
                  <a:pt x="981" y="1040"/>
                </a:lnTo>
                <a:lnTo>
                  <a:pt x="1961" y="1040"/>
                </a:lnTo>
                <a:lnTo>
                  <a:pt x="1961" y="1158"/>
                </a:lnTo>
                <a:lnTo>
                  <a:pt x="1961" y="1276"/>
                </a:lnTo>
                <a:lnTo>
                  <a:pt x="1644" y="1332"/>
                </a:lnTo>
                <a:cubicBezTo>
                  <a:pt x="1470" y="1363"/>
                  <a:pt x="1275" y="1398"/>
                  <a:pt x="1211" y="1409"/>
                </a:cubicBezTo>
                <a:lnTo>
                  <a:pt x="1094" y="1431"/>
                </a:lnTo>
                <a:lnTo>
                  <a:pt x="1094" y="1829"/>
                </a:lnTo>
                <a:cubicBezTo>
                  <a:pt x="1094" y="2048"/>
                  <a:pt x="1099" y="2227"/>
                  <a:pt x="1104" y="2227"/>
                </a:cubicBezTo>
                <a:cubicBezTo>
                  <a:pt x="1110" y="2227"/>
                  <a:pt x="1303" y="2260"/>
                  <a:pt x="1534" y="2301"/>
                </a:cubicBezTo>
                <a:cubicBezTo>
                  <a:pt x="1765" y="2341"/>
                  <a:pt x="1956" y="2374"/>
                  <a:pt x="1958" y="2374"/>
                </a:cubicBezTo>
                <a:cubicBezTo>
                  <a:pt x="1959" y="2374"/>
                  <a:pt x="1961" y="2425"/>
                  <a:pt x="1961" y="2487"/>
                </a:cubicBezTo>
                <a:lnTo>
                  <a:pt x="1961" y="2600"/>
                </a:lnTo>
                <a:lnTo>
                  <a:pt x="981" y="2600"/>
                </a:lnTo>
                <a:lnTo>
                  <a:pt x="1" y="2600"/>
                </a:lnTo>
                <a:lnTo>
                  <a:pt x="1" y="2483"/>
                </a:lnTo>
                <a:close/>
                <a:moveTo>
                  <a:pt x="2028" y="2416"/>
                </a:moveTo>
                <a:lnTo>
                  <a:pt x="2028" y="2319"/>
                </a:lnTo>
                <a:lnTo>
                  <a:pt x="2484" y="1439"/>
                </a:lnTo>
                <a:cubicBezTo>
                  <a:pt x="2735" y="954"/>
                  <a:pt x="2943" y="566"/>
                  <a:pt x="2945" y="577"/>
                </a:cubicBezTo>
                <a:cubicBezTo>
                  <a:pt x="2947" y="587"/>
                  <a:pt x="2741" y="1027"/>
                  <a:pt x="2488" y="1554"/>
                </a:cubicBezTo>
                <a:lnTo>
                  <a:pt x="2028" y="2514"/>
                </a:lnTo>
                <a:lnTo>
                  <a:pt x="2028" y="2416"/>
                </a:lnTo>
                <a:close/>
                <a:moveTo>
                  <a:pt x="128" y="2282"/>
                </a:moveTo>
                <a:cubicBezTo>
                  <a:pt x="135" y="2275"/>
                  <a:pt x="273" y="2158"/>
                  <a:pt x="434" y="2022"/>
                </a:cubicBezTo>
                <a:lnTo>
                  <a:pt x="728" y="1775"/>
                </a:lnTo>
                <a:lnTo>
                  <a:pt x="731" y="1970"/>
                </a:lnTo>
                <a:cubicBezTo>
                  <a:pt x="733" y="2077"/>
                  <a:pt x="733" y="2166"/>
                  <a:pt x="731" y="2168"/>
                </a:cubicBezTo>
                <a:cubicBezTo>
                  <a:pt x="727" y="2172"/>
                  <a:pt x="138" y="2294"/>
                  <a:pt x="123" y="2294"/>
                </a:cubicBezTo>
                <a:cubicBezTo>
                  <a:pt x="119" y="2294"/>
                  <a:pt x="121" y="2288"/>
                  <a:pt x="128" y="2282"/>
                </a:cubicBezTo>
                <a:close/>
                <a:moveTo>
                  <a:pt x="1531" y="2236"/>
                </a:moveTo>
                <a:cubicBezTo>
                  <a:pt x="1335" y="2206"/>
                  <a:pt x="1174" y="2178"/>
                  <a:pt x="1174" y="2173"/>
                </a:cubicBezTo>
                <a:cubicBezTo>
                  <a:pt x="1174" y="2169"/>
                  <a:pt x="1331" y="1977"/>
                  <a:pt x="1522" y="1747"/>
                </a:cubicBezTo>
                <a:lnTo>
                  <a:pt x="1870" y="1327"/>
                </a:lnTo>
                <a:lnTo>
                  <a:pt x="1939" y="1316"/>
                </a:lnTo>
                <a:lnTo>
                  <a:pt x="2008" y="1304"/>
                </a:lnTo>
                <a:lnTo>
                  <a:pt x="2354" y="885"/>
                </a:lnTo>
                <a:cubicBezTo>
                  <a:pt x="2634" y="547"/>
                  <a:pt x="2706" y="467"/>
                  <a:pt x="2728" y="472"/>
                </a:cubicBezTo>
                <a:cubicBezTo>
                  <a:pt x="2742" y="476"/>
                  <a:pt x="2789" y="485"/>
                  <a:pt x="2832" y="494"/>
                </a:cubicBezTo>
                <a:cubicBezTo>
                  <a:pt x="2896" y="507"/>
                  <a:pt x="2908" y="513"/>
                  <a:pt x="2901" y="532"/>
                </a:cubicBezTo>
                <a:cubicBezTo>
                  <a:pt x="2897" y="544"/>
                  <a:pt x="2679" y="945"/>
                  <a:pt x="2417" y="1424"/>
                </a:cubicBezTo>
                <a:cubicBezTo>
                  <a:pt x="2022" y="2147"/>
                  <a:pt x="1937" y="2294"/>
                  <a:pt x="1915" y="2292"/>
                </a:cubicBezTo>
                <a:cubicBezTo>
                  <a:pt x="1900" y="2291"/>
                  <a:pt x="1727" y="2266"/>
                  <a:pt x="1531" y="2236"/>
                </a:cubicBezTo>
                <a:close/>
                <a:moveTo>
                  <a:pt x="1148" y="1787"/>
                </a:moveTo>
                <a:lnTo>
                  <a:pt x="1148" y="1446"/>
                </a:lnTo>
                <a:lnTo>
                  <a:pt x="1477" y="1398"/>
                </a:lnTo>
                <a:cubicBezTo>
                  <a:pt x="1659" y="1371"/>
                  <a:pt x="1809" y="1351"/>
                  <a:pt x="1811" y="1353"/>
                </a:cubicBezTo>
                <a:cubicBezTo>
                  <a:pt x="1816" y="1357"/>
                  <a:pt x="1246" y="2025"/>
                  <a:pt x="1180" y="2094"/>
                </a:cubicBezTo>
                <a:lnTo>
                  <a:pt x="1148" y="2127"/>
                </a:lnTo>
                <a:lnTo>
                  <a:pt x="1148" y="1787"/>
                </a:lnTo>
                <a:close/>
                <a:moveTo>
                  <a:pt x="1988" y="1137"/>
                </a:moveTo>
                <a:lnTo>
                  <a:pt x="1988" y="1019"/>
                </a:lnTo>
                <a:lnTo>
                  <a:pt x="2457" y="520"/>
                </a:lnTo>
                <a:cubicBezTo>
                  <a:pt x="2715" y="245"/>
                  <a:pt x="2931" y="18"/>
                  <a:pt x="2937" y="16"/>
                </a:cubicBezTo>
                <a:cubicBezTo>
                  <a:pt x="2943" y="14"/>
                  <a:pt x="2948" y="35"/>
                  <a:pt x="2948" y="64"/>
                </a:cubicBezTo>
                <a:cubicBezTo>
                  <a:pt x="2948" y="114"/>
                  <a:pt x="2923" y="146"/>
                  <a:pt x="2506" y="642"/>
                </a:cubicBezTo>
                <a:cubicBezTo>
                  <a:pt x="2263" y="931"/>
                  <a:pt x="2047" y="1187"/>
                  <a:pt x="2026" y="1211"/>
                </a:cubicBezTo>
                <a:lnTo>
                  <a:pt x="1988" y="1255"/>
                </a:lnTo>
                <a:lnTo>
                  <a:pt x="1988" y="1137"/>
                </a:lnTo>
                <a:close/>
                <a:moveTo>
                  <a:pt x="105" y="1012"/>
                </a:moveTo>
                <a:cubicBezTo>
                  <a:pt x="110" y="1007"/>
                  <a:pt x="599" y="778"/>
                  <a:pt x="1191" y="502"/>
                </a:cubicBezTo>
                <a:lnTo>
                  <a:pt x="2268" y="0"/>
                </a:lnTo>
                <a:lnTo>
                  <a:pt x="2591" y="4"/>
                </a:lnTo>
                <a:lnTo>
                  <a:pt x="2914" y="7"/>
                </a:lnTo>
                <a:lnTo>
                  <a:pt x="2430" y="510"/>
                </a:lnTo>
                <a:lnTo>
                  <a:pt x="1946" y="1013"/>
                </a:lnTo>
                <a:lnTo>
                  <a:pt x="1021" y="1017"/>
                </a:lnTo>
                <a:cubicBezTo>
                  <a:pt x="512" y="1019"/>
                  <a:pt x="100" y="1017"/>
                  <a:pt x="105" y="1012"/>
                </a:cubicBezTo>
                <a:close/>
              </a:path>
            </a:pathLst>
          </a:custGeom>
          <a:solidFill>
            <a:schemeClr val="bg1"/>
          </a:solidFill>
          <a:ln w="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581" name="Oval 580">
            <a:extLst>
              <a:ext uri="{FF2B5EF4-FFF2-40B4-BE49-F238E27FC236}">
                <a16:creationId xmlns:a16="http://schemas.microsoft.com/office/drawing/2014/main" id="{E14770A0-DDB3-40FC-A6C7-058EB1338C04}"/>
              </a:ext>
            </a:extLst>
          </p:cNvPr>
          <p:cNvSpPr/>
          <p:nvPr/>
        </p:nvSpPr>
        <p:spPr>
          <a:xfrm>
            <a:off x="9408233" y="2193820"/>
            <a:ext cx="293684" cy="29368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35888A6-3994-4F9F-A919-DD67D550BC7C}"/>
              </a:ext>
            </a:extLst>
          </p:cNvPr>
          <p:cNvSpPr/>
          <p:nvPr/>
        </p:nvSpPr>
        <p:spPr>
          <a:xfrm>
            <a:off x="10456417" y="996938"/>
            <a:ext cx="121682" cy="46644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83" name="Oval 582">
            <a:extLst>
              <a:ext uri="{FF2B5EF4-FFF2-40B4-BE49-F238E27FC236}">
                <a16:creationId xmlns:a16="http://schemas.microsoft.com/office/drawing/2014/main" id="{DC0F5A4F-3DA9-4AD1-BAFF-C6395C281D57}"/>
              </a:ext>
            </a:extLst>
          </p:cNvPr>
          <p:cNvSpPr/>
          <p:nvPr/>
        </p:nvSpPr>
        <p:spPr>
          <a:xfrm>
            <a:off x="10559146" y="4680458"/>
            <a:ext cx="760684" cy="760684"/>
          </a:xfrm>
          <a:prstGeom prst="ellipse">
            <a:avLst/>
          </a:prstGeom>
          <a:solidFill>
            <a:srgbClr val="86ADA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308349" y="5473558"/>
            <a:ext cx="359810" cy="175903"/>
            <a:chOff x="10485845" y="5464423"/>
            <a:chExt cx="319355" cy="156125"/>
          </a:xfrm>
        </p:grpSpPr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F5705860-6B8A-4343-89E2-37248C451E19}"/>
                </a:ext>
              </a:extLst>
            </p:cNvPr>
            <p:cNvCxnSpPr/>
            <p:nvPr/>
          </p:nvCxnSpPr>
          <p:spPr>
            <a:xfrm flipH="1">
              <a:off x="10485845" y="5464423"/>
              <a:ext cx="212903" cy="1561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EBB1402C-5B26-4E0C-A0A3-FA4566C2AE52}"/>
                </a:ext>
              </a:extLst>
            </p:cNvPr>
            <p:cNvCxnSpPr/>
            <p:nvPr/>
          </p:nvCxnSpPr>
          <p:spPr>
            <a:xfrm flipH="1">
              <a:off x="10592297" y="5464423"/>
              <a:ext cx="212903" cy="1561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8" name="Oval 517">
            <a:extLst>
              <a:ext uri="{FF2B5EF4-FFF2-40B4-BE49-F238E27FC236}">
                <a16:creationId xmlns:a16="http://schemas.microsoft.com/office/drawing/2014/main" id="{300DE245-FE76-4E3B-BEFB-6B6A6DF963C2}"/>
              </a:ext>
            </a:extLst>
          </p:cNvPr>
          <p:cNvSpPr/>
          <p:nvPr/>
        </p:nvSpPr>
        <p:spPr>
          <a:xfrm>
            <a:off x="6380269" y="2014980"/>
            <a:ext cx="136256" cy="13625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19" name="Oval 518">
            <a:extLst>
              <a:ext uri="{FF2B5EF4-FFF2-40B4-BE49-F238E27FC236}">
                <a16:creationId xmlns:a16="http://schemas.microsoft.com/office/drawing/2014/main" id="{8DA734B1-82A3-4206-8E31-CFE5EF813175}"/>
              </a:ext>
            </a:extLst>
          </p:cNvPr>
          <p:cNvSpPr/>
          <p:nvPr/>
        </p:nvSpPr>
        <p:spPr>
          <a:xfrm>
            <a:off x="6988729" y="2544751"/>
            <a:ext cx="293684" cy="29368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grpSp>
        <p:nvGrpSpPr>
          <p:cNvPr id="182" name="Group 181"/>
          <p:cNvGrpSpPr/>
          <p:nvPr>
            <p:custDataLst>
              <p:tags r:id="rId5"/>
            </p:custDataLst>
          </p:nvPr>
        </p:nvGrpSpPr>
        <p:grpSpPr>
          <a:xfrm>
            <a:off x="3929663" y="1293440"/>
            <a:ext cx="318488" cy="290650"/>
            <a:chOff x="4463908" y="1783372"/>
            <a:chExt cx="915583" cy="835555"/>
          </a:xfrm>
          <a:solidFill>
            <a:schemeClr val="bg1"/>
          </a:solidFill>
        </p:grpSpPr>
        <p:sp>
          <p:nvSpPr>
            <p:cNvPr id="183" name="Freeform 140"/>
            <p:cNvSpPr>
              <a:spLocks noEditPoints="1"/>
            </p:cNvSpPr>
            <p:nvPr/>
          </p:nvSpPr>
          <p:spPr bwMode="auto">
            <a:xfrm>
              <a:off x="4482220" y="1849951"/>
              <a:ext cx="849203" cy="742346"/>
            </a:xfrm>
            <a:custGeom>
              <a:avLst/>
              <a:gdLst>
                <a:gd name="T0" fmla="*/ 38 w 742"/>
                <a:gd name="T1" fmla="*/ 412 h 446"/>
                <a:gd name="T2" fmla="*/ 50 w 742"/>
                <a:gd name="T3" fmla="*/ 408 h 446"/>
                <a:gd name="T4" fmla="*/ 54 w 742"/>
                <a:gd name="T5" fmla="*/ 148 h 446"/>
                <a:gd name="T6" fmla="*/ 120 w 742"/>
                <a:gd name="T7" fmla="*/ 206 h 446"/>
                <a:gd name="T8" fmla="*/ 222 w 742"/>
                <a:gd name="T9" fmla="*/ 316 h 446"/>
                <a:gd name="T10" fmla="*/ 234 w 742"/>
                <a:gd name="T11" fmla="*/ 322 h 446"/>
                <a:gd name="T12" fmla="*/ 240 w 742"/>
                <a:gd name="T13" fmla="*/ 320 h 446"/>
                <a:gd name="T14" fmla="*/ 250 w 742"/>
                <a:gd name="T15" fmla="*/ 310 h 446"/>
                <a:gd name="T16" fmla="*/ 314 w 742"/>
                <a:gd name="T17" fmla="*/ 316 h 446"/>
                <a:gd name="T18" fmla="*/ 326 w 742"/>
                <a:gd name="T19" fmla="*/ 322 h 446"/>
                <a:gd name="T20" fmla="*/ 332 w 742"/>
                <a:gd name="T21" fmla="*/ 320 h 446"/>
                <a:gd name="T22" fmla="*/ 342 w 742"/>
                <a:gd name="T23" fmla="*/ 310 h 446"/>
                <a:gd name="T24" fmla="*/ 414 w 742"/>
                <a:gd name="T25" fmla="*/ 326 h 446"/>
                <a:gd name="T26" fmla="*/ 414 w 742"/>
                <a:gd name="T27" fmla="*/ 402 h 446"/>
                <a:gd name="T28" fmla="*/ 430 w 742"/>
                <a:gd name="T29" fmla="*/ 412 h 446"/>
                <a:gd name="T30" fmla="*/ 514 w 742"/>
                <a:gd name="T31" fmla="*/ 412 h 446"/>
                <a:gd name="T32" fmla="*/ 524 w 742"/>
                <a:gd name="T33" fmla="*/ 402 h 446"/>
                <a:gd name="T34" fmla="*/ 524 w 742"/>
                <a:gd name="T35" fmla="*/ 402 h 446"/>
                <a:gd name="T36" fmla="*/ 532 w 742"/>
                <a:gd name="T37" fmla="*/ 406 h 446"/>
                <a:gd name="T38" fmla="*/ 546 w 742"/>
                <a:gd name="T39" fmla="*/ 410 h 446"/>
                <a:gd name="T40" fmla="*/ 638 w 742"/>
                <a:gd name="T41" fmla="*/ 412 h 446"/>
                <a:gd name="T42" fmla="*/ 652 w 742"/>
                <a:gd name="T43" fmla="*/ 404 h 446"/>
                <a:gd name="T44" fmla="*/ 662 w 742"/>
                <a:gd name="T45" fmla="*/ 404 h 446"/>
                <a:gd name="T46" fmla="*/ 666 w 742"/>
                <a:gd name="T47" fmla="*/ 402 h 446"/>
                <a:gd name="T48" fmla="*/ 672 w 742"/>
                <a:gd name="T49" fmla="*/ 410 h 446"/>
                <a:gd name="T50" fmla="*/ 724 w 742"/>
                <a:gd name="T51" fmla="*/ 412 h 446"/>
                <a:gd name="T52" fmla="*/ 554 w 742"/>
                <a:gd name="T53" fmla="*/ 162 h 446"/>
                <a:gd name="T54" fmla="*/ 550 w 742"/>
                <a:gd name="T55" fmla="*/ 158 h 446"/>
                <a:gd name="T56" fmla="*/ 556 w 742"/>
                <a:gd name="T57" fmla="*/ 158 h 446"/>
                <a:gd name="T58" fmla="*/ 556 w 742"/>
                <a:gd name="T59" fmla="*/ 158 h 446"/>
                <a:gd name="T60" fmla="*/ 638 w 742"/>
                <a:gd name="T61" fmla="*/ 162 h 446"/>
                <a:gd name="T62" fmla="*/ 634 w 742"/>
                <a:gd name="T63" fmla="*/ 158 h 446"/>
                <a:gd name="T64" fmla="*/ 638 w 742"/>
                <a:gd name="T65" fmla="*/ 156 h 446"/>
                <a:gd name="T66" fmla="*/ 640 w 742"/>
                <a:gd name="T67" fmla="*/ 158 h 446"/>
                <a:gd name="T68" fmla="*/ 710 w 742"/>
                <a:gd name="T69" fmla="*/ 156 h 446"/>
                <a:gd name="T70" fmla="*/ 702 w 742"/>
                <a:gd name="T71" fmla="*/ 152 h 446"/>
                <a:gd name="T72" fmla="*/ 704 w 742"/>
                <a:gd name="T73" fmla="*/ 146 h 446"/>
                <a:gd name="T74" fmla="*/ 720 w 742"/>
                <a:gd name="T75" fmla="*/ 152 h 446"/>
                <a:gd name="T76" fmla="*/ 710 w 742"/>
                <a:gd name="T77" fmla="*/ 156 h 446"/>
                <a:gd name="T78" fmla="*/ 482 w 742"/>
                <a:gd name="T79" fmla="*/ 156 h 446"/>
                <a:gd name="T80" fmla="*/ 448 w 742"/>
                <a:gd name="T81" fmla="*/ 152 h 446"/>
                <a:gd name="T82" fmla="*/ 488 w 742"/>
                <a:gd name="T83" fmla="*/ 146 h 446"/>
                <a:gd name="T84" fmla="*/ 490 w 742"/>
                <a:gd name="T85" fmla="*/ 152 h 446"/>
                <a:gd name="T86" fmla="*/ 482 w 742"/>
                <a:gd name="T87" fmla="*/ 156 h 446"/>
                <a:gd name="T88" fmla="*/ 514 w 742"/>
                <a:gd name="T89" fmla="*/ 0 h 446"/>
                <a:gd name="T90" fmla="*/ 516 w 742"/>
                <a:gd name="T91" fmla="*/ 8 h 446"/>
                <a:gd name="T92" fmla="*/ 676 w 742"/>
                <a:gd name="T93" fmla="*/ 8 h 446"/>
                <a:gd name="T94" fmla="*/ 676 w 742"/>
                <a:gd name="T95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2" h="446">
                  <a:moveTo>
                    <a:pt x="0" y="446"/>
                  </a:moveTo>
                  <a:lnTo>
                    <a:pt x="0" y="412"/>
                  </a:lnTo>
                  <a:lnTo>
                    <a:pt x="38" y="412"/>
                  </a:lnTo>
                  <a:lnTo>
                    <a:pt x="38" y="412"/>
                  </a:lnTo>
                  <a:lnTo>
                    <a:pt x="44" y="410"/>
                  </a:lnTo>
                  <a:lnTo>
                    <a:pt x="50" y="408"/>
                  </a:lnTo>
                  <a:lnTo>
                    <a:pt x="54" y="402"/>
                  </a:lnTo>
                  <a:lnTo>
                    <a:pt x="54" y="396"/>
                  </a:lnTo>
                  <a:lnTo>
                    <a:pt x="54" y="148"/>
                  </a:lnTo>
                  <a:lnTo>
                    <a:pt x="120" y="148"/>
                  </a:lnTo>
                  <a:lnTo>
                    <a:pt x="120" y="206"/>
                  </a:lnTo>
                  <a:lnTo>
                    <a:pt x="120" y="206"/>
                  </a:lnTo>
                  <a:lnTo>
                    <a:pt x="122" y="212"/>
                  </a:lnTo>
                  <a:lnTo>
                    <a:pt x="124" y="218"/>
                  </a:lnTo>
                  <a:lnTo>
                    <a:pt x="222" y="316"/>
                  </a:lnTo>
                  <a:lnTo>
                    <a:pt x="222" y="316"/>
                  </a:lnTo>
                  <a:lnTo>
                    <a:pt x="228" y="320"/>
                  </a:lnTo>
                  <a:lnTo>
                    <a:pt x="234" y="322"/>
                  </a:lnTo>
                  <a:lnTo>
                    <a:pt x="234" y="322"/>
                  </a:lnTo>
                  <a:lnTo>
                    <a:pt x="240" y="320"/>
                  </a:lnTo>
                  <a:lnTo>
                    <a:pt x="240" y="320"/>
                  </a:lnTo>
                  <a:lnTo>
                    <a:pt x="244" y="318"/>
                  </a:lnTo>
                  <a:lnTo>
                    <a:pt x="248" y="314"/>
                  </a:lnTo>
                  <a:lnTo>
                    <a:pt x="250" y="310"/>
                  </a:lnTo>
                  <a:lnTo>
                    <a:pt x="250" y="306"/>
                  </a:lnTo>
                  <a:lnTo>
                    <a:pt x="250" y="256"/>
                  </a:lnTo>
                  <a:lnTo>
                    <a:pt x="314" y="316"/>
                  </a:lnTo>
                  <a:lnTo>
                    <a:pt x="314" y="316"/>
                  </a:lnTo>
                  <a:lnTo>
                    <a:pt x="320" y="320"/>
                  </a:lnTo>
                  <a:lnTo>
                    <a:pt x="326" y="322"/>
                  </a:lnTo>
                  <a:lnTo>
                    <a:pt x="326" y="322"/>
                  </a:lnTo>
                  <a:lnTo>
                    <a:pt x="332" y="320"/>
                  </a:lnTo>
                  <a:lnTo>
                    <a:pt x="332" y="320"/>
                  </a:lnTo>
                  <a:lnTo>
                    <a:pt x="336" y="318"/>
                  </a:lnTo>
                  <a:lnTo>
                    <a:pt x="340" y="314"/>
                  </a:lnTo>
                  <a:lnTo>
                    <a:pt x="342" y="310"/>
                  </a:lnTo>
                  <a:lnTo>
                    <a:pt x="342" y="306"/>
                  </a:lnTo>
                  <a:lnTo>
                    <a:pt x="342" y="260"/>
                  </a:lnTo>
                  <a:lnTo>
                    <a:pt x="414" y="326"/>
                  </a:lnTo>
                  <a:lnTo>
                    <a:pt x="414" y="396"/>
                  </a:lnTo>
                  <a:lnTo>
                    <a:pt x="414" y="396"/>
                  </a:lnTo>
                  <a:lnTo>
                    <a:pt x="414" y="402"/>
                  </a:lnTo>
                  <a:lnTo>
                    <a:pt x="418" y="408"/>
                  </a:lnTo>
                  <a:lnTo>
                    <a:pt x="422" y="410"/>
                  </a:lnTo>
                  <a:lnTo>
                    <a:pt x="430" y="412"/>
                  </a:lnTo>
                  <a:lnTo>
                    <a:pt x="508" y="412"/>
                  </a:lnTo>
                  <a:lnTo>
                    <a:pt x="508" y="412"/>
                  </a:lnTo>
                  <a:lnTo>
                    <a:pt x="514" y="412"/>
                  </a:lnTo>
                  <a:lnTo>
                    <a:pt x="518" y="410"/>
                  </a:lnTo>
                  <a:lnTo>
                    <a:pt x="522" y="406"/>
                  </a:lnTo>
                  <a:lnTo>
                    <a:pt x="524" y="402"/>
                  </a:lnTo>
                  <a:lnTo>
                    <a:pt x="524" y="402"/>
                  </a:lnTo>
                  <a:lnTo>
                    <a:pt x="524" y="402"/>
                  </a:lnTo>
                  <a:lnTo>
                    <a:pt x="524" y="402"/>
                  </a:lnTo>
                  <a:lnTo>
                    <a:pt x="528" y="404"/>
                  </a:lnTo>
                  <a:lnTo>
                    <a:pt x="532" y="406"/>
                  </a:lnTo>
                  <a:lnTo>
                    <a:pt x="532" y="406"/>
                  </a:lnTo>
                  <a:lnTo>
                    <a:pt x="540" y="404"/>
                  </a:lnTo>
                  <a:lnTo>
                    <a:pt x="540" y="404"/>
                  </a:lnTo>
                  <a:lnTo>
                    <a:pt x="546" y="410"/>
                  </a:lnTo>
                  <a:lnTo>
                    <a:pt x="554" y="412"/>
                  </a:lnTo>
                  <a:lnTo>
                    <a:pt x="638" y="412"/>
                  </a:lnTo>
                  <a:lnTo>
                    <a:pt x="638" y="412"/>
                  </a:lnTo>
                  <a:lnTo>
                    <a:pt x="646" y="410"/>
                  </a:lnTo>
                  <a:lnTo>
                    <a:pt x="652" y="404"/>
                  </a:lnTo>
                  <a:lnTo>
                    <a:pt x="652" y="404"/>
                  </a:lnTo>
                  <a:lnTo>
                    <a:pt x="658" y="406"/>
                  </a:lnTo>
                  <a:lnTo>
                    <a:pt x="658" y="406"/>
                  </a:lnTo>
                  <a:lnTo>
                    <a:pt x="662" y="404"/>
                  </a:lnTo>
                  <a:lnTo>
                    <a:pt x="666" y="402"/>
                  </a:lnTo>
                  <a:lnTo>
                    <a:pt x="666" y="402"/>
                  </a:lnTo>
                  <a:lnTo>
                    <a:pt x="666" y="402"/>
                  </a:lnTo>
                  <a:lnTo>
                    <a:pt x="666" y="402"/>
                  </a:lnTo>
                  <a:lnTo>
                    <a:pt x="670" y="406"/>
                  </a:lnTo>
                  <a:lnTo>
                    <a:pt x="672" y="410"/>
                  </a:lnTo>
                  <a:lnTo>
                    <a:pt x="676" y="412"/>
                  </a:lnTo>
                  <a:lnTo>
                    <a:pt x="682" y="412"/>
                  </a:lnTo>
                  <a:lnTo>
                    <a:pt x="724" y="412"/>
                  </a:lnTo>
                  <a:lnTo>
                    <a:pt x="724" y="446"/>
                  </a:lnTo>
                  <a:lnTo>
                    <a:pt x="0" y="446"/>
                  </a:lnTo>
                  <a:close/>
                  <a:moveTo>
                    <a:pt x="554" y="162"/>
                  </a:moveTo>
                  <a:lnTo>
                    <a:pt x="554" y="162"/>
                  </a:lnTo>
                  <a:lnTo>
                    <a:pt x="550" y="158"/>
                  </a:lnTo>
                  <a:lnTo>
                    <a:pt x="550" y="158"/>
                  </a:lnTo>
                  <a:lnTo>
                    <a:pt x="552" y="156"/>
                  </a:lnTo>
                  <a:lnTo>
                    <a:pt x="552" y="156"/>
                  </a:lnTo>
                  <a:lnTo>
                    <a:pt x="556" y="158"/>
                  </a:lnTo>
                  <a:lnTo>
                    <a:pt x="556" y="158"/>
                  </a:lnTo>
                  <a:lnTo>
                    <a:pt x="556" y="158"/>
                  </a:lnTo>
                  <a:lnTo>
                    <a:pt x="556" y="158"/>
                  </a:lnTo>
                  <a:lnTo>
                    <a:pt x="554" y="162"/>
                  </a:lnTo>
                  <a:lnTo>
                    <a:pt x="554" y="162"/>
                  </a:lnTo>
                  <a:close/>
                  <a:moveTo>
                    <a:pt x="638" y="162"/>
                  </a:moveTo>
                  <a:lnTo>
                    <a:pt x="638" y="162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40" y="158"/>
                  </a:lnTo>
                  <a:lnTo>
                    <a:pt x="640" y="158"/>
                  </a:lnTo>
                  <a:lnTo>
                    <a:pt x="638" y="162"/>
                  </a:lnTo>
                  <a:lnTo>
                    <a:pt x="638" y="162"/>
                  </a:lnTo>
                  <a:close/>
                  <a:moveTo>
                    <a:pt x="710" y="156"/>
                  </a:moveTo>
                  <a:lnTo>
                    <a:pt x="710" y="156"/>
                  </a:lnTo>
                  <a:lnTo>
                    <a:pt x="706" y="154"/>
                  </a:lnTo>
                  <a:lnTo>
                    <a:pt x="702" y="152"/>
                  </a:lnTo>
                  <a:lnTo>
                    <a:pt x="702" y="152"/>
                  </a:lnTo>
                  <a:lnTo>
                    <a:pt x="704" y="146"/>
                  </a:lnTo>
                  <a:lnTo>
                    <a:pt x="704" y="146"/>
                  </a:lnTo>
                  <a:lnTo>
                    <a:pt x="704" y="142"/>
                  </a:lnTo>
                  <a:lnTo>
                    <a:pt x="742" y="152"/>
                  </a:lnTo>
                  <a:lnTo>
                    <a:pt x="720" y="152"/>
                  </a:lnTo>
                  <a:lnTo>
                    <a:pt x="720" y="152"/>
                  </a:lnTo>
                  <a:lnTo>
                    <a:pt x="714" y="154"/>
                  </a:lnTo>
                  <a:lnTo>
                    <a:pt x="710" y="156"/>
                  </a:lnTo>
                  <a:lnTo>
                    <a:pt x="710" y="156"/>
                  </a:lnTo>
                  <a:close/>
                  <a:moveTo>
                    <a:pt x="482" y="156"/>
                  </a:moveTo>
                  <a:lnTo>
                    <a:pt x="482" y="156"/>
                  </a:lnTo>
                  <a:lnTo>
                    <a:pt x="476" y="154"/>
                  </a:lnTo>
                  <a:lnTo>
                    <a:pt x="470" y="152"/>
                  </a:lnTo>
                  <a:lnTo>
                    <a:pt x="448" y="152"/>
                  </a:lnTo>
                  <a:lnTo>
                    <a:pt x="488" y="142"/>
                  </a:lnTo>
                  <a:lnTo>
                    <a:pt x="488" y="142"/>
                  </a:lnTo>
                  <a:lnTo>
                    <a:pt x="488" y="146"/>
                  </a:lnTo>
                  <a:lnTo>
                    <a:pt x="488" y="146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84" y="154"/>
                  </a:lnTo>
                  <a:lnTo>
                    <a:pt x="482" y="156"/>
                  </a:lnTo>
                  <a:lnTo>
                    <a:pt x="482" y="156"/>
                  </a:lnTo>
                  <a:close/>
                  <a:moveTo>
                    <a:pt x="498" y="8"/>
                  </a:moveTo>
                  <a:lnTo>
                    <a:pt x="514" y="0"/>
                  </a:lnTo>
                  <a:lnTo>
                    <a:pt x="514" y="0"/>
                  </a:lnTo>
                  <a:lnTo>
                    <a:pt x="514" y="4"/>
                  </a:lnTo>
                  <a:lnTo>
                    <a:pt x="514" y="4"/>
                  </a:lnTo>
                  <a:lnTo>
                    <a:pt x="516" y="8"/>
                  </a:lnTo>
                  <a:lnTo>
                    <a:pt x="498" y="8"/>
                  </a:lnTo>
                  <a:close/>
                  <a:moveTo>
                    <a:pt x="676" y="8"/>
                  </a:moveTo>
                  <a:lnTo>
                    <a:pt x="676" y="8"/>
                  </a:lnTo>
                  <a:lnTo>
                    <a:pt x="676" y="4"/>
                  </a:lnTo>
                  <a:lnTo>
                    <a:pt x="676" y="4"/>
                  </a:lnTo>
                  <a:lnTo>
                    <a:pt x="676" y="0"/>
                  </a:lnTo>
                  <a:lnTo>
                    <a:pt x="692" y="8"/>
                  </a:lnTo>
                  <a:lnTo>
                    <a:pt x="676" y="8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4" name="Freeform 141"/>
            <p:cNvSpPr>
              <a:spLocks noEditPoints="1"/>
            </p:cNvSpPr>
            <p:nvPr/>
          </p:nvSpPr>
          <p:spPr bwMode="auto">
            <a:xfrm>
              <a:off x="4463908" y="1783372"/>
              <a:ext cx="915583" cy="835555"/>
            </a:xfrm>
            <a:custGeom>
              <a:avLst/>
              <a:gdLst>
                <a:gd name="T0" fmla="*/ 130 w 800"/>
                <a:gd name="T1" fmla="*/ 270 h 502"/>
                <a:gd name="T2" fmla="*/ 250 w 800"/>
                <a:gd name="T3" fmla="*/ 378 h 502"/>
                <a:gd name="T4" fmla="*/ 282 w 800"/>
                <a:gd name="T5" fmla="*/ 346 h 502"/>
                <a:gd name="T6" fmla="*/ 348 w 800"/>
                <a:gd name="T7" fmla="*/ 376 h 502"/>
                <a:gd name="T8" fmla="*/ 374 w 800"/>
                <a:gd name="T9" fmla="*/ 338 h 502"/>
                <a:gd name="T10" fmla="*/ 432 w 800"/>
                <a:gd name="T11" fmla="*/ 466 h 502"/>
                <a:gd name="T12" fmla="*/ 544 w 800"/>
                <a:gd name="T13" fmla="*/ 462 h 502"/>
                <a:gd name="T14" fmla="*/ 654 w 800"/>
                <a:gd name="T15" fmla="*/ 468 h 502"/>
                <a:gd name="T16" fmla="*/ 678 w 800"/>
                <a:gd name="T17" fmla="*/ 462 h 502"/>
                <a:gd name="T18" fmla="*/ 32 w 800"/>
                <a:gd name="T19" fmla="*/ 470 h 502"/>
                <a:gd name="T20" fmla="*/ 84 w 800"/>
                <a:gd name="T21" fmla="*/ 448 h 502"/>
                <a:gd name="T22" fmla="*/ 574 w 800"/>
                <a:gd name="T23" fmla="*/ 0 h 502"/>
                <a:gd name="T24" fmla="*/ 490 w 800"/>
                <a:gd name="T25" fmla="*/ 42 h 502"/>
                <a:gd name="T26" fmla="*/ 488 w 800"/>
                <a:gd name="T27" fmla="*/ 44 h 502"/>
                <a:gd name="T28" fmla="*/ 486 w 800"/>
                <a:gd name="T29" fmla="*/ 48 h 502"/>
                <a:gd name="T30" fmla="*/ 486 w 800"/>
                <a:gd name="T31" fmla="*/ 52 h 502"/>
                <a:gd name="T32" fmla="*/ 498 w 800"/>
                <a:gd name="T33" fmla="*/ 104 h 502"/>
                <a:gd name="T34" fmla="*/ 572 w 800"/>
                <a:gd name="T35" fmla="*/ 64 h 502"/>
                <a:gd name="T36" fmla="*/ 430 w 800"/>
                <a:gd name="T37" fmla="*/ 186 h 502"/>
                <a:gd name="T38" fmla="*/ 426 w 800"/>
                <a:gd name="T39" fmla="*/ 188 h 502"/>
                <a:gd name="T40" fmla="*/ 424 w 800"/>
                <a:gd name="T41" fmla="*/ 190 h 502"/>
                <a:gd name="T42" fmla="*/ 422 w 800"/>
                <a:gd name="T43" fmla="*/ 194 h 502"/>
                <a:gd name="T44" fmla="*/ 424 w 800"/>
                <a:gd name="T45" fmla="*/ 240 h 502"/>
                <a:gd name="T46" fmla="*/ 444 w 800"/>
                <a:gd name="T47" fmla="*/ 240 h 502"/>
                <a:gd name="T48" fmla="*/ 486 w 800"/>
                <a:gd name="T49" fmla="*/ 236 h 502"/>
                <a:gd name="T50" fmla="*/ 506 w 800"/>
                <a:gd name="T51" fmla="*/ 244 h 502"/>
                <a:gd name="T52" fmla="*/ 524 w 800"/>
                <a:gd name="T53" fmla="*/ 436 h 502"/>
                <a:gd name="T54" fmla="*/ 152 w 800"/>
                <a:gd name="T55" fmla="*/ 246 h 502"/>
                <a:gd name="T56" fmla="*/ 756 w 800"/>
                <a:gd name="T57" fmla="*/ 502 h 502"/>
                <a:gd name="T58" fmla="*/ 714 w 800"/>
                <a:gd name="T59" fmla="*/ 236 h 502"/>
                <a:gd name="T60" fmla="*/ 730 w 800"/>
                <a:gd name="T61" fmla="*/ 246 h 502"/>
                <a:gd name="T62" fmla="*/ 778 w 800"/>
                <a:gd name="T63" fmla="*/ 208 h 502"/>
                <a:gd name="T64" fmla="*/ 788 w 800"/>
                <a:gd name="T65" fmla="*/ 248 h 502"/>
                <a:gd name="T66" fmla="*/ 800 w 800"/>
                <a:gd name="T67" fmla="*/ 196 h 502"/>
                <a:gd name="T68" fmla="*/ 800 w 800"/>
                <a:gd name="T69" fmla="*/ 192 h 502"/>
                <a:gd name="T70" fmla="*/ 796 w 800"/>
                <a:gd name="T71" fmla="*/ 188 h 502"/>
                <a:gd name="T72" fmla="*/ 796 w 800"/>
                <a:gd name="T73" fmla="*/ 188 h 502"/>
                <a:gd name="T74" fmla="*/ 792 w 800"/>
                <a:gd name="T75" fmla="*/ 186 h 502"/>
                <a:gd name="T76" fmla="*/ 718 w 800"/>
                <a:gd name="T77" fmla="*/ 100 h 502"/>
                <a:gd name="T78" fmla="*/ 736 w 800"/>
                <a:gd name="T79" fmla="*/ 92 h 502"/>
                <a:gd name="T80" fmla="*/ 736 w 800"/>
                <a:gd name="T81" fmla="*/ 48 h 502"/>
                <a:gd name="T82" fmla="*/ 734 w 800"/>
                <a:gd name="T83" fmla="*/ 46 h 502"/>
                <a:gd name="T84" fmla="*/ 732 w 800"/>
                <a:gd name="T85" fmla="*/ 44 h 502"/>
                <a:gd name="T86" fmla="*/ 654 w 800"/>
                <a:gd name="T87" fmla="*/ 2 h 502"/>
                <a:gd name="T88" fmla="*/ 676 w 800"/>
                <a:gd name="T89" fmla="*/ 40 h 502"/>
                <a:gd name="T90" fmla="*/ 546 w 800"/>
                <a:gd name="T91" fmla="*/ 40 h 502"/>
                <a:gd name="T92" fmla="*/ 612 w 800"/>
                <a:gd name="T93" fmla="*/ 86 h 502"/>
                <a:gd name="T94" fmla="*/ 632 w 800"/>
                <a:gd name="T95" fmla="*/ 114 h 502"/>
                <a:gd name="T96" fmla="*/ 612 w 800"/>
                <a:gd name="T97" fmla="*/ 110 h 502"/>
                <a:gd name="T98" fmla="*/ 588 w 800"/>
                <a:gd name="T99" fmla="*/ 146 h 502"/>
                <a:gd name="T100" fmla="*/ 634 w 800"/>
                <a:gd name="T101" fmla="*/ 146 h 502"/>
                <a:gd name="T102" fmla="*/ 580 w 800"/>
                <a:gd name="T103" fmla="*/ 184 h 502"/>
                <a:gd name="T104" fmla="*/ 664 w 800"/>
                <a:gd name="T105" fmla="*/ 174 h 502"/>
                <a:gd name="T106" fmla="*/ 518 w 800"/>
                <a:gd name="T107" fmla="*/ 184 h 502"/>
                <a:gd name="T108" fmla="*/ 612 w 800"/>
                <a:gd name="T109" fmla="*/ 234 h 502"/>
                <a:gd name="T110" fmla="*/ 654 w 800"/>
                <a:gd name="T111" fmla="*/ 270 h 502"/>
                <a:gd name="T112" fmla="*/ 600 w 800"/>
                <a:gd name="T113" fmla="*/ 244 h 502"/>
                <a:gd name="T114" fmla="*/ 612 w 800"/>
                <a:gd name="T115" fmla="*/ 314 h 502"/>
                <a:gd name="T116" fmla="*/ 664 w 800"/>
                <a:gd name="T117" fmla="*/ 350 h 502"/>
                <a:gd name="T118" fmla="*/ 612 w 800"/>
                <a:gd name="T119" fmla="*/ 332 h 502"/>
                <a:gd name="T120" fmla="*/ 548 w 800"/>
                <a:gd name="T121" fmla="*/ 430 h 502"/>
                <a:gd name="T122" fmla="*/ 570 w 800"/>
                <a:gd name="T123" fmla="*/ 436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0" h="502">
                  <a:moveTo>
                    <a:pt x="120" y="204"/>
                  </a:moveTo>
                  <a:lnTo>
                    <a:pt x="120" y="246"/>
                  </a:lnTo>
                  <a:lnTo>
                    <a:pt x="120" y="246"/>
                  </a:lnTo>
                  <a:lnTo>
                    <a:pt x="120" y="254"/>
                  </a:lnTo>
                  <a:lnTo>
                    <a:pt x="122" y="258"/>
                  </a:lnTo>
                  <a:lnTo>
                    <a:pt x="126" y="264"/>
                  </a:lnTo>
                  <a:lnTo>
                    <a:pt x="130" y="270"/>
                  </a:lnTo>
                  <a:lnTo>
                    <a:pt x="228" y="368"/>
                  </a:lnTo>
                  <a:lnTo>
                    <a:pt x="228" y="368"/>
                  </a:lnTo>
                  <a:lnTo>
                    <a:pt x="232" y="372"/>
                  </a:lnTo>
                  <a:lnTo>
                    <a:pt x="238" y="374"/>
                  </a:lnTo>
                  <a:lnTo>
                    <a:pt x="244" y="376"/>
                  </a:lnTo>
                  <a:lnTo>
                    <a:pt x="250" y="378"/>
                  </a:lnTo>
                  <a:lnTo>
                    <a:pt x="250" y="378"/>
                  </a:lnTo>
                  <a:lnTo>
                    <a:pt x="256" y="376"/>
                  </a:lnTo>
                  <a:lnTo>
                    <a:pt x="262" y="374"/>
                  </a:lnTo>
                  <a:lnTo>
                    <a:pt x="262" y="374"/>
                  </a:lnTo>
                  <a:lnTo>
                    <a:pt x="270" y="370"/>
                  </a:lnTo>
                  <a:lnTo>
                    <a:pt x="276" y="362"/>
                  </a:lnTo>
                  <a:lnTo>
                    <a:pt x="280" y="354"/>
                  </a:lnTo>
                  <a:lnTo>
                    <a:pt x="282" y="346"/>
                  </a:lnTo>
                  <a:lnTo>
                    <a:pt x="282" y="332"/>
                  </a:lnTo>
                  <a:lnTo>
                    <a:pt x="320" y="368"/>
                  </a:lnTo>
                  <a:lnTo>
                    <a:pt x="320" y="368"/>
                  </a:lnTo>
                  <a:lnTo>
                    <a:pt x="330" y="374"/>
                  </a:lnTo>
                  <a:lnTo>
                    <a:pt x="342" y="378"/>
                  </a:lnTo>
                  <a:lnTo>
                    <a:pt x="342" y="378"/>
                  </a:lnTo>
                  <a:lnTo>
                    <a:pt x="348" y="376"/>
                  </a:lnTo>
                  <a:lnTo>
                    <a:pt x="354" y="374"/>
                  </a:lnTo>
                  <a:lnTo>
                    <a:pt x="354" y="374"/>
                  </a:lnTo>
                  <a:lnTo>
                    <a:pt x="362" y="370"/>
                  </a:lnTo>
                  <a:lnTo>
                    <a:pt x="368" y="362"/>
                  </a:lnTo>
                  <a:lnTo>
                    <a:pt x="372" y="354"/>
                  </a:lnTo>
                  <a:lnTo>
                    <a:pt x="374" y="346"/>
                  </a:lnTo>
                  <a:lnTo>
                    <a:pt x="374" y="338"/>
                  </a:lnTo>
                  <a:lnTo>
                    <a:pt x="414" y="374"/>
                  </a:lnTo>
                  <a:lnTo>
                    <a:pt x="414" y="436"/>
                  </a:lnTo>
                  <a:lnTo>
                    <a:pt x="414" y="436"/>
                  </a:lnTo>
                  <a:lnTo>
                    <a:pt x="414" y="442"/>
                  </a:lnTo>
                  <a:lnTo>
                    <a:pt x="416" y="448"/>
                  </a:lnTo>
                  <a:lnTo>
                    <a:pt x="422" y="458"/>
                  </a:lnTo>
                  <a:lnTo>
                    <a:pt x="432" y="466"/>
                  </a:lnTo>
                  <a:lnTo>
                    <a:pt x="438" y="468"/>
                  </a:lnTo>
                  <a:lnTo>
                    <a:pt x="446" y="468"/>
                  </a:lnTo>
                  <a:lnTo>
                    <a:pt x="524" y="468"/>
                  </a:lnTo>
                  <a:lnTo>
                    <a:pt x="524" y="468"/>
                  </a:lnTo>
                  <a:lnTo>
                    <a:pt x="536" y="466"/>
                  </a:lnTo>
                  <a:lnTo>
                    <a:pt x="544" y="462"/>
                  </a:lnTo>
                  <a:lnTo>
                    <a:pt x="544" y="462"/>
                  </a:lnTo>
                  <a:lnTo>
                    <a:pt x="548" y="462"/>
                  </a:lnTo>
                  <a:lnTo>
                    <a:pt x="548" y="462"/>
                  </a:lnTo>
                  <a:lnTo>
                    <a:pt x="550" y="462"/>
                  </a:lnTo>
                  <a:lnTo>
                    <a:pt x="550" y="462"/>
                  </a:lnTo>
                  <a:lnTo>
                    <a:pt x="558" y="466"/>
                  </a:lnTo>
                  <a:lnTo>
                    <a:pt x="570" y="468"/>
                  </a:lnTo>
                  <a:lnTo>
                    <a:pt x="654" y="468"/>
                  </a:lnTo>
                  <a:lnTo>
                    <a:pt x="654" y="468"/>
                  </a:lnTo>
                  <a:lnTo>
                    <a:pt x="664" y="466"/>
                  </a:lnTo>
                  <a:lnTo>
                    <a:pt x="672" y="462"/>
                  </a:lnTo>
                  <a:lnTo>
                    <a:pt x="672" y="462"/>
                  </a:lnTo>
                  <a:lnTo>
                    <a:pt x="674" y="462"/>
                  </a:lnTo>
                  <a:lnTo>
                    <a:pt x="674" y="462"/>
                  </a:lnTo>
                  <a:lnTo>
                    <a:pt x="678" y="462"/>
                  </a:lnTo>
                  <a:lnTo>
                    <a:pt x="678" y="462"/>
                  </a:lnTo>
                  <a:lnTo>
                    <a:pt x="686" y="466"/>
                  </a:lnTo>
                  <a:lnTo>
                    <a:pt x="698" y="468"/>
                  </a:lnTo>
                  <a:lnTo>
                    <a:pt x="724" y="468"/>
                  </a:lnTo>
                  <a:lnTo>
                    <a:pt x="724" y="470"/>
                  </a:lnTo>
                  <a:lnTo>
                    <a:pt x="420" y="470"/>
                  </a:lnTo>
                  <a:lnTo>
                    <a:pt x="32" y="470"/>
                  </a:lnTo>
                  <a:lnTo>
                    <a:pt x="32" y="468"/>
                  </a:lnTo>
                  <a:lnTo>
                    <a:pt x="54" y="468"/>
                  </a:lnTo>
                  <a:lnTo>
                    <a:pt x="54" y="468"/>
                  </a:lnTo>
                  <a:lnTo>
                    <a:pt x="62" y="468"/>
                  </a:lnTo>
                  <a:lnTo>
                    <a:pt x="68" y="466"/>
                  </a:lnTo>
                  <a:lnTo>
                    <a:pt x="78" y="458"/>
                  </a:lnTo>
                  <a:lnTo>
                    <a:pt x="84" y="448"/>
                  </a:lnTo>
                  <a:lnTo>
                    <a:pt x="86" y="442"/>
                  </a:lnTo>
                  <a:lnTo>
                    <a:pt x="86" y="436"/>
                  </a:lnTo>
                  <a:lnTo>
                    <a:pt x="86" y="204"/>
                  </a:lnTo>
                  <a:lnTo>
                    <a:pt x="120" y="204"/>
                  </a:lnTo>
                  <a:close/>
                  <a:moveTo>
                    <a:pt x="650" y="0"/>
                  </a:moveTo>
                  <a:lnTo>
                    <a:pt x="574" y="0"/>
                  </a:lnTo>
                  <a:lnTo>
                    <a:pt x="574" y="0"/>
                  </a:lnTo>
                  <a:lnTo>
                    <a:pt x="568" y="2"/>
                  </a:lnTo>
                  <a:lnTo>
                    <a:pt x="492" y="42"/>
                  </a:lnTo>
                  <a:lnTo>
                    <a:pt x="492" y="42"/>
                  </a:lnTo>
                  <a:lnTo>
                    <a:pt x="492" y="42"/>
                  </a:lnTo>
                  <a:lnTo>
                    <a:pt x="492" y="42"/>
                  </a:lnTo>
                  <a:lnTo>
                    <a:pt x="490" y="42"/>
                  </a:lnTo>
                  <a:lnTo>
                    <a:pt x="490" y="42"/>
                  </a:lnTo>
                  <a:lnTo>
                    <a:pt x="490" y="44"/>
                  </a:lnTo>
                  <a:lnTo>
                    <a:pt x="490" y="44"/>
                  </a:lnTo>
                  <a:lnTo>
                    <a:pt x="490" y="44"/>
                  </a:lnTo>
                  <a:lnTo>
                    <a:pt x="490" y="44"/>
                  </a:lnTo>
                  <a:lnTo>
                    <a:pt x="488" y="44"/>
                  </a:lnTo>
                  <a:lnTo>
                    <a:pt x="488" y="44"/>
                  </a:lnTo>
                  <a:lnTo>
                    <a:pt x="488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88" y="46"/>
                  </a:lnTo>
                  <a:lnTo>
                    <a:pt x="486" y="46"/>
                  </a:lnTo>
                  <a:lnTo>
                    <a:pt x="486" y="46"/>
                  </a:lnTo>
                  <a:lnTo>
                    <a:pt x="486" y="48"/>
                  </a:lnTo>
                  <a:lnTo>
                    <a:pt x="486" y="48"/>
                  </a:lnTo>
                  <a:lnTo>
                    <a:pt x="486" y="50"/>
                  </a:lnTo>
                  <a:lnTo>
                    <a:pt x="486" y="50"/>
                  </a:lnTo>
                  <a:lnTo>
                    <a:pt x="486" y="50"/>
                  </a:lnTo>
                  <a:lnTo>
                    <a:pt x="486" y="50"/>
                  </a:lnTo>
                  <a:lnTo>
                    <a:pt x="486" y="52"/>
                  </a:lnTo>
                  <a:lnTo>
                    <a:pt x="486" y="52"/>
                  </a:lnTo>
                  <a:lnTo>
                    <a:pt x="486" y="52"/>
                  </a:lnTo>
                  <a:lnTo>
                    <a:pt x="486" y="92"/>
                  </a:lnTo>
                  <a:lnTo>
                    <a:pt x="486" y="92"/>
                  </a:lnTo>
                  <a:lnTo>
                    <a:pt x="486" y="96"/>
                  </a:lnTo>
                  <a:lnTo>
                    <a:pt x="490" y="100"/>
                  </a:lnTo>
                  <a:lnTo>
                    <a:pt x="492" y="102"/>
                  </a:lnTo>
                  <a:lnTo>
                    <a:pt x="498" y="104"/>
                  </a:lnTo>
                  <a:lnTo>
                    <a:pt x="498" y="104"/>
                  </a:lnTo>
                  <a:lnTo>
                    <a:pt x="502" y="102"/>
                  </a:lnTo>
                  <a:lnTo>
                    <a:pt x="506" y="100"/>
                  </a:lnTo>
                  <a:lnTo>
                    <a:pt x="508" y="96"/>
                  </a:lnTo>
                  <a:lnTo>
                    <a:pt x="508" y="92"/>
                  </a:lnTo>
                  <a:lnTo>
                    <a:pt x="508" y="92"/>
                  </a:lnTo>
                  <a:lnTo>
                    <a:pt x="508" y="64"/>
                  </a:lnTo>
                  <a:lnTo>
                    <a:pt x="572" y="64"/>
                  </a:lnTo>
                  <a:lnTo>
                    <a:pt x="562" y="148"/>
                  </a:lnTo>
                  <a:lnTo>
                    <a:pt x="430" y="186"/>
                  </a:lnTo>
                  <a:lnTo>
                    <a:pt x="430" y="186"/>
                  </a:lnTo>
                  <a:lnTo>
                    <a:pt x="430" y="186"/>
                  </a:lnTo>
                  <a:lnTo>
                    <a:pt x="430" y="186"/>
                  </a:lnTo>
                  <a:lnTo>
                    <a:pt x="430" y="186"/>
                  </a:lnTo>
                  <a:lnTo>
                    <a:pt x="430" y="186"/>
                  </a:lnTo>
                  <a:lnTo>
                    <a:pt x="428" y="186"/>
                  </a:lnTo>
                  <a:lnTo>
                    <a:pt x="428" y="186"/>
                  </a:lnTo>
                  <a:lnTo>
                    <a:pt x="428" y="186"/>
                  </a:lnTo>
                  <a:lnTo>
                    <a:pt x="428" y="186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4" y="190"/>
                  </a:lnTo>
                  <a:lnTo>
                    <a:pt x="424" y="190"/>
                  </a:lnTo>
                  <a:lnTo>
                    <a:pt x="424" y="190"/>
                  </a:lnTo>
                  <a:lnTo>
                    <a:pt x="424" y="190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4" y="192"/>
                  </a:lnTo>
                  <a:lnTo>
                    <a:pt x="422" y="194"/>
                  </a:lnTo>
                  <a:lnTo>
                    <a:pt x="422" y="194"/>
                  </a:lnTo>
                  <a:lnTo>
                    <a:pt x="422" y="194"/>
                  </a:lnTo>
                  <a:lnTo>
                    <a:pt x="422" y="194"/>
                  </a:lnTo>
                  <a:lnTo>
                    <a:pt x="422" y="196"/>
                  </a:lnTo>
                  <a:lnTo>
                    <a:pt x="422" y="196"/>
                  </a:lnTo>
                  <a:lnTo>
                    <a:pt x="422" y="196"/>
                  </a:lnTo>
                  <a:lnTo>
                    <a:pt x="422" y="236"/>
                  </a:lnTo>
                  <a:lnTo>
                    <a:pt x="422" y="236"/>
                  </a:lnTo>
                  <a:lnTo>
                    <a:pt x="424" y="240"/>
                  </a:lnTo>
                  <a:lnTo>
                    <a:pt x="426" y="244"/>
                  </a:lnTo>
                  <a:lnTo>
                    <a:pt x="430" y="246"/>
                  </a:lnTo>
                  <a:lnTo>
                    <a:pt x="434" y="248"/>
                  </a:lnTo>
                  <a:lnTo>
                    <a:pt x="434" y="248"/>
                  </a:lnTo>
                  <a:lnTo>
                    <a:pt x="438" y="246"/>
                  </a:lnTo>
                  <a:lnTo>
                    <a:pt x="442" y="244"/>
                  </a:lnTo>
                  <a:lnTo>
                    <a:pt x="444" y="240"/>
                  </a:lnTo>
                  <a:lnTo>
                    <a:pt x="446" y="236"/>
                  </a:lnTo>
                  <a:lnTo>
                    <a:pt x="446" y="208"/>
                  </a:lnTo>
                  <a:lnTo>
                    <a:pt x="486" y="208"/>
                  </a:lnTo>
                  <a:lnTo>
                    <a:pt x="486" y="208"/>
                  </a:lnTo>
                  <a:lnTo>
                    <a:pt x="486" y="210"/>
                  </a:lnTo>
                  <a:lnTo>
                    <a:pt x="486" y="236"/>
                  </a:lnTo>
                  <a:lnTo>
                    <a:pt x="486" y="236"/>
                  </a:lnTo>
                  <a:lnTo>
                    <a:pt x="486" y="240"/>
                  </a:lnTo>
                  <a:lnTo>
                    <a:pt x="490" y="244"/>
                  </a:lnTo>
                  <a:lnTo>
                    <a:pt x="492" y="246"/>
                  </a:lnTo>
                  <a:lnTo>
                    <a:pt x="498" y="248"/>
                  </a:lnTo>
                  <a:lnTo>
                    <a:pt x="498" y="248"/>
                  </a:lnTo>
                  <a:lnTo>
                    <a:pt x="502" y="246"/>
                  </a:lnTo>
                  <a:lnTo>
                    <a:pt x="506" y="244"/>
                  </a:lnTo>
                  <a:lnTo>
                    <a:pt x="508" y="240"/>
                  </a:lnTo>
                  <a:lnTo>
                    <a:pt x="508" y="236"/>
                  </a:lnTo>
                  <a:lnTo>
                    <a:pt x="508" y="210"/>
                  </a:lnTo>
                  <a:lnTo>
                    <a:pt x="508" y="210"/>
                  </a:lnTo>
                  <a:lnTo>
                    <a:pt x="508" y="208"/>
                  </a:lnTo>
                  <a:lnTo>
                    <a:pt x="554" y="208"/>
                  </a:lnTo>
                  <a:lnTo>
                    <a:pt x="524" y="436"/>
                  </a:lnTo>
                  <a:lnTo>
                    <a:pt x="446" y="436"/>
                  </a:lnTo>
                  <a:lnTo>
                    <a:pt x="446" y="360"/>
                  </a:lnTo>
                  <a:lnTo>
                    <a:pt x="342" y="264"/>
                  </a:lnTo>
                  <a:lnTo>
                    <a:pt x="342" y="346"/>
                  </a:lnTo>
                  <a:lnTo>
                    <a:pt x="250" y="258"/>
                  </a:lnTo>
                  <a:lnTo>
                    <a:pt x="250" y="346"/>
                  </a:lnTo>
                  <a:lnTo>
                    <a:pt x="152" y="246"/>
                  </a:lnTo>
                  <a:lnTo>
                    <a:pt x="152" y="172"/>
                  </a:lnTo>
                  <a:lnTo>
                    <a:pt x="54" y="172"/>
                  </a:lnTo>
                  <a:lnTo>
                    <a:pt x="54" y="436"/>
                  </a:lnTo>
                  <a:lnTo>
                    <a:pt x="0" y="436"/>
                  </a:lnTo>
                  <a:lnTo>
                    <a:pt x="0" y="502"/>
                  </a:lnTo>
                  <a:lnTo>
                    <a:pt x="420" y="502"/>
                  </a:lnTo>
                  <a:lnTo>
                    <a:pt x="756" y="502"/>
                  </a:lnTo>
                  <a:lnTo>
                    <a:pt x="756" y="436"/>
                  </a:lnTo>
                  <a:lnTo>
                    <a:pt x="698" y="436"/>
                  </a:lnTo>
                  <a:lnTo>
                    <a:pt x="668" y="208"/>
                  </a:lnTo>
                  <a:lnTo>
                    <a:pt x="714" y="208"/>
                  </a:lnTo>
                  <a:lnTo>
                    <a:pt x="714" y="208"/>
                  </a:lnTo>
                  <a:lnTo>
                    <a:pt x="714" y="210"/>
                  </a:lnTo>
                  <a:lnTo>
                    <a:pt x="714" y="236"/>
                  </a:lnTo>
                  <a:lnTo>
                    <a:pt x="714" y="236"/>
                  </a:lnTo>
                  <a:lnTo>
                    <a:pt x="714" y="240"/>
                  </a:lnTo>
                  <a:lnTo>
                    <a:pt x="718" y="244"/>
                  </a:lnTo>
                  <a:lnTo>
                    <a:pt x="720" y="246"/>
                  </a:lnTo>
                  <a:lnTo>
                    <a:pt x="726" y="248"/>
                  </a:lnTo>
                  <a:lnTo>
                    <a:pt x="726" y="248"/>
                  </a:lnTo>
                  <a:lnTo>
                    <a:pt x="730" y="246"/>
                  </a:lnTo>
                  <a:lnTo>
                    <a:pt x="734" y="244"/>
                  </a:lnTo>
                  <a:lnTo>
                    <a:pt x="736" y="240"/>
                  </a:lnTo>
                  <a:lnTo>
                    <a:pt x="736" y="236"/>
                  </a:lnTo>
                  <a:lnTo>
                    <a:pt x="736" y="210"/>
                  </a:lnTo>
                  <a:lnTo>
                    <a:pt x="736" y="210"/>
                  </a:lnTo>
                  <a:lnTo>
                    <a:pt x="736" y="208"/>
                  </a:lnTo>
                  <a:lnTo>
                    <a:pt x="778" y="208"/>
                  </a:lnTo>
                  <a:lnTo>
                    <a:pt x="778" y="236"/>
                  </a:lnTo>
                  <a:lnTo>
                    <a:pt x="778" y="236"/>
                  </a:lnTo>
                  <a:lnTo>
                    <a:pt x="778" y="240"/>
                  </a:lnTo>
                  <a:lnTo>
                    <a:pt x="780" y="244"/>
                  </a:lnTo>
                  <a:lnTo>
                    <a:pt x="784" y="246"/>
                  </a:lnTo>
                  <a:lnTo>
                    <a:pt x="788" y="248"/>
                  </a:lnTo>
                  <a:lnTo>
                    <a:pt x="788" y="248"/>
                  </a:lnTo>
                  <a:lnTo>
                    <a:pt x="794" y="246"/>
                  </a:lnTo>
                  <a:lnTo>
                    <a:pt x="796" y="244"/>
                  </a:lnTo>
                  <a:lnTo>
                    <a:pt x="800" y="240"/>
                  </a:lnTo>
                  <a:lnTo>
                    <a:pt x="800" y="23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2"/>
                  </a:lnTo>
                  <a:lnTo>
                    <a:pt x="800" y="192"/>
                  </a:lnTo>
                  <a:lnTo>
                    <a:pt x="798" y="192"/>
                  </a:lnTo>
                  <a:lnTo>
                    <a:pt x="798" y="192"/>
                  </a:lnTo>
                  <a:lnTo>
                    <a:pt x="798" y="190"/>
                  </a:lnTo>
                  <a:lnTo>
                    <a:pt x="798" y="190"/>
                  </a:lnTo>
                  <a:lnTo>
                    <a:pt x="798" y="190"/>
                  </a:lnTo>
                  <a:lnTo>
                    <a:pt x="798" y="190"/>
                  </a:lnTo>
                  <a:lnTo>
                    <a:pt x="796" y="188"/>
                  </a:lnTo>
                  <a:lnTo>
                    <a:pt x="796" y="188"/>
                  </a:lnTo>
                  <a:lnTo>
                    <a:pt x="796" y="188"/>
                  </a:lnTo>
                  <a:lnTo>
                    <a:pt x="796" y="188"/>
                  </a:lnTo>
                  <a:lnTo>
                    <a:pt x="796" y="188"/>
                  </a:lnTo>
                  <a:lnTo>
                    <a:pt x="796" y="188"/>
                  </a:lnTo>
                  <a:lnTo>
                    <a:pt x="796" y="188"/>
                  </a:lnTo>
                  <a:lnTo>
                    <a:pt x="796" y="188"/>
                  </a:lnTo>
                  <a:lnTo>
                    <a:pt x="794" y="186"/>
                  </a:lnTo>
                  <a:lnTo>
                    <a:pt x="794" y="186"/>
                  </a:lnTo>
                  <a:lnTo>
                    <a:pt x="794" y="186"/>
                  </a:lnTo>
                  <a:lnTo>
                    <a:pt x="794" y="186"/>
                  </a:lnTo>
                  <a:lnTo>
                    <a:pt x="792" y="186"/>
                  </a:lnTo>
                  <a:lnTo>
                    <a:pt x="792" y="186"/>
                  </a:lnTo>
                  <a:lnTo>
                    <a:pt x="792" y="186"/>
                  </a:lnTo>
                  <a:lnTo>
                    <a:pt x="660" y="148"/>
                  </a:lnTo>
                  <a:lnTo>
                    <a:pt x="650" y="64"/>
                  </a:lnTo>
                  <a:lnTo>
                    <a:pt x="714" y="64"/>
                  </a:lnTo>
                  <a:lnTo>
                    <a:pt x="714" y="92"/>
                  </a:lnTo>
                  <a:lnTo>
                    <a:pt x="714" y="92"/>
                  </a:lnTo>
                  <a:lnTo>
                    <a:pt x="714" y="96"/>
                  </a:lnTo>
                  <a:lnTo>
                    <a:pt x="718" y="100"/>
                  </a:lnTo>
                  <a:lnTo>
                    <a:pt x="720" y="102"/>
                  </a:lnTo>
                  <a:lnTo>
                    <a:pt x="726" y="104"/>
                  </a:lnTo>
                  <a:lnTo>
                    <a:pt x="726" y="104"/>
                  </a:lnTo>
                  <a:lnTo>
                    <a:pt x="730" y="102"/>
                  </a:lnTo>
                  <a:lnTo>
                    <a:pt x="734" y="100"/>
                  </a:lnTo>
                  <a:lnTo>
                    <a:pt x="736" y="96"/>
                  </a:lnTo>
                  <a:lnTo>
                    <a:pt x="736" y="92"/>
                  </a:lnTo>
                  <a:lnTo>
                    <a:pt x="736" y="52"/>
                  </a:lnTo>
                  <a:lnTo>
                    <a:pt x="736" y="52"/>
                  </a:lnTo>
                  <a:lnTo>
                    <a:pt x="736" y="52"/>
                  </a:lnTo>
                  <a:lnTo>
                    <a:pt x="736" y="52"/>
                  </a:lnTo>
                  <a:lnTo>
                    <a:pt x="736" y="50"/>
                  </a:lnTo>
                  <a:lnTo>
                    <a:pt x="736" y="50"/>
                  </a:lnTo>
                  <a:lnTo>
                    <a:pt x="736" y="48"/>
                  </a:lnTo>
                  <a:lnTo>
                    <a:pt x="736" y="48"/>
                  </a:lnTo>
                  <a:lnTo>
                    <a:pt x="736" y="48"/>
                  </a:lnTo>
                  <a:lnTo>
                    <a:pt x="736" y="48"/>
                  </a:lnTo>
                  <a:lnTo>
                    <a:pt x="736" y="46"/>
                  </a:lnTo>
                  <a:lnTo>
                    <a:pt x="736" y="46"/>
                  </a:lnTo>
                  <a:lnTo>
                    <a:pt x="734" y="46"/>
                  </a:lnTo>
                  <a:lnTo>
                    <a:pt x="734" y="46"/>
                  </a:lnTo>
                  <a:lnTo>
                    <a:pt x="734" y="44"/>
                  </a:lnTo>
                  <a:lnTo>
                    <a:pt x="734" y="44"/>
                  </a:lnTo>
                  <a:lnTo>
                    <a:pt x="734" y="44"/>
                  </a:lnTo>
                  <a:lnTo>
                    <a:pt x="734" y="44"/>
                  </a:lnTo>
                  <a:lnTo>
                    <a:pt x="734" y="44"/>
                  </a:lnTo>
                  <a:lnTo>
                    <a:pt x="734" y="44"/>
                  </a:lnTo>
                  <a:lnTo>
                    <a:pt x="732" y="44"/>
                  </a:lnTo>
                  <a:lnTo>
                    <a:pt x="732" y="44"/>
                  </a:lnTo>
                  <a:lnTo>
                    <a:pt x="732" y="42"/>
                  </a:lnTo>
                  <a:lnTo>
                    <a:pt x="732" y="42"/>
                  </a:lnTo>
                  <a:lnTo>
                    <a:pt x="730" y="42"/>
                  </a:lnTo>
                  <a:lnTo>
                    <a:pt x="730" y="42"/>
                  </a:lnTo>
                  <a:lnTo>
                    <a:pt x="730" y="42"/>
                  </a:lnTo>
                  <a:lnTo>
                    <a:pt x="654" y="2"/>
                  </a:lnTo>
                  <a:lnTo>
                    <a:pt x="654" y="2"/>
                  </a:lnTo>
                  <a:lnTo>
                    <a:pt x="650" y="0"/>
                  </a:lnTo>
                  <a:lnTo>
                    <a:pt x="650" y="0"/>
                  </a:lnTo>
                  <a:close/>
                  <a:moveTo>
                    <a:pt x="546" y="40"/>
                  </a:moveTo>
                  <a:lnTo>
                    <a:pt x="576" y="24"/>
                  </a:lnTo>
                  <a:lnTo>
                    <a:pt x="646" y="24"/>
                  </a:lnTo>
                  <a:lnTo>
                    <a:pt x="676" y="40"/>
                  </a:lnTo>
                  <a:lnTo>
                    <a:pt x="636" y="40"/>
                  </a:lnTo>
                  <a:lnTo>
                    <a:pt x="636" y="40"/>
                  </a:lnTo>
                  <a:lnTo>
                    <a:pt x="636" y="40"/>
                  </a:lnTo>
                  <a:lnTo>
                    <a:pt x="586" y="40"/>
                  </a:lnTo>
                  <a:lnTo>
                    <a:pt x="586" y="40"/>
                  </a:lnTo>
                  <a:lnTo>
                    <a:pt x="586" y="40"/>
                  </a:lnTo>
                  <a:lnTo>
                    <a:pt x="546" y="40"/>
                  </a:lnTo>
                  <a:lnTo>
                    <a:pt x="546" y="40"/>
                  </a:lnTo>
                  <a:close/>
                  <a:moveTo>
                    <a:pt x="612" y="86"/>
                  </a:moveTo>
                  <a:lnTo>
                    <a:pt x="596" y="66"/>
                  </a:lnTo>
                  <a:lnTo>
                    <a:pt x="596" y="64"/>
                  </a:lnTo>
                  <a:lnTo>
                    <a:pt x="626" y="64"/>
                  </a:lnTo>
                  <a:lnTo>
                    <a:pt x="626" y="66"/>
                  </a:lnTo>
                  <a:lnTo>
                    <a:pt x="612" y="86"/>
                  </a:lnTo>
                  <a:lnTo>
                    <a:pt x="612" y="86"/>
                  </a:lnTo>
                  <a:close/>
                  <a:moveTo>
                    <a:pt x="590" y="114"/>
                  </a:moveTo>
                  <a:lnTo>
                    <a:pt x="592" y="86"/>
                  </a:lnTo>
                  <a:lnTo>
                    <a:pt x="602" y="98"/>
                  </a:lnTo>
                  <a:lnTo>
                    <a:pt x="590" y="114"/>
                  </a:lnTo>
                  <a:lnTo>
                    <a:pt x="590" y="114"/>
                  </a:lnTo>
                  <a:close/>
                  <a:moveTo>
                    <a:pt x="632" y="114"/>
                  </a:moveTo>
                  <a:lnTo>
                    <a:pt x="620" y="98"/>
                  </a:lnTo>
                  <a:lnTo>
                    <a:pt x="630" y="86"/>
                  </a:lnTo>
                  <a:lnTo>
                    <a:pt x="632" y="114"/>
                  </a:lnTo>
                  <a:lnTo>
                    <a:pt x="632" y="114"/>
                  </a:lnTo>
                  <a:close/>
                  <a:moveTo>
                    <a:pt x="608" y="146"/>
                  </a:moveTo>
                  <a:lnTo>
                    <a:pt x="596" y="130"/>
                  </a:lnTo>
                  <a:lnTo>
                    <a:pt x="612" y="110"/>
                  </a:lnTo>
                  <a:lnTo>
                    <a:pt x="626" y="130"/>
                  </a:lnTo>
                  <a:lnTo>
                    <a:pt x="616" y="146"/>
                  </a:lnTo>
                  <a:lnTo>
                    <a:pt x="608" y="146"/>
                  </a:lnTo>
                  <a:lnTo>
                    <a:pt x="608" y="146"/>
                  </a:lnTo>
                  <a:close/>
                  <a:moveTo>
                    <a:pt x="586" y="146"/>
                  </a:moveTo>
                  <a:lnTo>
                    <a:pt x="586" y="142"/>
                  </a:lnTo>
                  <a:lnTo>
                    <a:pt x="588" y="146"/>
                  </a:lnTo>
                  <a:lnTo>
                    <a:pt x="586" y="146"/>
                  </a:lnTo>
                  <a:lnTo>
                    <a:pt x="586" y="146"/>
                  </a:lnTo>
                  <a:close/>
                  <a:moveTo>
                    <a:pt x="634" y="146"/>
                  </a:moveTo>
                  <a:lnTo>
                    <a:pt x="636" y="142"/>
                  </a:lnTo>
                  <a:lnTo>
                    <a:pt x="638" y="146"/>
                  </a:lnTo>
                  <a:lnTo>
                    <a:pt x="634" y="146"/>
                  </a:lnTo>
                  <a:lnTo>
                    <a:pt x="634" y="146"/>
                  </a:lnTo>
                  <a:close/>
                  <a:moveTo>
                    <a:pt x="640" y="184"/>
                  </a:moveTo>
                  <a:lnTo>
                    <a:pt x="626" y="168"/>
                  </a:lnTo>
                  <a:lnTo>
                    <a:pt x="640" y="168"/>
                  </a:lnTo>
                  <a:lnTo>
                    <a:pt x="642" y="184"/>
                  </a:lnTo>
                  <a:lnTo>
                    <a:pt x="640" y="184"/>
                  </a:lnTo>
                  <a:lnTo>
                    <a:pt x="640" y="184"/>
                  </a:lnTo>
                  <a:close/>
                  <a:moveTo>
                    <a:pt x="580" y="184"/>
                  </a:moveTo>
                  <a:lnTo>
                    <a:pt x="582" y="168"/>
                  </a:lnTo>
                  <a:lnTo>
                    <a:pt x="596" y="168"/>
                  </a:lnTo>
                  <a:lnTo>
                    <a:pt x="584" y="184"/>
                  </a:lnTo>
                  <a:lnTo>
                    <a:pt x="580" y="184"/>
                  </a:lnTo>
                  <a:lnTo>
                    <a:pt x="580" y="184"/>
                  </a:lnTo>
                  <a:close/>
                  <a:moveTo>
                    <a:pt x="666" y="184"/>
                  </a:moveTo>
                  <a:lnTo>
                    <a:pt x="664" y="174"/>
                  </a:lnTo>
                  <a:lnTo>
                    <a:pt x="704" y="184"/>
                  </a:lnTo>
                  <a:lnTo>
                    <a:pt x="666" y="184"/>
                  </a:lnTo>
                  <a:lnTo>
                    <a:pt x="666" y="184"/>
                  </a:lnTo>
                  <a:close/>
                  <a:moveTo>
                    <a:pt x="518" y="184"/>
                  </a:moveTo>
                  <a:lnTo>
                    <a:pt x="558" y="174"/>
                  </a:lnTo>
                  <a:lnTo>
                    <a:pt x="558" y="184"/>
                  </a:lnTo>
                  <a:lnTo>
                    <a:pt x="518" y="184"/>
                  </a:lnTo>
                  <a:lnTo>
                    <a:pt x="518" y="184"/>
                  </a:lnTo>
                  <a:close/>
                  <a:moveTo>
                    <a:pt x="604" y="184"/>
                  </a:moveTo>
                  <a:lnTo>
                    <a:pt x="612" y="174"/>
                  </a:lnTo>
                  <a:lnTo>
                    <a:pt x="620" y="184"/>
                  </a:lnTo>
                  <a:lnTo>
                    <a:pt x="604" y="184"/>
                  </a:lnTo>
                  <a:lnTo>
                    <a:pt x="604" y="184"/>
                  </a:lnTo>
                  <a:close/>
                  <a:moveTo>
                    <a:pt x="612" y="234"/>
                  </a:moveTo>
                  <a:lnTo>
                    <a:pt x="584" y="208"/>
                  </a:lnTo>
                  <a:lnTo>
                    <a:pt x="584" y="208"/>
                  </a:lnTo>
                  <a:lnTo>
                    <a:pt x="638" y="208"/>
                  </a:lnTo>
                  <a:lnTo>
                    <a:pt x="638" y="208"/>
                  </a:lnTo>
                  <a:lnTo>
                    <a:pt x="612" y="234"/>
                  </a:lnTo>
                  <a:lnTo>
                    <a:pt x="612" y="234"/>
                  </a:lnTo>
                  <a:close/>
                  <a:moveTo>
                    <a:pt x="654" y="270"/>
                  </a:moveTo>
                  <a:lnTo>
                    <a:pt x="622" y="244"/>
                  </a:lnTo>
                  <a:lnTo>
                    <a:pt x="646" y="222"/>
                  </a:lnTo>
                  <a:lnTo>
                    <a:pt x="654" y="270"/>
                  </a:lnTo>
                  <a:lnTo>
                    <a:pt x="654" y="270"/>
                  </a:lnTo>
                  <a:close/>
                  <a:moveTo>
                    <a:pt x="570" y="270"/>
                  </a:moveTo>
                  <a:lnTo>
                    <a:pt x="576" y="222"/>
                  </a:lnTo>
                  <a:lnTo>
                    <a:pt x="600" y="244"/>
                  </a:lnTo>
                  <a:lnTo>
                    <a:pt x="570" y="270"/>
                  </a:lnTo>
                  <a:lnTo>
                    <a:pt x="570" y="270"/>
                  </a:lnTo>
                  <a:close/>
                  <a:moveTo>
                    <a:pt x="612" y="314"/>
                  </a:moveTo>
                  <a:lnTo>
                    <a:pt x="574" y="288"/>
                  </a:lnTo>
                  <a:lnTo>
                    <a:pt x="612" y="254"/>
                  </a:lnTo>
                  <a:lnTo>
                    <a:pt x="650" y="288"/>
                  </a:lnTo>
                  <a:lnTo>
                    <a:pt x="612" y="314"/>
                  </a:lnTo>
                  <a:lnTo>
                    <a:pt x="612" y="314"/>
                  </a:lnTo>
                  <a:close/>
                  <a:moveTo>
                    <a:pt x="560" y="350"/>
                  </a:moveTo>
                  <a:lnTo>
                    <a:pt x="566" y="302"/>
                  </a:lnTo>
                  <a:lnTo>
                    <a:pt x="598" y="324"/>
                  </a:lnTo>
                  <a:lnTo>
                    <a:pt x="560" y="350"/>
                  </a:lnTo>
                  <a:lnTo>
                    <a:pt x="560" y="350"/>
                  </a:lnTo>
                  <a:close/>
                  <a:moveTo>
                    <a:pt x="664" y="350"/>
                  </a:moveTo>
                  <a:lnTo>
                    <a:pt x="624" y="324"/>
                  </a:lnTo>
                  <a:lnTo>
                    <a:pt x="658" y="302"/>
                  </a:lnTo>
                  <a:lnTo>
                    <a:pt x="664" y="350"/>
                  </a:lnTo>
                  <a:lnTo>
                    <a:pt x="664" y="350"/>
                  </a:lnTo>
                  <a:close/>
                  <a:moveTo>
                    <a:pt x="612" y="394"/>
                  </a:moveTo>
                  <a:lnTo>
                    <a:pt x="562" y="366"/>
                  </a:lnTo>
                  <a:lnTo>
                    <a:pt x="612" y="332"/>
                  </a:lnTo>
                  <a:lnTo>
                    <a:pt x="660" y="366"/>
                  </a:lnTo>
                  <a:lnTo>
                    <a:pt x="612" y="394"/>
                  </a:lnTo>
                  <a:lnTo>
                    <a:pt x="612" y="394"/>
                  </a:lnTo>
                  <a:close/>
                  <a:moveTo>
                    <a:pt x="548" y="430"/>
                  </a:moveTo>
                  <a:lnTo>
                    <a:pt x="556" y="380"/>
                  </a:lnTo>
                  <a:lnTo>
                    <a:pt x="596" y="404"/>
                  </a:lnTo>
                  <a:lnTo>
                    <a:pt x="548" y="430"/>
                  </a:lnTo>
                  <a:lnTo>
                    <a:pt x="548" y="430"/>
                  </a:lnTo>
                  <a:close/>
                  <a:moveTo>
                    <a:pt x="674" y="430"/>
                  </a:moveTo>
                  <a:lnTo>
                    <a:pt x="628" y="404"/>
                  </a:lnTo>
                  <a:lnTo>
                    <a:pt x="668" y="380"/>
                  </a:lnTo>
                  <a:lnTo>
                    <a:pt x="674" y="430"/>
                  </a:lnTo>
                  <a:lnTo>
                    <a:pt x="674" y="430"/>
                  </a:lnTo>
                  <a:close/>
                  <a:moveTo>
                    <a:pt x="570" y="436"/>
                  </a:moveTo>
                  <a:lnTo>
                    <a:pt x="612" y="412"/>
                  </a:lnTo>
                  <a:lnTo>
                    <a:pt x="654" y="436"/>
                  </a:lnTo>
                  <a:lnTo>
                    <a:pt x="570" y="436"/>
                  </a:lnTo>
                  <a:lnTo>
                    <a:pt x="570" y="436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5" name="Freeform 167"/>
            <p:cNvSpPr>
              <a:spLocks/>
            </p:cNvSpPr>
            <p:nvPr/>
          </p:nvSpPr>
          <p:spPr bwMode="auto">
            <a:xfrm>
              <a:off x="4580644" y="1896554"/>
              <a:ext cx="276963" cy="159788"/>
            </a:xfrm>
            <a:custGeom>
              <a:avLst/>
              <a:gdLst>
                <a:gd name="T0" fmla="*/ 242 w 242"/>
                <a:gd name="T1" fmla="*/ 0 h 96"/>
                <a:gd name="T2" fmla="*/ 242 w 242"/>
                <a:gd name="T3" fmla="*/ 0 h 96"/>
                <a:gd name="T4" fmla="*/ 240 w 242"/>
                <a:gd name="T5" fmla="*/ 4 h 96"/>
                <a:gd name="T6" fmla="*/ 238 w 242"/>
                <a:gd name="T7" fmla="*/ 8 h 96"/>
                <a:gd name="T8" fmla="*/ 228 w 242"/>
                <a:gd name="T9" fmla="*/ 16 h 96"/>
                <a:gd name="T10" fmla="*/ 216 w 242"/>
                <a:gd name="T11" fmla="*/ 20 h 96"/>
                <a:gd name="T12" fmla="*/ 202 w 242"/>
                <a:gd name="T13" fmla="*/ 24 h 96"/>
                <a:gd name="T14" fmla="*/ 178 w 242"/>
                <a:gd name="T15" fmla="*/ 30 h 96"/>
                <a:gd name="T16" fmla="*/ 166 w 242"/>
                <a:gd name="T17" fmla="*/ 30 h 96"/>
                <a:gd name="T18" fmla="*/ 166 w 242"/>
                <a:gd name="T19" fmla="*/ 30 h 96"/>
                <a:gd name="T20" fmla="*/ 134 w 242"/>
                <a:gd name="T21" fmla="*/ 28 h 96"/>
                <a:gd name="T22" fmla="*/ 134 w 242"/>
                <a:gd name="T23" fmla="*/ 28 h 96"/>
                <a:gd name="T24" fmla="*/ 114 w 242"/>
                <a:gd name="T25" fmla="*/ 30 h 96"/>
                <a:gd name="T26" fmla="*/ 98 w 242"/>
                <a:gd name="T27" fmla="*/ 32 h 96"/>
                <a:gd name="T28" fmla="*/ 82 w 242"/>
                <a:gd name="T29" fmla="*/ 34 h 96"/>
                <a:gd name="T30" fmla="*/ 68 w 242"/>
                <a:gd name="T31" fmla="*/ 38 h 96"/>
                <a:gd name="T32" fmla="*/ 56 w 242"/>
                <a:gd name="T33" fmla="*/ 44 h 96"/>
                <a:gd name="T34" fmla="*/ 44 w 242"/>
                <a:gd name="T35" fmla="*/ 50 h 96"/>
                <a:gd name="T36" fmla="*/ 26 w 242"/>
                <a:gd name="T37" fmla="*/ 62 h 96"/>
                <a:gd name="T38" fmla="*/ 14 w 242"/>
                <a:gd name="T39" fmla="*/ 74 h 96"/>
                <a:gd name="T40" fmla="*/ 6 w 242"/>
                <a:gd name="T41" fmla="*/ 86 h 96"/>
                <a:gd name="T42" fmla="*/ 0 w 242"/>
                <a:gd name="T43" fmla="*/ 96 h 96"/>
                <a:gd name="T44" fmla="*/ 0 w 242"/>
                <a:gd name="T45" fmla="*/ 96 h 96"/>
                <a:gd name="T46" fmla="*/ 6 w 242"/>
                <a:gd name="T47" fmla="*/ 92 h 96"/>
                <a:gd name="T48" fmla="*/ 12 w 242"/>
                <a:gd name="T49" fmla="*/ 86 h 96"/>
                <a:gd name="T50" fmla="*/ 20 w 242"/>
                <a:gd name="T51" fmla="*/ 82 h 96"/>
                <a:gd name="T52" fmla="*/ 34 w 242"/>
                <a:gd name="T53" fmla="*/ 76 h 96"/>
                <a:gd name="T54" fmla="*/ 50 w 242"/>
                <a:gd name="T55" fmla="*/ 72 h 96"/>
                <a:gd name="T56" fmla="*/ 70 w 242"/>
                <a:gd name="T57" fmla="*/ 68 h 96"/>
                <a:gd name="T58" fmla="*/ 94 w 242"/>
                <a:gd name="T59" fmla="*/ 68 h 96"/>
                <a:gd name="T60" fmla="*/ 94 w 242"/>
                <a:gd name="T61" fmla="*/ 68 h 96"/>
                <a:gd name="T62" fmla="*/ 116 w 242"/>
                <a:gd name="T63" fmla="*/ 68 h 96"/>
                <a:gd name="T64" fmla="*/ 142 w 242"/>
                <a:gd name="T65" fmla="*/ 70 h 96"/>
                <a:gd name="T66" fmla="*/ 142 w 242"/>
                <a:gd name="T67" fmla="*/ 70 h 96"/>
                <a:gd name="T68" fmla="*/ 166 w 242"/>
                <a:gd name="T69" fmla="*/ 72 h 96"/>
                <a:gd name="T70" fmla="*/ 166 w 242"/>
                <a:gd name="T71" fmla="*/ 72 h 96"/>
                <a:gd name="T72" fmla="*/ 180 w 242"/>
                <a:gd name="T73" fmla="*/ 72 h 96"/>
                <a:gd name="T74" fmla="*/ 194 w 242"/>
                <a:gd name="T75" fmla="*/ 70 h 96"/>
                <a:gd name="T76" fmla="*/ 204 w 242"/>
                <a:gd name="T77" fmla="*/ 66 h 96"/>
                <a:gd name="T78" fmla="*/ 214 w 242"/>
                <a:gd name="T79" fmla="*/ 62 h 96"/>
                <a:gd name="T80" fmla="*/ 222 w 242"/>
                <a:gd name="T81" fmla="*/ 56 h 96"/>
                <a:gd name="T82" fmla="*/ 228 w 242"/>
                <a:gd name="T83" fmla="*/ 50 h 96"/>
                <a:gd name="T84" fmla="*/ 236 w 242"/>
                <a:gd name="T85" fmla="*/ 36 h 96"/>
                <a:gd name="T86" fmla="*/ 240 w 242"/>
                <a:gd name="T87" fmla="*/ 24 h 96"/>
                <a:gd name="T88" fmla="*/ 242 w 242"/>
                <a:gd name="T89" fmla="*/ 12 h 96"/>
                <a:gd name="T90" fmla="*/ 242 w 242"/>
                <a:gd name="T91" fmla="*/ 0 h 96"/>
                <a:gd name="T92" fmla="*/ 242 w 242"/>
                <a:gd name="T9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2" h="96">
                  <a:moveTo>
                    <a:pt x="242" y="0"/>
                  </a:moveTo>
                  <a:lnTo>
                    <a:pt x="242" y="0"/>
                  </a:lnTo>
                  <a:lnTo>
                    <a:pt x="240" y="4"/>
                  </a:lnTo>
                  <a:lnTo>
                    <a:pt x="238" y="8"/>
                  </a:lnTo>
                  <a:lnTo>
                    <a:pt x="228" y="16"/>
                  </a:lnTo>
                  <a:lnTo>
                    <a:pt x="216" y="20"/>
                  </a:lnTo>
                  <a:lnTo>
                    <a:pt x="202" y="24"/>
                  </a:lnTo>
                  <a:lnTo>
                    <a:pt x="178" y="30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34" y="28"/>
                  </a:lnTo>
                  <a:lnTo>
                    <a:pt x="134" y="28"/>
                  </a:lnTo>
                  <a:lnTo>
                    <a:pt x="114" y="30"/>
                  </a:lnTo>
                  <a:lnTo>
                    <a:pt x="98" y="32"/>
                  </a:lnTo>
                  <a:lnTo>
                    <a:pt x="82" y="34"/>
                  </a:lnTo>
                  <a:lnTo>
                    <a:pt x="68" y="38"/>
                  </a:lnTo>
                  <a:lnTo>
                    <a:pt x="56" y="44"/>
                  </a:lnTo>
                  <a:lnTo>
                    <a:pt x="44" y="50"/>
                  </a:lnTo>
                  <a:lnTo>
                    <a:pt x="26" y="62"/>
                  </a:lnTo>
                  <a:lnTo>
                    <a:pt x="14" y="74"/>
                  </a:lnTo>
                  <a:lnTo>
                    <a:pt x="6" y="8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6" y="92"/>
                  </a:lnTo>
                  <a:lnTo>
                    <a:pt x="12" y="86"/>
                  </a:lnTo>
                  <a:lnTo>
                    <a:pt x="20" y="82"/>
                  </a:lnTo>
                  <a:lnTo>
                    <a:pt x="34" y="76"/>
                  </a:lnTo>
                  <a:lnTo>
                    <a:pt x="50" y="72"/>
                  </a:lnTo>
                  <a:lnTo>
                    <a:pt x="70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116" y="68"/>
                  </a:lnTo>
                  <a:lnTo>
                    <a:pt x="142" y="70"/>
                  </a:lnTo>
                  <a:lnTo>
                    <a:pt x="142" y="70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80" y="72"/>
                  </a:lnTo>
                  <a:lnTo>
                    <a:pt x="194" y="70"/>
                  </a:lnTo>
                  <a:lnTo>
                    <a:pt x="204" y="66"/>
                  </a:lnTo>
                  <a:lnTo>
                    <a:pt x="214" y="62"/>
                  </a:lnTo>
                  <a:lnTo>
                    <a:pt x="222" y="56"/>
                  </a:lnTo>
                  <a:lnTo>
                    <a:pt x="228" y="50"/>
                  </a:lnTo>
                  <a:lnTo>
                    <a:pt x="236" y="36"/>
                  </a:lnTo>
                  <a:lnTo>
                    <a:pt x="240" y="24"/>
                  </a:lnTo>
                  <a:lnTo>
                    <a:pt x="242" y="12"/>
                  </a:lnTo>
                  <a:lnTo>
                    <a:pt x="242" y="0"/>
                  </a:lnTo>
                  <a:lnTo>
                    <a:pt x="242" y="0"/>
                  </a:lnTo>
                  <a:close/>
                </a:path>
              </a:pathLst>
            </a:custGeom>
            <a:grpFill/>
            <a:ln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186" name="Group 185"/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5116886" y="1285670"/>
            <a:ext cx="250978" cy="286217"/>
            <a:chOff x="1468438" y="4147241"/>
            <a:chExt cx="304800" cy="357188"/>
          </a:xfrm>
          <a:solidFill>
            <a:schemeClr val="bg1"/>
          </a:solidFill>
        </p:grpSpPr>
        <p:sp>
          <p:nvSpPr>
            <p:cNvPr id="187" name="Freeform 41"/>
            <p:cNvSpPr>
              <a:spLocks/>
            </p:cNvSpPr>
            <p:nvPr/>
          </p:nvSpPr>
          <p:spPr bwMode="auto">
            <a:xfrm>
              <a:off x="1468438" y="4318691"/>
              <a:ext cx="304800" cy="93663"/>
            </a:xfrm>
            <a:custGeom>
              <a:avLst/>
              <a:gdLst>
                <a:gd name="T0" fmla="*/ 48 w 2880"/>
                <a:gd name="T1" fmla="*/ 30 h 876"/>
                <a:gd name="T2" fmla="*/ 158 w 2880"/>
                <a:gd name="T3" fmla="*/ 86 h 876"/>
                <a:gd name="T4" fmla="*/ 287 w 2880"/>
                <a:gd name="T5" fmla="*/ 137 h 876"/>
                <a:gd name="T6" fmla="*/ 444 w 2880"/>
                <a:gd name="T7" fmla="*/ 184 h 876"/>
                <a:gd name="T8" fmla="*/ 623 w 2880"/>
                <a:gd name="T9" fmla="*/ 225 h 876"/>
                <a:gd name="T10" fmla="*/ 824 w 2880"/>
                <a:gd name="T11" fmla="*/ 258 h 876"/>
                <a:gd name="T12" fmla="*/ 1046 w 2880"/>
                <a:gd name="T13" fmla="*/ 281 h 876"/>
                <a:gd name="T14" fmla="*/ 1289 w 2880"/>
                <a:gd name="T15" fmla="*/ 294 h 876"/>
                <a:gd name="T16" fmla="*/ 1590 w 2880"/>
                <a:gd name="T17" fmla="*/ 294 h 876"/>
                <a:gd name="T18" fmla="*/ 1833 w 2880"/>
                <a:gd name="T19" fmla="*/ 281 h 876"/>
                <a:gd name="T20" fmla="*/ 2055 w 2880"/>
                <a:gd name="T21" fmla="*/ 258 h 876"/>
                <a:gd name="T22" fmla="*/ 2255 w 2880"/>
                <a:gd name="T23" fmla="*/ 226 h 876"/>
                <a:gd name="T24" fmla="*/ 2434 w 2880"/>
                <a:gd name="T25" fmla="*/ 185 h 876"/>
                <a:gd name="T26" fmla="*/ 2591 w 2880"/>
                <a:gd name="T27" fmla="*/ 137 h 876"/>
                <a:gd name="T28" fmla="*/ 2720 w 2880"/>
                <a:gd name="T29" fmla="*/ 87 h 876"/>
                <a:gd name="T30" fmla="*/ 2832 w 2880"/>
                <a:gd name="T31" fmla="*/ 30 h 876"/>
                <a:gd name="T32" fmla="*/ 2880 w 2880"/>
                <a:gd name="T33" fmla="*/ 545 h 876"/>
                <a:gd name="T34" fmla="*/ 2807 w 2880"/>
                <a:gd name="T35" fmla="*/ 605 h 876"/>
                <a:gd name="T36" fmla="*/ 2703 w 2880"/>
                <a:gd name="T37" fmla="*/ 663 h 876"/>
                <a:gd name="T38" fmla="*/ 2571 w 2880"/>
                <a:gd name="T39" fmla="*/ 716 h 876"/>
                <a:gd name="T40" fmla="*/ 2414 w 2880"/>
                <a:gd name="T41" fmla="*/ 764 h 876"/>
                <a:gd name="T42" fmla="*/ 2233 w 2880"/>
                <a:gd name="T43" fmla="*/ 805 h 876"/>
                <a:gd name="T44" fmla="*/ 2030 w 2880"/>
                <a:gd name="T45" fmla="*/ 839 h 876"/>
                <a:gd name="T46" fmla="*/ 1807 w 2880"/>
                <a:gd name="T47" fmla="*/ 862 h 876"/>
                <a:gd name="T48" fmla="*/ 1567 w 2880"/>
                <a:gd name="T49" fmla="*/ 875 h 876"/>
                <a:gd name="T50" fmla="*/ 1313 w 2880"/>
                <a:gd name="T51" fmla="*/ 875 h 876"/>
                <a:gd name="T52" fmla="*/ 1073 w 2880"/>
                <a:gd name="T53" fmla="*/ 862 h 876"/>
                <a:gd name="T54" fmla="*/ 850 w 2880"/>
                <a:gd name="T55" fmla="*/ 839 h 876"/>
                <a:gd name="T56" fmla="*/ 647 w 2880"/>
                <a:gd name="T57" fmla="*/ 805 h 876"/>
                <a:gd name="T58" fmla="*/ 466 w 2880"/>
                <a:gd name="T59" fmla="*/ 764 h 876"/>
                <a:gd name="T60" fmla="*/ 309 w 2880"/>
                <a:gd name="T61" fmla="*/ 716 h 876"/>
                <a:gd name="T62" fmla="*/ 177 w 2880"/>
                <a:gd name="T63" fmla="*/ 663 h 876"/>
                <a:gd name="T64" fmla="*/ 73 w 2880"/>
                <a:gd name="T65" fmla="*/ 605 h 876"/>
                <a:gd name="T66" fmla="*/ 0 w 2880"/>
                <a:gd name="T67" fmla="*/ 545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0" h="876">
                  <a:moveTo>
                    <a:pt x="0" y="0"/>
                  </a:moveTo>
                  <a:lnTo>
                    <a:pt x="48" y="30"/>
                  </a:lnTo>
                  <a:lnTo>
                    <a:pt x="101" y="60"/>
                  </a:lnTo>
                  <a:lnTo>
                    <a:pt x="158" y="86"/>
                  </a:lnTo>
                  <a:lnTo>
                    <a:pt x="221" y="112"/>
                  </a:lnTo>
                  <a:lnTo>
                    <a:pt x="287" y="137"/>
                  </a:lnTo>
                  <a:lnTo>
                    <a:pt x="362" y="161"/>
                  </a:lnTo>
                  <a:lnTo>
                    <a:pt x="444" y="184"/>
                  </a:lnTo>
                  <a:lnTo>
                    <a:pt x="531" y="206"/>
                  </a:lnTo>
                  <a:lnTo>
                    <a:pt x="623" y="225"/>
                  </a:lnTo>
                  <a:lnTo>
                    <a:pt x="721" y="243"/>
                  </a:lnTo>
                  <a:lnTo>
                    <a:pt x="824" y="258"/>
                  </a:lnTo>
                  <a:lnTo>
                    <a:pt x="932" y="271"/>
                  </a:lnTo>
                  <a:lnTo>
                    <a:pt x="1046" y="281"/>
                  </a:lnTo>
                  <a:lnTo>
                    <a:pt x="1166" y="289"/>
                  </a:lnTo>
                  <a:lnTo>
                    <a:pt x="1289" y="294"/>
                  </a:lnTo>
                  <a:lnTo>
                    <a:pt x="1440" y="296"/>
                  </a:lnTo>
                  <a:lnTo>
                    <a:pt x="1590" y="294"/>
                  </a:lnTo>
                  <a:lnTo>
                    <a:pt x="1714" y="289"/>
                  </a:lnTo>
                  <a:lnTo>
                    <a:pt x="1833" y="281"/>
                  </a:lnTo>
                  <a:lnTo>
                    <a:pt x="1947" y="271"/>
                  </a:lnTo>
                  <a:lnTo>
                    <a:pt x="2055" y="258"/>
                  </a:lnTo>
                  <a:lnTo>
                    <a:pt x="2157" y="243"/>
                  </a:lnTo>
                  <a:lnTo>
                    <a:pt x="2255" y="226"/>
                  </a:lnTo>
                  <a:lnTo>
                    <a:pt x="2347" y="206"/>
                  </a:lnTo>
                  <a:lnTo>
                    <a:pt x="2434" y="185"/>
                  </a:lnTo>
                  <a:lnTo>
                    <a:pt x="2515" y="162"/>
                  </a:lnTo>
                  <a:lnTo>
                    <a:pt x="2591" y="137"/>
                  </a:lnTo>
                  <a:lnTo>
                    <a:pt x="2658" y="112"/>
                  </a:lnTo>
                  <a:lnTo>
                    <a:pt x="2720" y="87"/>
                  </a:lnTo>
                  <a:lnTo>
                    <a:pt x="2778" y="60"/>
                  </a:lnTo>
                  <a:lnTo>
                    <a:pt x="2832" y="30"/>
                  </a:lnTo>
                  <a:lnTo>
                    <a:pt x="2880" y="0"/>
                  </a:lnTo>
                  <a:lnTo>
                    <a:pt x="2880" y="545"/>
                  </a:lnTo>
                  <a:lnTo>
                    <a:pt x="2848" y="575"/>
                  </a:lnTo>
                  <a:lnTo>
                    <a:pt x="2807" y="605"/>
                  </a:lnTo>
                  <a:lnTo>
                    <a:pt x="2759" y="634"/>
                  </a:lnTo>
                  <a:lnTo>
                    <a:pt x="2703" y="663"/>
                  </a:lnTo>
                  <a:lnTo>
                    <a:pt x="2640" y="690"/>
                  </a:lnTo>
                  <a:lnTo>
                    <a:pt x="2571" y="716"/>
                  </a:lnTo>
                  <a:lnTo>
                    <a:pt x="2496" y="741"/>
                  </a:lnTo>
                  <a:lnTo>
                    <a:pt x="2414" y="764"/>
                  </a:lnTo>
                  <a:lnTo>
                    <a:pt x="2326" y="786"/>
                  </a:lnTo>
                  <a:lnTo>
                    <a:pt x="2233" y="805"/>
                  </a:lnTo>
                  <a:lnTo>
                    <a:pt x="2133" y="823"/>
                  </a:lnTo>
                  <a:lnTo>
                    <a:pt x="2030" y="839"/>
                  </a:lnTo>
                  <a:lnTo>
                    <a:pt x="1921" y="852"/>
                  </a:lnTo>
                  <a:lnTo>
                    <a:pt x="1807" y="862"/>
                  </a:lnTo>
                  <a:lnTo>
                    <a:pt x="1688" y="870"/>
                  </a:lnTo>
                  <a:lnTo>
                    <a:pt x="1567" y="875"/>
                  </a:lnTo>
                  <a:lnTo>
                    <a:pt x="1440" y="876"/>
                  </a:lnTo>
                  <a:lnTo>
                    <a:pt x="1313" y="875"/>
                  </a:lnTo>
                  <a:lnTo>
                    <a:pt x="1192" y="870"/>
                  </a:lnTo>
                  <a:lnTo>
                    <a:pt x="1073" y="862"/>
                  </a:lnTo>
                  <a:lnTo>
                    <a:pt x="959" y="852"/>
                  </a:lnTo>
                  <a:lnTo>
                    <a:pt x="850" y="839"/>
                  </a:lnTo>
                  <a:lnTo>
                    <a:pt x="747" y="823"/>
                  </a:lnTo>
                  <a:lnTo>
                    <a:pt x="647" y="805"/>
                  </a:lnTo>
                  <a:lnTo>
                    <a:pt x="554" y="786"/>
                  </a:lnTo>
                  <a:lnTo>
                    <a:pt x="466" y="764"/>
                  </a:lnTo>
                  <a:lnTo>
                    <a:pt x="384" y="741"/>
                  </a:lnTo>
                  <a:lnTo>
                    <a:pt x="309" y="716"/>
                  </a:lnTo>
                  <a:lnTo>
                    <a:pt x="240" y="690"/>
                  </a:lnTo>
                  <a:lnTo>
                    <a:pt x="177" y="663"/>
                  </a:lnTo>
                  <a:lnTo>
                    <a:pt x="121" y="634"/>
                  </a:lnTo>
                  <a:lnTo>
                    <a:pt x="73" y="605"/>
                  </a:lnTo>
                  <a:lnTo>
                    <a:pt x="32" y="575"/>
                  </a:lnTo>
                  <a:lnTo>
                    <a:pt x="0" y="54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8" name="Freeform 42"/>
            <p:cNvSpPr>
              <a:spLocks/>
            </p:cNvSpPr>
            <p:nvPr/>
          </p:nvSpPr>
          <p:spPr bwMode="auto">
            <a:xfrm>
              <a:off x="1468438" y="4239316"/>
              <a:ext cx="304800" cy="92075"/>
            </a:xfrm>
            <a:custGeom>
              <a:avLst/>
              <a:gdLst>
                <a:gd name="T0" fmla="*/ 52 w 2880"/>
                <a:gd name="T1" fmla="*/ 34 h 877"/>
                <a:gd name="T2" fmla="*/ 176 w 2880"/>
                <a:gd name="T3" fmla="*/ 94 h 877"/>
                <a:gd name="T4" fmla="*/ 319 w 2880"/>
                <a:gd name="T5" fmla="*/ 148 h 877"/>
                <a:gd name="T6" fmla="*/ 482 w 2880"/>
                <a:gd name="T7" fmla="*/ 192 h 877"/>
                <a:gd name="T8" fmla="*/ 658 w 2880"/>
                <a:gd name="T9" fmla="*/ 230 h 877"/>
                <a:gd name="T10" fmla="*/ 845 w 2880"/>
                <a:gd name="T11" fmla="*/ 259 h 877"/>
                <a:gd name="T12" fmla="*/ 1040 w 2880"/>
                <a:gd name="T13" fmla="*/ 280 h 877"/>
                <a:gd name="T14" fmla="*/ 1239 w 2880"/>
                <a:gd name="T15" fmla="*/ 292 h 877"/>
                <a:gd name="T16" fmla="*/ 1440 w 2880"/>
                <a:gd name="T17" fmla="*/ 297 h 877"/>
                <a:gd name="T18" fmla="*/ 1641 w 2880"/>
                <a:gd name="T19" fmla="*/ 292 h 877"/>
                <a:gd name="T20" fmla="*/ 1840 w 2880"/>
                <a:gd name="T21" fmla="*/ 280 h 877"/>
                <a:gd name="T22" fmla="*/ 2035 w 2880"/>
                <a:gd name="T23" fmla="*/ 259 h 877"/>
                <a:gd name="T24" fmla="*/ 2222 w 2880"/>
                <a:gd name="T25" fmla="*/ 230 h 877"/>
                <a:gd name="T26" fmla="*/ 2398 w 2880"/>
                <a:gd name="T27" fmla="*/ 192 h 877"/>
                <a:gd name="T28" fmla="*/ 2561 w 2880"/>
                <a:gd name="T29" fmla="*/ 148 h 877"/>
                <a:gd name="T30" fmla="*/ 2704 w 2880"/>
                <a:gd name="T31" fmla="*/ 94 h 877"/>
                <a:gd name="T32" fmla="*/ 2828 w 2880"/>
                <a:gd name="T33" fmla="*/ 34 h 877"/>
                <a:gd name="T34" fmla="*/ 2880 w 2880"/>
                <a:gd name="T35" fmla="*/ 546 h 877"/>
                <a:gd name="T36" fmla="*/ 2808 w 2880"/>
                <a:gd name="T37" fmla="*/ 605 h 877"/>
                <a:gd name="T38" fmla="*/ 2706 w 2880"/>
                <a:gd name="T39" fmla="*/ 662 h 877"/>
                <a:gd name="T40" fmla="*/ 2578 w 2880"/>
                <a:gd name="T41" fmla="*/ 714 h 877"/>
                <a:gd name="T42" fmla="*/ 2424 w 2880"/>
                <a:gd name="T43" fmla="*/ 762 h 877"/>
                <a:gd name="T44" fmla="*/ 2247 w 2880"/>
                <a:gd name="T45" fmla="*/ 803 h 877"/>
                <a:gd name="T46" fmla="*/ 2048 w 2880"/>
                <a:gd name="T47" fmla="*/ 837 h 877"/>
                <a:gd name="T48" fmla="*/ 1832 w 2880"/>
                <a:gd name="T49" fmla="*/ 861 h 877"/>
                <a:gd name="T50" fmla="*/ 1596 w 2880"/>
                <a:gd name="T51" fmla="*/ 875 h 877"/>
                <a:gd name="T52" fmla="*/ 1520 w 2880"/>
                <a:gd name="T53" fmla="*/ 877 h 877"/>
                <a:gd name="T54" fmla="*/ 1360 w 2880"/>
                <a:gd name="T55" fmla="*/ 877 h 877"/>
                <a:gd name="T56" fmla="*/ 1284 w 2880"/>
                <a:gd name="T57" fmla="*/ 875 h 877"/>
                <a:gd name="T58" fmla="*/ 1048 w 2880"/>
                <a:gd name="T59" fmla="*/ 861 h 877"/>
                <a:gd name="T60" fmla="*/ 832 w 2880"/>
                <a:gd name="T61" fmla="*/ 837 h 877"/>
                <a:gd name="T62" fmla="*/ 633 w 2880"/>
                <a:gd name="T63" fmla="*/ 803 h 877"/>
                <a:gd name="T64" fmla="*/ 456 w 2880"/>
                <a:gd name="T65" fmla="*/ 762 h 877"/>
                <a:gd name="T66" fmla="*/ 302 w 2880"/>
                <a:gd name="T67" fmla="*/ 714 h 877"/>
                <a:gd name="T68" fmla="*/ 174 w 2880"/>
                <a:gd name="T69" fmla="*/ 662 h 877"/>
                <a:gd name="T70" fmla="*/ 72 w 2880"/>
                <a:gd name="T71" fmla="*/ 605 h 877"/>
                <a:gd name="T72" fmla="*/ 0 w 2880"/>
                <a:gd name="T73" fmla="*/ 546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80" h="877">
                  <a:moveTo>
                    <a:pt x="0" y="0"/>
                  </a:moveTo>
                  <a:lnTo>
                    <a:pt x="52" y="34"/>
                  </a:lnTo>
                  <a:lnTo>
                    <a:pt x="111" y="65"/>
                  </a:lnTo>
                  <a:lnTo>
                    <a:pt x="176" y="94"/>
                  </a:lnTo>
                  <a:lnTo>
                    <a:pt x="245" y="122"/>
                  </a:lnTo>
                  <a:lnTo>
                    <a:pt x="319" y="148"/>
                  </a:lnTo>
                  <a:lnTo>
                    <a:pt x="399" y="171"/>
                  </a:lnTo>
                  <a:lnTo>
                    <a:pt x="482" y="192"/>
                  </a:lnTo>
                  <a:lnTo>
                    <a:pt x="568" y="212"/>
                  </a:lnTo>
                  <a:lnTo>
                    <a:pt x="658" y="230"/>
                  </a:lnTo>
                  <a:lnTo>
                    <a:pt x="750" y="245"/>
                  </a:lnTo>
                  <a:lnTo>
                    <a:pt x="845" y="259"/>
                  </a:lnTo>
                  <a:lnTo>
                    <a:pt x="941" y="270"/>
                  </a:lnTo>
                  <a:lnTo>
                    <a:pt x="1040" y="280"/>
                  </a:lnTo>
                  <a:lnTo>
                    <a:pt x="1139" y="287"/>
                  </a:lnTo>
                  <a:lnTo>
                    <a:pt x="1239" y="292"/>
                  </a:lnTo>
                  <a:lnTo>
                    <a:pt x="1339" y="296"/>
                  </a:lnTo>
                  <a:lnTo>
                    <a:pt x="1440" y="297"/>
                  </a:lnTo>
                  <a:lnTo>
                    <a:pt x="1541" y="296"/>
                  </a:lnTo>
                  <a:lnTo>
                    <a:pt x="1641" y="292"/>
                  </a:lnTo>
                  <a:lnTo>
                    <a:pt x="1741" y="287"/>
                  </a:lnTo>
                  <a:lnTo>
                    <a:pt x="1840" y="280"/>
                  </a:lnTo>
                  <a:lnTo>
                    <a:pt x="1939" y="270"/>
                  </a:lnTo>
                  <a:lnTo>
                    <a:pt x="2035" y="259"/>
                  </a:lnTo>
                  <a:lnTo>
                    <a:pt x="2130" y="245"/>
                  </a:lnTo>
                  <a:lnTo>
                    <a:pt x="2222" y="230"/>
                  </a:lnTo>
                  <a:lnTo>
                    <a:pt x="2312" y="212"/>
                  </a:lnTo>
                  <a:lnTo>
                    <a:pt x="2398" y="192"/>
                  </a:lnTo>
                  <a:lnTo>
                    <a:pt x="2481" y="171"/>
                  </a:lnTo>
                  <a:lnTo>
                    <a:pt x="2561" y="148"/>
                  </a:lnTo>
                  <a:lnTo>
                    <a:pt x="2635" y="122"/>
                  </a:lnTo>
                  <a:lnTo>
                    <a:pt x="2704" y="94"/>
                  </a:lnTo>
                  <a:lnTo>
                    <a:pt x="2769" y="65"/>
                  </a:lnTo>
                  <a:lnTo>
                    <a:pt x="2828" y="34"/>
                  </a:lnTo>
                  <a:lnTo>
                    <a:pt x="2880" y="0"/>
                  </a:lnTo>
                  <a:lnTo>
                    <a:pt x="2880" y="546"/>
                  </a:lnTo>
                  <a:lnTo>
                    <a:pt x="2848" y="575"/>
                  </a:lnTo>
                  <a:lnTo>
                    <a:pt x="2808" y="605"/>
                  </a:lnTo>
                  <a:lnTo>
                    <a:pt x="2761" y="633"/>
                  </a:lnTo>
                  <a:lnTo>
                    <a:pt x="2706" y="662"/>
                  </a:lnTo>
                  <a:lnTo>
                    <a:pt x="2645" y="689"/>
                  </a:lnTo>
                  <a:lnTo>
                    <a:pt x="2578" y="714"/>
                  </a:lnTo>
                  <a:lnTo>
                    <a:pt x="2504" y="738"/>
                  </a:lnTo>
                  <a:lnTo>
                    <a:pt x="2424" y="762"/>
                  </a:lnTo>
                  <a:lnTo>
                    <a:pt x="2339" y="784"/>
                  </a:lnTo>
                  <a:lnTo>
                    <a:pt x="2247" y="803"/>
                  </a:lnTo>
                  <a:lnTo>
                    <a:pt x="2151" y="821"/>
                  </a:lnTo>
                  <a:lnTo>
                    <a:pt x="2048" y="837"/>
                  </a:lnTo>
                  <a:lnTo>
                    <a:pt x="1943" y="850"/>
                  </a:lnTo>
                  <a:lnTo>
                    <a:pt x="1832" y="861"/>
                  </a:lnTo>
                  <a:lnTo>
                    <a:pt x="1715" y="869"/>
                  </a:lnTo>
                  <a:lnTo>
                    <a:pt x="1596" y="875"/>
                  </a:lnTo>
                  <a:lnTo>
                    <a:pt x="1576" y="875"/>
                  </a:lnTo>
                  <a:lnTo>
                    <a:pt x="1520" y="877"/>
                  </a:lnTo>
                  <a:lnTo>
                    <a:pt x="1440" y="877"/>
                  </a:lnTo>
                  <a:lnTo>
                    <a:pt x="1360" y="877"/>
                  </a:lnTo>
                  <a:lnTo>
                    <a:pt x="1304" y="875"/>
                  </a:lnTo>
                  <a:lnTo>
                    <a:pt x="1284" y="875"/>
                  </a:lnTo>
                  <a:lnTo>
                    <a:pt x="1165" y="869"/>
                  </a:lnTo>
                  <a:lnTo>
                    <a:pt x="1048" y="861"/>
                  </a:lnTo>
                  <a:lnTo>
                    <a:pt x="937" y="850"/>
                  </a:lnTo>
                  <a:lnTo>
                    <a:pt x="832" y="837"/>
                  </a:lnTo>
                  <a:lnTo>
                    <a:pt x="729" y="821"/>
                  </a:lnTo>
                  <a:lnTo>
                    <a:pt x="633" y="803"/>
                  </a:lnTo>
                  <a:lnTo>
                    <a:pt x="541" y="784"/>
                  </a:lnTo>
                  <a:lnTo>
                    <a:pt x="456" y="762"/>
                  </a:lnTo>
                  <a:lnTo>
                    <a:pt x="376" y="738"/>
                  </a:lnTo>
                  <a:lnTo>
                    <a:pt x="302" y="714"/>
                  </a:lnTo>
                  <a:lnTo>
                    <a:pt x="235" y="688"/>
                  </a:lnTo>
                  <a:lnTo>
                    <a:pt x="174" y="662"/>
                  </a:lnTo>
                  <a:lnTo>
                    <a:pt x="119" y="633"/>
                  </a:lnTo>
                  <a:lnTo>
                    <a:pt x="72" y="605"/>
                  </a:lnTo>
                  <a:lnTo>
                    <a:pt x="32" y="575"/>
                  </a:lnTo>
                  <a:lnTo>
                    <a:pt x="0" y="54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9" name="Freeform 43"/>
            <p:cNvSpPr>
              <a:spLocks/>
            </p:cNvSpPr>
            <p:nvPr/>
          </p:nvSpPr>
          <p:spPr bwMode="auto">
            <a:xfrm>
              <a:off x="1468438" y="4147241"/>
              <a:ext cx="304800" cy="104775"/>
            </a:xfrm>
            <a:custGeom>
              <a:avLst/>
              <a:gdLst>
                <a:gd name="T0" fmla="*/ 1556 w 2880"/>
                <a:gd name="T1" fmla="*/ 2 h 986"/>
                <a:gd name="T2" fmla="*/ 1775 w 2880"/>
                <a:gd name="T3" fmla="*/ 13 h 986"/>
                <a:gd name="T4" fmla="*/ 1975 w 2880"/>
                <a:gd name="T5" fmla="*/ 35 h 986"/>
                <a:gd name="T6" fmla="*/ 2155 w 2880"/>
                <a:gd name="T7" fmla="*/ 67 h 986"/>
                <a:gd name="T8" fmla="*/ 2317 w 2880"/>
                <a:gd name="T9" fmla="*/ 107 h 986"/>
                <a:gd name="T10" fmla="*/ 2458 w 2880"/>
                <a:gd name="T11" fmla="*/ 154 h 986"/>
                <a:gd name="T12" fmla="*/ 2579 w 2880"/>
                <a:gd name="T13" fmla="*/ 207 h 986"/>
                <a:gd name="T14" fmla="*/ 2681 w 2880"/>
                <a:gd name="T15" fmla="*/ 266 h 986"/>
                <a:gd name="T16" fmla="*/ 2762 w 2880"/>
                <a:gd name="T17" fmla="*/ 329 h 986"/>
                <a:gd name="T18" fmla="*/ 2821 w 2880"/>
                <a:gd name="T19" fmla="*/ 394 h 986"/>
                <a:gd name="T20" fmla="*/ 2861 w 2880"/>
                <a:gd name="T21" fmla="*/ 462 h 986"/>
                <a:gd name="T22" fmla="*/ 2878 w 2880"/>
                <a:gd name="T23" fmla="*/ 508 h 986"/>
                <a:gd name="T24" fmla="*/ 2880 w 2880"/>
                <a:gd name="T25" fmla="*/ 656 h 986"/>
                <a:gd name="T26" fmla="*/ 2807 w 2880"/>
                <a:gd name="T27" fmla="*/ 716 h 986"/>
                <a:gd name="T28" fmla="*/ 2704 w 2880"/>
                <a:gd name="T29" fmla="*/ 773 h 986"/>
                <a:gd name="T30" fmla="*/ 2573 w 2880"/>
                <a:gd name="T31" fmla="*/ 826 h 986"/>
                <a:gd name="T32" fmla="*/ 2416 w 2880"/>
                <a:gd name="T33" fmla="*/ 874 h 986"/>
                <a:gd name="T34" fmla="*/ 2235 w 2880"/>
                <a:gd name="T35" fmla="*/ 915 h 986"/>
                <a:gd name="T36" fmla="*/ 2032 w 2880"/>
                <a:gd name="T37" fmla="*/ 949 h 986"/>
                <a:gd name="T38" fmla="*/ 1809 w 2880"/>
                <a:gd name="T39" fmla="*/ 972 h 986"/>
                <a:gd name="T40" fmla="*/ 1567 w 2880"/>
                <a:gd name="T41" fmla="*/ 985 h 986"/>
                <a:gd name="T42" fmla="*/ 1313 w 2880"/>
                <a:gd name="T43" fmla="*/ 985 h 986"/>
                <a:gd name="T44" fmla="*/ 1071 w 2880"/>
                <a:gd name="T45" fmla="*/ 972 h 986"/>
                <a:gd name="T46" fmla="*/ 848 w 2880"/>
                <a:gd name="T47" fmla="*/ 949 h 986"/>
                <a:gd name="T48" fmla="*/ 645 w 2880"/>
                <a:gd name="T49" fmla="*/ 915 h 986"/>
                <a:gd name="T50" fmla="*/ 464 w 2880"/>
                <a:gd name="T51" fmla="*/ 874 h 986"/>
                <a:gd name="T52" fmla="*/ 307 w 2880"/>
                <a:gd name="T53" fmla="*/ 826 h 986"/>
                <a:gd name="T54" fmla="*/ 176 w 2880"/>
                <a:gd name="T55" fmla="*/ 773 h 986"/>
                <a:gd name="T56" fmla="*/ 73 w 2880"/>
                <a:gd name="T57" fmla="*/ 716 h 986"/>
                <a:gd name="T58" fmla="*/ 0 w 2880"/>
                <a:gd name="T59" fmla="*/ 656 h 986"/>
                <a:gd name="T60" fmla="*/ 2 w 2880"/>
                <a:gd name="T61" fmla="*/ 507 h 986"/>
                <a:gd name="T62" fmla="*/ 21 w 2880"/>
                <a:gd name="T63" fmla="*/ 458 h 986"/>
                <a:gd name="T64" fmla="*/ 63 w 2880"/>
                <a:gd name="T65" fmla="*/ 388 h 986"/>
                <a:gd name="T66" fmla="*/ 129 w 2880"/>
                <a:gd name="T67" fmla="*/ 319 h 986"/>
                <a:gd name="T68" fmla="*/ 216 w 2880"/>
                <a:gd name="T69" fmla="*/ 255 h 986"/>
                <a:gd name="T70" fmla="*/ 327 w 2880"/>
                <a:gd name="T71" fmla="*/ 195 h 986"/>
                <a:gd name="T72" fmla="*/ 459 w 2880"/>
                <a:gd name="T73" fmla="*/ 140 h 986"/>
                <a:gd name="T74" fmla="*/ 613 w 2880"/>
                <a:gd name="T75" fmla="*/ 93 h 986"/>
                <a:gd name="T76" fmla="*/ 788 w 2880"/>
                <a:gd name="T77" fmla="*/ 54 h 986"/>
                <a:gd name="T78" fmla="*/ 984 w 2880"/>
                <a:gd name="T79" fmla="*/ 25 h 986"/>
                <a:gd name="T80" fmla="*/ 1202 w 2880"/>
                <a:gd name="T81" fmla="*/ 6 h 986"/>
                <a:gd name="T82" fmla="*/ 1440 w 2880"/>
                <a:gd name="T83" fmla="*/ 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80" h="986">
                  <a:moveTo>
                    <a:pt x="1440" y="0"/>
                  </a:moveTo>
                  <a:lnTo>
                    <a:pt x="1556" y="2"/>
                  </a:lnTo>
                  <a:lnTo>
                    <a:pt x="1668" y="6"/>
                  </a:lnTo>
                  <a:lnTo>
                    <a:pt x="1775" y="13"/>
                  </a:lnTo>
                  <a:lnTo>
                    <a:pt x="1878" y="23"/>
                  </a:lnTo>
                  <a:lnTo>
                    <a:pt x="1975" y="35"/>
                  </a:lnTo>
                  <a:lnTo>
                    <a:pt x="2068" y="50"/>
                  </a:lnTo>
                  <a:lnTo>
                    <a:pt x="2155" y="67"/>
                  </a:lnTo>
                  <a:lnTo>
                    <a:pt x="2239" y="86"/>
                  </a:lnTo>
                  <a:lnTo>
                    <a:pt x="2317" y="107"/>
                  </a:lnTo>
                  <a:lnTo>
                    <a:pt x="2390" y="129"/>
                  </a:lnTo>
                  <a:lnTo>
                    <a:pt x="2458" y="154"/>
                  </a:lnTo>
                  <a:lnTo>
                    <a:pt x="2522" y="180"/>
                  </a:lnTo>
                  <a:lnTo>
                    <a:pt x="2579" y="207"/>
                  </a:lnTo>
                  <a:lnTo>
                    <a:pt x="2633" y="236"/>
                  </a:lnTo>
                  <a:lnTo>
                    <a:pt x="2681" y="266"/>
                  </a:lnTo>
                  <a:lnTo>
                    <a:pt x="2724" y="297"/>
                  </a:lnTo>
                  <a:lnTo>
                    <a:pt x="2762" y="329"/>
                  </a:lnTo>
                  <a:lnTo>
                    <a:pt x="2794" y="361"/>
                  </a:lnTo>
                  <a:lnTo>
                    <a:pt x="2821" y="394"/>
                  </a:lnTo>
                  <a:lnTo>
                    <a:pt x="2844" y="428"/>
                  </a:lnTo>
                  <a:lnTo>
                    <a:pt x="2861" y="462"/>
                  </a:lnTo>
                  <a:lnTo>
                    <a:pt x="2873" y="495"/>
                  </a:lnTo>
                  <a:lnTo>
                    <a:pt x="2878" y="508"/>
                  </a:lnTo>
                  <a:lnTo>
                    <a:pt x="2880" y="522"/>
                  </a:lnTo>
                  <a:lnTo>
                    <a:pt x="2880" y="656"/>
                  </a:lnTo>
                  <a:lnTo>
                    <a:pt x="2848" y="685"/>
                  </a:lnTo>
                  <a:lnTo>
                    <a:pt x="2807" y="716"/>
                  </a:lnTo>
                  <a:lnTo>
                    <a:pt x="2759" y="744"/>
                  </a:lnTo>
                  <a:lnTo>
                    <a:pt x="2704" y="773"/>
                  </a:lnTo>
                  <a:lnTo>
                    <a:pt x="2641" y="800"/>
                  </a:lnTo>
                  <a:lnTo>
                    <a:pt x="2573" y="826"/>
                  </a:lnTo>
                  <a:lnTo>
                    <a:pt x="2498" y="851"/>
                  </a:lnTo>
                  <a:lnTo>
                    <a:pt x="2416" y="874"/>
                  </a:lnTo>
                  <a:lnTo>
                    <a:pt x="2328" y="896"/>
                  </a:lnTo>
                  <a:lnTo>
                    <a:pt x="2235" y="915"/>
                  </a:lnTo>
                  <a:lnTo>
                    <a:pt x="2135" y="933"/>
                  </a:lnTo>
                  <a:lnTo>
                    <a:pt x="2032" y="949"/>
                  </a:lnTo>
                  <a:lnTo>
                    <a:pt x="1923" y="961"/>
                  </a:lnTo>
                  <a:lnTo>
                    <a:pt x="1809" y="972"/>
                  </a:lnTo>
                  <a:lnTo>
                    <a:pt x="1690" y="979"/>
                  </a:lnTo>
                  <a:lnTo>
                    <a:pt x="1567" y="985"/>
                  </a:lnTo>
                  <a:lnTo>
                    <a:pt x="1440" y="986"/>
                  </a:lnTo>
                  <a:lnTo>
                    <a:pt x="1313" y="985"/>
                  </a:lnTo>
                  <a:lnTo>
                    <a:pt x="1190" y="979"/>
                  </a:lnTo>
                  <a:lnTo>
                    <a:pt x="1071" y="972"/>
                  </a:lnTo>
                  <a:lnTo>
                    <a:pt x="957" y="961"/>
                  </a:lnTo>
                  <a:lnTo>
                    <a:pt x="848" y="949"/>
                  </a:lnTo>
                  <a:lnTo>
                    <a:pt x="745" y="933"/>
                  </a:lnTo>
                  <a:lnTo>
                    <a:pt x="645" y="915"/>
                  </a:lnTo>
                  <a:lnTo>
                    <a:pt x="552" y="896"/>
                  </a:lnTo>
                  <a:lnTo>
                    <a:pt x="464" y="874"/>
                  </a:lnTo>
                  <a:lnTo>
                    <a:pt x="382" y="851"/>
                  </a:lnTo>
                  <a:lnTo>
                    <a:pt x="307" y="826"/>
                  </a:lnTo>
                  <a:lnTo>
                    <a:pt x="239" y="800"/>
                  </a:lnTo>
                  <a:lnTo>
                    <a:pt x="176" y="773"/>
                  </a:lnTo>
                  <a:lnTo>
                    <a:pt x="121" y="744"/>
                  </a:lnTo>
                  <a:lnTo>
                    <a:pt x="73" y="716"/>
                  </a:lnTo>
                  <a:lnTo>
                    <a:pt x="32" y="685"/>
                  </a:lnTo>
                  <a:lnTo>
                    <a:pt x="0" y="656"/>
                  </a:lnTo>
                  <a:lnTo>
                    <a:pt x="0" y="522"/>
                  </a:lnTo>
                  <a:lnTo>
                    <a:pt x="2" y="507"/>
                  </a:lnTo>
                  <a:lnTo>
                    <a:pt x="8" y="493"/>
                  </a:lnTo>
                  <a:lnTo>
                    <a:pt x="21" y="458"/>
                  </a:lnTo>
                  <a:lnTo>
                    <a:pt x="39" y="423"/>
                  </a:lnTo>
                  <a:lnTo>
                    <a:pt x="63" y="388"/>
                  </a:lnTo>
                  <a:lnTo>
                    <a:pt x="93" y="353"/>
                  </a:lnTo>
                  <a:lnTo>
                    <a:pt x="129" y="319"/>
                  </a:lnTo>
                  <a:lnTo>
                    <a:pt x="170" y="286"/>
                  </a:lnTo>
                  <a:lnTo>
                    <a:pt x="216" y="255"/>
                  </a:lnTo>
                  <a:lnTo>
                    <a:pt x="268" y="224"/>
                  </a:lnTo>
                  <a:lnTo>
                    <a:pt x="327" y="195"/>
                  </a:lnTo>
                  <a:lnTo>
                    <a:pt x="390" y="166"/>
                  </a:lnTo>
                  <a:lnTo>
                    <a:pt x="459" y="140"/>
                  </a:lnTo>
                  <a:lnTo>
                    <a:pt x="533" y="116"/>
                  </a:lnTo>
                  <a:lnTo>
                    <a:pt x="613" y="93"/>
                  </a:lnTo>
                  <a:lnTo>
                    <a:pt x="697" y="72"/>
                  </a:lnTo>
                  <a:lnTo>
                    <a:pt x="788" y="54"/>
                  </a:lnTo>
                  <a:lnTo>
                    <a:pt x="884" y="39"/>
                  </a:lnTo>
                  <a:lnTo>
                    <a:pt x="984" y="25"/>
                  </a:lnTo>
                  <a:lnTo>
                    <a:pt x="1091" y="14"/>
                  </a:lnTo>
                  <a:lnTo>
                    <a:pt x="1202" y="6"/>
                  </a:lnTo>
                  <a:lnTo>
                    <a:pt x="1319" y="2"/>
                  </a:lnTo>
                  <a:lnTo>
                    <a:pt x="1440" y="0"/>
                  </a:lnTo>
                  <a:close/>
                </a:path>
              </a:pathLst>
            </a:custGeom>
            <a:grpFill/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90" name="Freeform 44"/>
            <p:cNvSpPr>
              <a:spLocks/>
            </p:cNvSpPr>
            <p:nvPr/>
          </p:nvSpPr>
          <p:spPr bwMode="auto">
            <a:xfrm>
              <a:off x="1468438" y="4399654"/>
              <a:ext cx="304800" cy="104775"/>
            </a:xfrm>
            <a:custGeom>
              <a:avLst/>
              <a:gdLst>
                <a:gd name="T0" fmla="*/ 47 w 2880"/>
                <a:gd name="T1" fmla="*/ 31 h 997"/>
                <a:gd name="T2" fmla="*/ 160 w 2880"/>
                <a:gd name="T3" fmla="*/ 90 h 997"/>
                <a:gd name="T4" fmla="*/ 296 w 2880"/>
                <a:gd name="T5" fmla="*/ 145 h 997"/>
                <a:gd name="T6" fmla="*/ 455 w 2880"/>
                <a:gd name="T7" fmla="*/ 193 h 997"/>
                <a:gd name="T8" fmla="*/ 636 w 2880"/>
                <a:gd name="T9" fmla="*/ 234 h 997"/>
                <a:gd name="T10" fmla="*/ 839 w 2880"/>
                <a:gd name="T11" fmla="*/ 265 h 997"/>
                <a:gd name="T12" fmla="*/ 1063 w 2880"/>
                <a:gd name="T13" fmla="*/ 289 h 997"/>
                <a:gd name="T14" fmla="*/ 1309 w 2880"/>
                <a:gd name="T15" fmla="*/ 300 h 997"/>
                <a:gd name="T16" fmla="*/ 1571 w 2880"/>
                <a:gd name="T17" fmla="*/ 300 h 997"/>
                <a:gd name="T18" fmla="*/ 1817 w 2880"/>
                <a:gd name="T19" fmla="*/ 289 h 997"/>
                <a:gd name="T20" fmla="*/ 2041 w 2880"/>
                <a:gd name="T21" fmla="*/ 265 h 997"/>
                <a:gd name="T22" fmla="*/ 2244 w 2880"/>
                <a:gd name="T23" fmla="*/ 234 h 997"/>
                <a:gd name="T24" fmla="*/ 2425 w 2880"/>
                <a:gd name="T25" fmla="*/ 193 h 997"/>
                <a:gd name="T26" fmla="*/ 2584 w 2880"/>
                <a:gd name="T27" fmla="*/ 145 h 997"/>
                <a:gd name="T28" fmla="*/ 2720 w 2880"/>
                <a:gd name="T29" fmla="*/ 90 h 997"/>
                <a:gd name="T30" fmla="*/ 2833 w 2880"/>
                <a:gd name="T31" fmla="*/ 31 h 997"/>
                <a:gd name="T32" fmla="*/ 2880 w 2880"/>
                <a:gd name="T33" fmla="*/ 475 h 997"/>
                <a:gd name="T34" fmla="*/ 2873 w 2880"/>
                <a:gd name="T35" fmla="*/ 504 h 997"/>
                <a:gd name="T36" fmla="*/ 2838 w 2880"/>
                <a:gd name="T37" fmla="*/ 582 h 997"/>
                <a:gd name="T38" fmla="*/ 2776 w 2880"/>
                <a:gd name="T39" fmla="*/ 657 h 997"/>
                <a:gd name="T40" fmla="*/ 2690 w 2880"/>
                <a:gd name="T41" fmla="*/ 725 h 997"/>
                <a:gd name="T42" fmla="*/ 2580 w 2880"/>
                <a:gd name="T43" fmla="*/ 787 h 997"/>
                <a:gd name="T44" fmla="*/ 2449 w 2880"/>
                <a:gd name="T45" fmla="*/ 844 h 997"/>
                <a:gd name="T46" fmla="*/ 2299 w 2880"/>
                <a:gd name="T47" fmla="*/ 892 h 997"/>
                <a:gd name="T48" fmla="*/ 2131 w 2880"/>
                <a:gd name="T49" fmla="*/ 933 h 997"/>
                <a:gd name="T50" fmla="*/ 1949 w 2880"/>
                <a:gd name="T51" fmla="*/ 963 h 997"/>
                <a:gd name="T52" fmla="*/ 1753 w 2880"/>
                <a:gd name="T53" fmla="*/ 986 h 997"/>
                <a:gd name="T54" fmla="*/ 1547 w 2880"/>
                <a:gd name="T55" fmla="*/ 996 h 997"/>
                <a:gd name="T56" fmla="*/ 1333 w 2880"/>
                <a:gd name="T57" fmla="*/ 996 h 997"/>
                <a:gd name="T58" fmla="*/ 1126 w 2880"/>
                <a:gd name="T59" fmla="*/ 985 h 997"/>
                <a:gd name="T60" fmla="*/ 930 w 2880"/>
                <a:gd name="T61" fmla="*/ 963 h 997"/>
                <a:gd name="T62" fmla="*/ 748 w 2880"/>
                <a:gd name="T63" fmla="*/ 932 h 997"/>
                <a:gd name="T64" fmla="*/ 580 w 2880"/>
                <a:gd name="T65" fmla="*/ 892 h 997"/>
                <a:gd name="T66" fmla="*/ 429 w 2880"/>
                <a:gd name="T67" fmla="*/ 843 h 997"/>
                <a:gd name="T68" fmla="*/ 298 w 2880"/>
                <a:gd name="T69" fmla="*/ 787 h 997"/>
                <a:gd name="T70" fmla="*/ 189 w 2880"/>
                <a:gd name="T71" fmla="*/ 724 h 997"/>
                <a:gd name="T72" fmla="*/ 102 w 2880"/>
                <a:gd name="T73" fmla="*/ 656 h 997"/>
                <a:gd name="T74" fmla="*/ 41 w 2880"/>
                <a:gd name="T75" fmla="*/ 581 h 997"/>
                <a:gd name="T76" fmla="*/ 6 w 2880"/>
                <a:gd name="T77" fmla="*/ 502 h 997"/>
                <a:gd name="T78" fmla="*/ 0 w 2880"/>
                <a:gd name="T79" fmla="*/ 475 h 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80" h="997">
                  <a:moveTo>
                    <a:pt x="0" y="0"/>
                  </a:moveTo>
                  <a:lnTo>
                    <a:pt x="47" y="31"/>
                  </a:lnTo>
                  <a:lnTo>
                    <a:pt x="102" y="61"/>
                  </a:lnTo>
                  <a:lnTo>
                    <a:pt x="160" y="90"/>
                  </a:lnTo>
                  <a:lnTo>
                    <a:pt x="225" y="118"/>
                  </a:lnTo>
                  <a:lnTo>
                    <a:pt x="296" y="145"/>
                  </a:lnTo>
                  <a:lnTo>
                    <a:pt x="373" y="169"/>
                  </a:lnTo>
                  <a:lnTo>
                    <a:pt x="455" y="193"/>
                  </a:lnTo>
                  <a:lnTo>
                    <a:pt x="542" y="214"/>
                  </a:lnTo>
                  <a:lnTo>
                    <a:pt x="636" y="234"/>
                  </a:lnTo>
                  <a:lnTo>
                    <a:pt x="735" y="251"/>
                  </a:lnTo>
                  <a:lnTo>
                    <a:pt x="839" y="265"/>
                  </a:lnTo>
                  <a:lnTo>
                    <a:pt x="949" y="278"/>
                  </a:lnTo>
                  <a:lnTo>
                    <a:pt x="1063" y="289"/>
                  </a:lnTo>
                  <a:lnTo>
                    <a:pt x="1183" y="296"/>
                  </a:lnTo>
                  <a:lnTo>
                    <a:pt x="1309" y="300"/>
                  </a:lnTo>
                  <a:lnTo>
                    <a:pt x="1440" y="301"/>
                  </a:lnTo>
                  <a:lnTo>
                    <a:pt x="1571" y="300"/>
                  </a:lnTo>
                  <a:lnTo>
                    <a:pt x="1697" y="296"/>
                  </a:lnTo>
                  <a:lnTo>
                    <a:pt x="1817" y="289"/>
                  </a:lnTo>
                  <a:lnTo>
                    <a:pt x="1931" y="278"/>
                  </a:lnTo>
                  <a:lnTo>
                    <a:pt x="2041" y="265"/>
                  </a:lnTo>
                  <a:lnTo>
                    <a:pt x="2145" y="251"/>
                  </a:lnTo>
                  <a:lnTo>
                    <a:pt x="2244" y="234"/>
                  </a:lnTo>
                  <a:lnTo>
                    <a:pt x="2338" y="214"/>
                  </a:lnTo>
                  <a:lnTo>
                    <a:pt x="2425" y="193"/>
                  </a:lnTo>
                  <a:lnTo>
                    <a:pt x="2507" y="169"/>
                  </a:lnTo>
                  <a:lnTo>
                    <a:pt x="2584" y="145"/>
                  </a:lnTo>
                  <a:lnTo>
                    <a:pt x="2655" y="118"/>
                  </a:lnTo>
                  <a:lnTo>
                    <a:pt x="2720" y="90"/>
                  </a:lnTo>
                  <a:lnTo>
                    <a:pt x="2778" y="61"/>
                  </a:lnTo>
                  <a:lnTo>
                    <a:pt x="2833" y="31"/>
                  </a:lnTo>
                  <a:lnTo>
                    <a:pt x="2880" y="0"/>
                  </a:lnTo>
                  <a:lnTo>
                    <a:pt x="2880" y="475"/>
                  </a:lnTo>
                  <a:lnTo>
                    <a:pt x="2878" y="490"/>
                  </a:lnTo>
                  <a:lnTo>
                    <a:pt x="2873" y="504"/>
                  </a:lnTo>
                  <a:lnTo>
                    <a:pt x="2859" y="544"/>
                  </a:lnTo>
                  <a:lnTo>
                    <a:pt x="2838" y="582"/>
                  </a:lnTo>
                  <a:lnTo>
                    <a:pt x="2811" y="620"/>
                  </a:lnTo>
                  <a:lnTo>
                    <a:pt x="2776" y="657"/>
                  </a:lnTo>
                  <a:lnTo>
                    <a:pt x="2737" y="691"/>
                  </a:lnTo>
                  <a:lnTo>
                    <a:pt x="2690" y="725"/>
                  </a:lnTo>
                  <a:lnTo>
                    <a:pt x="2638" y="757"/>
                  </a:lnTo>
                  <a:lnTo>
                    <a:pt x="2580" y="787"/>
                  </a:lnTo>
                  <a:lnTo>
                    <a:pt x="2517" y="817"/>
                  </a:lnTo>
                  <a:lnTo>
                    <a:pt x="2449" y="844"/>
                  </a:lnTo>
                  <a:lnTo>
                    <a:pt x="2376" y="869"/>
                  </a:lnTo>
                  <a:lnTo>
                    <a:pt x="2299" y="892"/>
                  </a:lnTo>
                  <a:lnTo>
                    <a:pt x="2217" y="913"/>
                  </a:lnTo>
                  <a:lnTo>
                    <a:pt x="2131" y="933"/>
                  </a:lnTo>
                  <a:lnTo>
                    <a:pt x="2042" y="949"/>
                  </a:lnTo>
                  <a:lnTo>
                    <a:pt x="1949" y="963"/>
                  </a:lnTo>
                  <a:lnTo>
                    <a:pt x="1853" y="975"/>
                  </a:lnTo>
                  <a:lnTo>
                    <a:pt x="1753" y="986"/>
                  </a:lnTo>
                  <a:lnTo>
                    <a:pt x="1652" y="992"/>
                  </a:lnTo>
                  <a:lnTo>
                    <a:pt x="1547" y="996"/>
                  </a:lnTo>
                  <a:lnTo>
                    <a:pt x="1440" y="997"/>
                  </a:lnTo>
                  <a:lnTo>
                    <a:pt x="1333" y="996"/>
                  </a:lnTo>
                  <a:lnTo>
                    <a:pt x="1228" y="992"/>
                  </a:lnTo>
                  <a:lnTo>
                    <a:pt x="1126" y="985"/>
                  </a:lnTo>
                  <a:lnTo>
                    <a:pt x="1026" y="975"/>
                  </a:lnTo>
                  <a:lnTo>
                    <a:pt x="930" y="963"/>
                  </a:lnTo>
                  <a:lnTo>
                    <a:pt x="837" y="949"/>
                  </a:lnTo>
                  <a:lnTo>
                    <a:pt x="748" y="932"/>
                  </a:lnTo>
                  <a:lnTo>
                    <a:pt x="662" y="913"/>
                  </a:lnTo>
                  <a:lnTo>
                    <a:pt x="580" y="892"/>
                  </a:lnTo>
                  <a:lnTo>
                    <a:pt x="503" y="869"/>
                  </a:lnTo>
                  <a:lnTo>
                    <a:pt x="429" y="843"/>
                  </a:lnTo>
                  <a:lnTo>
                    <a:pt x="361" y="816"/>
                  </a:lnTo>
                  <a:lnTo>
                    <a:pt x="298" y="787"/>
                  </a:lnTo>
                  <a:lnTo>
                    <a:pt x="241" y="757"/>
                  </a:lnTo>
                  <a:lnTo>
                    <a:pt x="189" y="724"/>
                  </a:lnTo>
                  <a:lnTo>
                    <a:pt x="142" y="690"/>
                  </a:lnTo>
                  <a:lnTo>
                    <a:pt x="102" y="656"/>
                  </a:lnTo>
                  <a:lnTo>
                    <a:pt x="68" y="619"/>
                  </a:lnTo>
                  <a:lnTo>
                    <a:pt x="41" y="581"/>
                  </a:lnTo>
                  <a:lnTo>
                    <a:pt x="20" y="542"/>
                  </a:lnTo>
                  <a:lnTo>
                    <a:pt x="6" y="502"/>
                  </a:lnTo>
                  <a:lnTo>
                    <a:pt x="2" y="489"/>
                  </a:lnTo>
                  <a:lnTo>
                    <a:pt x="0" y="47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516" name="Oval 515">
            <a:extLst>
              <a:ext uri="{FF2B5EF4-FFF2-40B4-BE49-F238E27FC236}">
                <a16:creationId xmlns:a16="http://schemas.microsoft.com/office/drawing/2014/main" id="{2838FDC1-6AC2-4D2B-895E-8FDAA720A6A8}"/>
              </a:ext>
            </a:extLst>
          </p:cNvPr>
          <p:cNvSpPr/>
          <p:nvPr/>
        </p:nvSpPr>
        <p:spPr>
          <a:xfrm>
            <a:off x="5274352" y="1950675"/>
            <a:ext cx="829036" cy="829036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514" name="Oval 513">
            <a:extLst>
              <a:ext uri="{FF2B5EF4-FFF2-40B4-BE49-F238E27FC236}">
                <a16:creationId xmlns:a16="http://schemas.microsoft.com/office/drawing/2014/main" id="{1B1ED5AC-EA24-421F-AB95-CF917F954A21}"/>
              </a:ext>
            </a:extLst>
          </p:cNvPr>
          <p:cNvSpPr/>
          <p:nvPr/>
        </p:nvSpPr>
        <p:spPr>
          <a:xfrm>
            <a:off x="4164098" y="2279352"/>
            <a:ext cx="182522" cy="18252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D29B3ED8-7E59-462D-9E9E-BE6D31C33479}"/>
              </a:ext>
            </a:extLst>
          </p:cNvPr>
          <p:cNvGrpSpPr>
            <a:grpSpLocks/>
          </p:cNvGrpSpPr>
          <p:nvPr/>
        </p:nvGrpSpPr>
        <p:grpSpPr>
          <a:xfrm>
            <a:off x="6866590" y="2278047"/>
            <a:ext cx="551550" cy="174292"/>
            <a:chOff x="235029" y="996483"/>
            <a:chExt cx="3781436" cy="1252448"/>
          </a:xfrm>
          <a:solidFill>
            <a:schemeClr val="accent4"/>
          </a:solidFill>
        </p:grpSpPr>
        <p:sp>
          <p:nvSpPr>
            <p:cNvPr id="159" name="Oval 22">
              <a:extLst>
                <a:ext uri="{FF2B5EF4-FFF2-40B4-BE49-F238E27FC236}">
                  <a16:creationId xmlns:a16="http://schemas.microsoft.com/office/drawing/2014/main" id="{59506B59-3E69-4C8E-90EB-00B9100C34F6}"/>
                </a:ext>
              </a:extLst>
            </p:cNvPr>
            <p:cNvSpPr>
              <a:spLocks/>
            </p:cNvSpPr>
            <p:nvPr/>
          </p:nvSpPr>
          <p:spPr>
            <a:xfrm>
              <a:off x="235029" y="1036681"/>
              <a:ext cx="3781436" cy="1212250"/>
            </a:xfrm>
            <a:custGeom>
              <a:avLst/>
              <a:gdLst>
                <a:gd name="connsiteX0" fmla="*/ 5116984 w 5941705"/>
                <a:gd name="connsiteY0" fmla="*/ 1546278 h 1904786"/>
                <a:gd name="connsiteX1" fmla="*/ 5120066 w 5941705"/>
                <a:gd name="connsiteY1" fmla="*/ 1777138 h 1904786"/>
                <a:gd name="connsiteX2" fmla="*/ 5282005 w 5941705"/>
                <a:gd name="connsiteY2" fmla="*/ 1709631 h 1904786"/>
                <a:gd name="connsiteX3" fmla="*/ 5116984 w 5941705"/>
                <a:gd name="connsiteY3" fmla="*/ 1546278 h 1904786"/>
                <a:gd name="connsiteX4" fmla="*/ 1390021 w 5941705"/>
                <a:gd name="connsiteY4" fmla="*/ 1546278 h 1904786"/>
                <a:gd name="connsiteX5" fmla="*/ 1393103 w 5941705"/>
                <a:gd name="connsiteY5" fmla="*/ 1777138 h 1904786"/>
                <a:gd name="connsiteX6" fmla="*/ 1555042 w 5941705"/>
                <a:gd name="connsiteY6" fmla="*/ 1709631 h 1904786"/>
                <a:gd name="connsiteX7" fmla="*/ 1390021 w 5941705"/>
                <a:gd name="connsiteY7" fmla="*/ 1546278 h 1904786"/>
                <a:gd name="connsiteX8" fmla="*/ 5046770 w 5941705"/>
                <a:gd name="connsiteY8" fmla="*/ 1545233 h 1904786"/>
                <a:gd name="connsiteX9" fmla="*/ 4882001 w 5941705"/>
                <a:gd name="connsiteY9" fmla="*/ 1711685 h 1904786"/>
                <a:gd name="connsiteX10" fmla="*/ 5049877 w 5941705"/>
                <a:gd name="connsiteY10" fmla="*/ 1777981 h 1904786"/>
                <a:gd name="connsiteX11" fmla="*/ 5046770 w 5941705"/>
                <a:gd name="connsiteY11" fmla="*/ 1545233 h 1904786"/>
                <a:gd name="connsiteX12" fmla="*/ 1319807 w 5941705"/>
                <a:gd name="connsiteY12" fmla="*/ 1545233 h 1904786"/>
                <a:gd name="connsiteX13" fmla="*/ 1155038 w 5941705"/>
                <a:gd name="connsiteY13" fmla="*/ 1711685 h 1904786"/>
                <a:gd name="connsiteX14" fmla="*/ 1322914 w 5941705"/>
                <a:gd name="connsiteY14" fmla="*/ 1777981 h 1904786"/>
                <a:gd name="connsiteX15" fmla="*/ 1319807 w 5941705"/>
                <a:gd name="connsiteY15" fmla="*/ 1545233 h 1904786"/>
                <a:gd name="connsiteX16" fmla="*/ 5166423 w 5941705"/>
                <a:gd name="connsiteY16" fmla="*/ 1496448 h 1904786"/>
                <a:gd name="connsiteX17" fmla="*/ 5331884 w 5941705"/>
                <a:gd name="connsiteY17" fmla="*/ 1660237 h 1904786"/>
                <a:gd name="connsiteX18" fmla="*/ 5400288 w 5941705"/>
                <a:gd name="connsiteY18" fmla="*/ 1497346 h 1904786"/>
                <a:gd name="connsiteX19" fmla="*/ 5166423 w 5941705"/>
                <a:gd name="connsiteY19" fmla="*/ 1496448 h 1904786"/>
                <a:gd name="connsiteX20" fmla="*/ 1439460 w 5941705"/>
                <a:gd name="connsiteY20" fmla="*/ 1496448 h 1904786"/>
                <a:gd name="connsiteX21" fmla="*/ 1604921 w 5941705"/>
                <a:gd name="connsiteY21" fmla="*/ 1660237 h 1904786"/>
                <a:gd name="connsiteX22" fmla="*/ 1673325 w 5941705"/>
                <a:gd name="connsiteY22" fmla="*/ 1497346 h 1904786"/>
                <a:gd name="connsiteX23" fmla="*/ 1439460 w 5941705"/>
                <a:gd name="connsiteY23" fmla="*/ 1496448 h 1904786"/>
                <a:gd name="connsiteX24" fmla="*/ 4760955 w 5941705"/>
                <a:gd name="connsiteY24" fmla="*/ 1494892 h 1904786"/>
                <a:gd name="connsiteX25" fmla="*/ 4831688 w 5941705"/>
                <a:gd name="connsiteY25" fmla="*/ 1662733 h 1904786"/>
                <a:gd name="connsiteX26" fmla="*/ 4996937 w 5941705"/>
                <a:gd name="connsiteY26" fmla="*/ 1495798 h 1904786"/>
                <a:gd name="connsiteX27" fmla="*/ 4760955 w 5941705"/>
                <a:gd name="connsiteY27" fmla="*/ 1494892 h 1904786"/>
                <a:gd name="connsiteX28" fmla="*/ 1033992 w 5941705"/>
                <a:gd name="connsiteY28" fmla="*/ 1494892 h 1904786"/>
                <a:gd name="connsiteX29" fmla="*/ 1104725 w 5941705"/>
                <a:gd name="connsiteY29" fmla="*/ 1662733 h 1904786"/>
                <a:gd name="connsiteX30" fmla="*/ 1269974 w 5941705"/>
                <a:gd name="connsiteY30" fmla="*/ 1495798 h 1904786"/>
                <a:gd name="connsiteX31" fmla="*/ 1033992 w 5941705"/>
                <a:gd name="connsiteY31" fmla="*/ 1494892 h 1904786"/>
                <a:gd name="connsiteX32" fmla="*/ 4829608 w 5941705"/>
                <a:gd name="connsiteY32" fmla="*/ 1261807 h 1904786"/>
                <a:gd name="connsiteX33" fmla="*/ 4761204 w 5941705"/>
                <a:gd name="connsiteY33" fmla="*/ 1424699 h 1904786"/>
                <a:gd name="connsiteX34" fmla="*/ 4995069 w 5941705"/>
                <a:gd name="connsiteY34" fmla="*/ 1425596 h 1904786"/>
                <a:gd name="connsiteX35" fmla="*/ 4829608 w 5941705"/>
                <a:gd name="connsiteY35" fmla="*/ 1261807 h 1904786"/>
                <a:gd name="connsiteX36" fmla="*/ 1102645 w 5941705"/>
                <a:gd name="connsiteY36" fmla="*/ 1261807 h 1904786"/>
                <a:gd name="connsiteX37" fmla="*/ 1034241 w 5941705"/>
                <a:gd name="connsiteY37" fmla="*/ 1424699 h 1904786"/>
                <a:gd name="connsiteX38" fmla="*/ 1268106 w 5941705"/>
                <a:gd name="connsiteY38" fmla="*/ 1425596 h 1904786"/>
                <a:gd name="connsiteX39" fmla="*/ 1102645 w 5941705"/>
                <a:gd name="connsiteY39" fmla="*/ 1261807 h 1904786"/>
                <a:gd name="connsiteX40" fmla="*/ 5329803 w 5941705"/>
                <a:gd name="connsiteY40" fmla="*/ 1259310 h 1904786"/>
                <a:gd name="connsiteX41" fmla="*/ 5164554 w 5941705"/>
                <a:gd name="connsiteY41" fmla="*/ 1426246 h 1904786"/>
                <a:gd name="connsiteX42" fmla="*/ 5400538 w 5941705"/>
                <a:gd name="connsiteY42" fmla="*/ 1427152 h 1904786"/>
                <a:gd name="connsiteX43" fmla="*/ 5329803 w 5941705"/>
                <a:gd name="connsiteY43" fmla="*/ 1259310 h 1904786"/>
                <a:gd name="connsiteX44" fmla="*/ 1602840 w 5941705"/>
                <a:gd name="connsiteY44" fmla="*/ 1259310 h 1904786"/>
                <a:gd name="connsiteX45" fmla="*/ 1437591 w 5941705"/>
                <a:gd name="connsiteY45" fmla="*/ 1426246 h 1904786"/>
                <a:gd name="connsiteX46" fmla="*/ 1673575 w 5941705"/>
                <a:gd name="connsiteY46" fmla="*/ 1427152 h 1904786"/>
                <a:gd name="connsiteX47" fmla="*/ 1602840 w 5941705"/>
                <a:gd name="connsiteY47" fmla="*/ 1259310 h 1904786"/>
                <a:gd name="connsiteX48" fmla="*/ 5041427 w 5941705"/>
                <a:gd name="connsiteY48" fmla="*/ 1144907 h 1904786"/>
                <a:gd name="connsiteX49" fmla="*/ 4879487 w 5941705"/>
                <a:gd name="connsiteY49" fmla="*/ 1212413 h 1904786"/>
                <a:gd name="connsiteX50" fmla="*/ 5044508 w 5941705"/>
                <a:gd name="connsiteY50" fmla="*/ 1375766 h 1904786"/>
                <a:gd name="connsiteX51" fmla="*/ 5041427 w 5941705"/>
                <a:gd name="connsiteY51" fmla="*/ 1144907 h 1904786"/>
                <a:gd name="connsiteX52" fmla="*/ 1314464 w 5941705"/>
                <a:gd name="connsiteY52" fmla="*/ 1144907 h 1904786"/>
                <a:gd name="connsiteX53" fmla="*/ 1152524 w 5941705"/>
                <a:gd name="connsiteY53" fmla="*/ 1212413 h 1904786"/>
                <a:gd name="connsiteX54" fmla="*/ 1317545 w 5941705"/>
                <a:gd name="connsiteY54" fmla="*/ 1375766 h 1904786"/>
                <a:gd name="connsiteX55" fmla="*/ 1314464 w 5941705"/>
                <a:gd name="connsiteY55" fmla="*/ 1144907 h 1904786"/>
                <a:gd name="connsiteX56" fmla="*/ 5111615 w 5941705"/>
                <a:gd name="connsiteY56" fmla="*/ 1144063 h 1904786"/>
                <a:gd name="connsiteX57" fmla="*/ 5114722 w 5941705"/>
                <a:gd name="connsiteY57" fmla="*/ 1376809 h 1904786"/>
                <a:gd name="connsiteX58" fmla="*/ 5279490 w 5941705"/>
                <a:gd name="connsiteY58" fmla="*/ 1210358 h 1904786"/>
                <a:gd name="connsiteX59" fmla="*/ 5111615 w 5941705"/>
                <a:gd name="connsiteY59" fmla="*/ 1144063 h 1904786"/>
                <a:gd name="connsiteX60" fmla="*/ 1384652 w 5941705"/>
                <a:gd name="connsiteY60" fmla="*/ 1144063 h 1904786"/>
                <a:gd name="connsiteX61" fmla="*/ 1387759 w 5941705"/>
                <a:gd name="connsiteY61" fmla="*/ 1376809 h 1904786"/>
                <a:gd name="connsiteX62" fmla="*/ 1552527 w 5941705"/>
                <a:gd name="connsiteY62" fmla="*/ 1210358 h 1904786"/>
                <a:gd name="connsiteX63" fmla="*/ 1384652 w 5941705"/>
                <a:gd name="connsiteY63" fmla="*/ 1144063 h 1904786"/>
                <a:gd name="connsiteX64" fmla="*/ 5080745 w 5941705"/>
                <a:gd name="connsiteY64" fmla="*/ 1017258 h 1904786"/>
                <a:gd name="connsiteX65" fmla="*/ 5239854 w 5941705"/>
                <a:gd name="connsiteY65" fmla="*/ 1048636 h 1904786"/>
                <a:gd name="connsiteX66" fmla="*/ 5281583 w 5941705"/>
                <a:gd name="connsiteY66" fmla="*/ 1067959 h 1904786"/>
                <a:gd name="connsiteX67" fmla="*/ 5297306 w 5941705"/>
                <a:gd name="connsiteY67" fmla="*/ 1076356 h 1904786"/>
                <a:gd name="connsiteX68" fmla="*/ 5397320 w 5941705"/>
                <a:gd name="connsiteY68" fmla="*/ 1150045 h 1904786"/>
                <a:gd name="connsiteX69" fmla="*/ 5474593 w 5941705"/>
                <a:gd name="connsiteY69" fmla="*/ 1262558 h 1904786"/>
                <a:gd name="connsiteX70" fmla="*/ 5490691 w 5941705"/>
                <a:gd name="connsiteY70" fmla="*/ 1293360 h 1904786"/>
                <a:gd name="connsiteX71" fmla="*/ 5491006 w 5941705"/>
                <a:gd name="connsiteY71" fmla="*/ 1293977 h 1904786"/>
                <a:gd name="connsiteX72" fmla="*/ 5497349 w 5941705"/>
                <a:gd name="connsiteY72" fmla="*/ 1314418 h 1904786"/>
                <a:gd name="connsiteX73" fmla="*/ 5497968 w 5941705"/>
                <a:gd name="connsiteY73" fmla="*/ 1316570 h 1904786"/>
                <a:gd name="connsiteX74" fmla="*/ 5516297 w 5941705"/>
                <a:gd name="connsiteY74" fmla="*/ 1380355 h 1904786"/>
                <a:gd name="connsiteX75" fmla="*/ 5524510 w 5941705"/>
                <a:gd name="connsiteY75" fmla="*/ 1461022 h 1904786"/>
                <a:gd name="connsiteX76" fmla="*/ 5516344 w 5941705"/>
                <a:gd name="connsiteY76" fmla="*/ 1541229 h 1904786"/>
                <a:gd name="connsiteX77" fmla="*/ 5495561 w 5941705"/>
                <a:gd name="connsiteY77" fmla="*/ 1613150 h 1904786"/>
                <a:gd name="connsiteX78" fmla="*/ 5490646 w 5941705"/>
                <a:gd name="connsiteY78" fmla="*/ 1628827 h 1904786"/>
                <a:gd name="connsiteX79" fmla="*/ 5490645 w 5941705"/>
                <a:gd name="connsiteY79" fmla="*/ 1628828 h 1904786"/>
                <a:gd name="connsiteX80" fmla="*/ 5479922 w 5941705"/>
                <a:gd name="connsiteY80" fmla="*/ 1649766 h 1904786"/>
                <a:gd name="connsiteX81" fmla="*/ 5397118 w 5941705"/>
                <a:gd name="connsiteY81" fmla="*/ 1772206 h 1904786"/>
                <a:gd name="connsiteX82" fmla="*/ 5262748 w 5941705"/>
                <a:gd name="connsiteY82" fmla="*/ 1863894 h 1904786"/>
                <a:gd name="connsiteX83" fmla="*/ 5241483 w 5941705"/>
                <a:gd name="connsiteY83" fmla="*/ 1873138 h 1904786"/>
                <a:gd name="connsiteX84" fmla="*/ 5200496 w 5941705"/>
                <a:gd name="connsiteY84" fmla="*/ 1885988 h 1904786"/>
                <a:gd name="connsiteX85" fmla="*/ 5080745 w 5941705"/>
                <a:gd name="connsiteY85" fmla="*/ 1904786 h 1904786"/>
                <a:gd name="connsiteX86" fmla="*/ 4921634 w 5941705"/>
                <a:gd name="connsiteY86" fmla="*/ 1873407 h 1904786"/>
                <a:gd name="connsiteX87" fmla="*/ 4879900 w 5941705"/>
                <a:gd name="connsiteY87" fmla="*/ 1854082 h 1904786"/>
                <a:gd name="connsiteX88" fmla="*/ 4864179 w 5941705"/>
                <a:gd name="connsiteY88" fmla="*/ 1845686 h 1904786"/>
                <a:gd name="connsiteX89" fmla="*/ 4764170 w 5941705"/>
                <a:gd name="connsiteY89" fmla="*/ 1771999 h 1904786"/>
                <a:gd name="connsiteX90" fmla="*/ 4686830 w 5941705"/>
                <a:gd name="connsiteY90" fmla="*/ 1659360 h 1904786"/>
                <a:gd name="connsiteX91" fmla="*/ 4670805 w 5941705"/>
                <a:gd name="connsiteY91" fmla="*/ 1628694 h 1904786"/>
                <a:gd name="connsiteX92" fmla="*/ 4670488 w 5941705"/>
                <a:gd name="connsiteY92" fmla="*/ 1628075 h 1904786"/>
                <a:gd name="connsiteX93" fmla="*/ 4664123 w 5941705"/>
                <a:gd name="connsiteY93" fmla="*/ 1607561 h 1904786"/>
                <a:gd name="connsiteX94" fmla="*/ 4663511 w 5941705"/>
                <a:gd name="connsiteY94" fmla="*/ 1605430 h 1904786"/>
                <a:gd name="connsiteX95" fmla="*/ 4645193 w 5941705"/>
                <a:gd name="connsiteY95" fmla="*/ 1541668 h 1904786"/>
                <a:gd name="connsiteX96" fmla="*/ 4636982 w 5941705"/>
                <a:gd name="connsiteY96" fmla="*/ 1461022 h 1904786"/>
                <a:gd name="connsiteX97" fmla="*/ 4645149 w 5941705"/>
                <a:gd name="connsiteY97" fmla="*/ 1380815 h 1904786"/>
                <a:gd name="connsiteX98" fmla="*/ 4681610 w 5941705"/>
                <a:gd name="connsiteY98" fmla="*/ 1272206 h 1904786"/>
                <a:gd name="connsiteX99" fmla="*/ 4764374 w 5941705"/>
                <a:gd name="connsiteY99" fmla="*/ 1149838 h 1904786"/>
                <a:gd name="connsiteX100" fmla="*/ 4909454 w 5941705"/>
                <a:gd name="connsiteY100" fmla="*/ 1052278 h 1904786"/>
                <a:gd name="connsiteX101" fmla="*/ 5080745 w 5941705"/>
                <a:gd name="connsiteY101" fmla="*/ 1017258 h 1904786"/>
                <a:gd name="connsiteX102" fmla="*/ 1353782 w 5941705"/>
                <a:gd name="connsiteY102" fmla="*/ 1017258 h 1904786"/>
                <a:gd name="connsiteX103" fmla="*/ 1512891 w 5941705"/>
                <a:gd name="connsiteY103" fmla="*/ 1048636 h 1904786"/>
                <a:gd name="connsiteX104" fmla="*/ 1554620 w 5941705"/>
                <a:gd name="connsiteY104" fmla="*/ 1067959 h 1904786"/>
                <a:gd name="connsiteX105" fmla="*/ 1570343 w 5941705"/>
                <a:gd name="connsiteY105" fmla="*/ 1076356 h 1904786"/>
                <a:gd name="connsiteX106" fmla="*/ 1670357 w 5941705"/>
                <a:gd name="connsiteY106" fmla="*/ 1150045 h 1904786"/>
                <a:gd name="connsiteX107" fmla="*/ 1747630 w 5941705"/>
                <a:gd name="connsiteY107" fmla="*/ 1262558 h 1904786"/>
                <a:gd name="connsiteX108" fmla="*/ 1763728 w 5941705"/>
                <a:gd name="connsiteY108" fmla="*/ 1293360 h 1904786"/>
                <a:gd name="connsiteX109" fmla="*/ 1764043 w 5941705"/>
                <a:gd name="connsiteY109" fmla="*/ 1293977 h 1904786"/>
                <a:gd name="connsiteX110" fmla="*/ 1770386 w 5941705"/>
                <a:gd name="connsiteY110" fmla="*/ 1314418 h 1904786"/>
                <a:gd name="connsiteX111" fmla="*/ 1771005 w 5941705"/>
                <a:gd name="connsiteY111" fmla="*/ 1316570 h 1904786"/>
                <a:gd name="connsiteX112" fmla="*/ 1789334 w 5941705"/>
                <a:gd name="connsiteY112" fmla="*/ 1380355 h 1904786"/>
                <a:gd name="connsiteX113" fmla="*/ 1797547 w 5941705"/>
                <a:gd name="connsiteY113" fmla="*/ 1461022 h 1904786"/>
                <a:gd name="connsiteX114" fmla="*/ 1789381 w 5941705"/>
                <a:gd name="connsiteY114" fmla="*/ 1541229 h 1904786"/>
                <a:gd name="connsiteX115" fmla="*/ 1768598 w 5941705"/>
                <a:gd name="connsiteY115" fmla="*/ 1613150 h 1904786"/>
                <a:gd name="connsiteX116" fmla="*/ 1763683 w 5941705"/>
                <a:gd name="connsiteY116" fmla="*/ 1628827 h 1904786"/>
                <a:gd name="connsiteX117" fmla="*/ 1763682 w 5941705"/>
                <a:gd name="connsiteY117" fmla="*/ 1628828 h 1904786"/>
                <a:gd name="connsiteX118" fmla="*/ 1752959 w 5941705"/>
                <a:gd name="connsiteY118" fmla="*/ 1649766 h 1904786"/>
                <a:gd name="connsiteX119" fmla="*/ 1670155 w 5941705"/>
                <a:gd name="connsiteY119" fmla="*/ 1772206 h 1904786"/>
                <a:gd name="connsiteX120" fmla="*/ 1535785 w 5941705"/>
                <a:gd name="connsiteY120" fmla="*/ 1863894 h 1904786"/>
                <a:gd name="connsiteX121" fmla="*/ 1514520 w 5941705"/>
                <a:gd name="connsiteY121" fmla="*/ 1873138 h 1904786"/>
                <a:gd name="connsiteX122" fmla="*/ 1473533 w 5941705"/>
                <a:gd name="connsiteY122" fmla="*/ 1885988 h 1904786"/>
                <a:gd name="connsiteX123" fmla="*/ 1353782 w 5941705"/>
                <a:gd name="connsiteY123" fmla="*/ 1904786 h 1904786"/>
                <a:gd name="connsiteX124" fmla="*/ 1194671 w 5941705"/>
                <a:gd name="connsiteY124" fmla="*/ 1873407 h 1904786"/>
                <a:gd name="connsiteX125" fmla="*/ 1152937 w 5941705"/>
                <a:gd name="connsiteY125" fmla="*/ 1854082 h 1904786"/>
                <a:gd name="connsiteX126" fmla="*/ 1137216 w 5941705"/>
                <a:gd name="connsiteY126" fmla="*/ 1845686 h 1904786"/>
                <a:gd name="connsiteX127" fmla="*/ 1037207 w 5941705"/>
                <a:gd name="connsiteY127" fmla="*/ 1771999 h 1904786"/>
                <a:gd name="connsiteX128" fmla="*/ 959867 w 5941705"/>
                <a:gd name="connsiteY128" fmla="*/ 1659360 h 1904786"/>
                <a:gd name="connsiteX129" fmla="*/ 943842 w 5941705"/>
                <a:gd name="connsiteY129" fmla="*/ 1628694 h 1904786"/>
                <a:gd name="connsiteX130" fmla="*/ 943525 w 5941705"/>
                <a:gd name="connsiteY130" fmla="*/ 1628075 h 1904786"/>
                <a:gd name="connsiteX131" fmla="*/ 937160 w 5941705"/>
                <a:gd name="connsiteY131" fmla="*/ 1607561 h 1904786"/>
                <a:gd name="connsiteX132" fmla="*/ 936548 w 5941705"/>
                <a:gd name="connsiteY132" fmla="*/ 1605430 h 1904786"/>
                <a:gd name="connsiteX133" fmla="*/ 918230 w 5941705"/>
                <a:gd name="connsiteY133" fmla="*/ 1541668 h 1904786"/>
                <a:gd name="connsiteX134" fmla="*/ 910019 w 5941705"/>
                <a:gd name="connsiteY134" fmla="*/ 1461022 h 1904786"/>
                <a:gd name="connsiteX135" fmla="*/ 918186 w 5941705"/>
                <a:gd name="connsiteY135" fmla="*/ 1380815 h 1904786"/>
                <a:gd name="connsiteX136" fmla="*/ 954647 w 5941705"/>
                <a:gd name="connsiteY136" fmla="*/ 1272206 h 1904786"/>
                <a:gd name="connsiteX137" fmla="*/ 1037411 w 5941705"/>
                <a:gd name="connsiteY137" fmla="*/ 1149838 h 1904786"/>
                <a:gd name="connsiteX138" fmla="*/ 1182491 w 5941705"/>
                <a:gd name="connsiteY138" fmla="*/ 1052278 h 1904786"/>
                <a:gd name="connsiteX139" fmla="*/ 1353782 w 5941705"/>
                <a:gd name="connsiteY139" fmla="*/ 1017258 h 1904786"/>
                <a:gd name="connsiteX140" fmla="*/ 2733685 w 5941705"/>
                <a:gd name="connsiteY140" fmla="*/ 100269 h 1904786"/>
                <a:gd name="connsiteX141" fmla="*/ 2886085 w 5941705"/>
                <a:gd name="connsiteY141" fmla="*/ 610809 h 1904786"/>
                <a:gd name="connsiteX142" fmla="*/ 3754765 w 5941705"/>
                <a:gd name="connsiteY142" fmla="*/ 626049 h 1904786"/>
                <a:gd name="connsiteX143" fmla="*/ 3792865 w 5941705"/>
                <a:gd name="connsiteY143" fmla="*/ 435549 h 1904786"/>
                <a:gd name="connsiteX144" fmla="*/ 3277086 w 5941705"/>
                <a:gd name="connsiteY144" fmla="*/ 147418 h 1904786"/>
                <a:gd name="connsiteX145" fmla="*/ 2733685 w 5941705"/>
                <a:gd name="connsiteY145" fmla="*/ 100269 h 1904786"/>
                <a:gd name="connsiteX146" fmla="*/ 2558424 w 5941705"/>
                <a:gd name="connsiteY146" fmla="*/ 92649 h 1904786"/>
                <a:gd name="connsiteX147" fmla="*/ 2036454 w 5941705"/>
                <a:gd name="connsiteY147" fmla="*/ 102174 h 1904786"/>
                <a:gd name="connsiteX148" fmla="*/ 1407804 w 5941705"/>
                <a:gd name="connsiteY148" fmla="*/ 336489 h 1904786"/>
                <a:gd name="connsiteX149" fmla="*/ 1506864 w 5941705"/>
                <a:gd name="connsiteY149" fmla="*/ 572709 h 1904786"/>
                <a:gd name="connsiteX150" fmla="*/ 2657484 w 5941705"/>
                <a:gd name="connsiteY150" fmla="*/ 572709 h 1904786"/>
                <a:gd name="connsiteX151" fmla="*/ 2558424 w 5941705"/>
                <a:gd name="connsiteY151" fmla="*/ 92649 h 1904786"/>
                <a:gd name="connsiteX152" fmla="*/ 2588905 w 5941705"/>
                <a:gd name="connsiteY152" fmla="*/ 1208 h 1904786"/>
                <a:gd name="connsiteX153" fmla="*/ 3282325 w 5941705"/>
                <a:gd name="connsiteY153" fmla="*/ 62168 h 1904786"/>
                <a:gd name="connsiteX154" fmla="*/ 4265305 w 5941705"/>
                <a:gd name="connsiteY154" fmla="*/ 580328 h 1904786"/>
                <a:gd name="connsiteX155" fmla="*/ 5133985 w 5941705"/>
                <a:gd name="connsiteY155" fmla="*/ 656528 h 1904786"/>
                <a:gd name="connsiteX156" fmla="*/ 5850265 w 5941705"/>
                <a:gd name="connsiteY156" fmla="*/ 831788 h 1904786"/>
                <a:gd name="connsiteX157" fmla="*/ 5941705 w 5941705"/>
                <a:gd name="connsiteY157" fmla="*/ 1068008 h 1904786"/>
                <a:gd name="connsiteX158" fmla="*/ 5888365 w 5941705"/>
                <a:gd name="connsiteY158" fmla="*/ 1327088 h 1904786"/>
                <a:gd name="connsiteX159" fmla="*/ 5918845 w 5941705"/>
                <a:gd name="connsiteY159" fmla="*/ 1509968 h 1904786"/>
                <a:gd name="connsiteX160" fmla="*/ 5842645 w 5941705"/>
                <a:gd name="connsiteY160" fmla="*/ 1586168 h 1904786"/>
                <a:gd name="connsiteX161" fmla="*/ 5583565 w 5941705"/>
                <a:gd name="connsiteY161" fmla="*/ 1593788 h 1904786"/>
                <a:gd name="connsiteX162" fmla="*/ 5556953 w 5941705"/>
                <a:gd name="connsiteY162" fmla="*/ 1593734 h 1904786"/>
                <a:gd name="connsiteX163" fmla="*/ 5578894 w 5941705"/>
                <a:gd name="connsiteY163" fmla="*/ 1456629 h 1904786"/>
                <a:gd name="connsiteX164" fmla="*/ 5080748 w 5941705"/>
                <a:gd name="connsiteY164" fmla="*/ 963415 h 1904786"/>
                <a:gd name="connsiteX165" fmla="*/ 4582602 w 5941705"/>
                <a:gd name="connsiteY165" fmla="*/ 1456629 h 1904786"/>
                <a:gd name="connsiteX166" fmla="*/ 4603930 w 5941705"/>
                <a:gd name="connsiteY166" fmla="*/ 1591777 h 1904786"/>
                <a:gd name="connsiteX167" fmla="*/ 1872625 w 5941705"/>
                <a:gd name="connsiteY167" fmla="*/ 1586168 h 1904786"/>
                <a:gd name="connsiteX168" fmla="*/ 1833037 w 5941705"/>
                <a:gd name="connsiteY168" fmla="*/ 1584014 h 1904786"/>
                <a:gd name="connsiteX169" fmla="*/ 1851931 w 5941705"/>
                <a:gd name="connsiteY169" fmla="*/ 1456629 h 1904786"/>
                <a:gd name="connsiteX170" fmla="*/ 1353785 w 5941705"/>
                <a:gd name="connsiteY170" fmla="*/ 963415 h 1904786"/>
                <a:gd name="connsiteX171" fmla="*/ 855639 w 5941705"/>
                <a:gd name="connsiteY171" fmla="*/ 1456629 h 1904786"/>
                <a:gd name="connsiteX172" fmla="*/ 863570 w 5941705"/>
                <a:gd name="connsiteY172" fmla="*/ 1534523 h 1904786"/>
                <a:gd name="connsiteX173" fmla="*/ 809613 w 5941705"/>
                <a:gd name="connsiteY173" fmla="*/ 1528317 h 1904786"/>
                <a:gd name="connsiteX174" fmla="*/ 752485 w 5941705"/>
                <a:gd name="connsiteY174" fmla="*/ 1525208 h 1904786"/>
                <a:gd name="connsiteX175" fmla="*/ 752461 w 5941705"/>
                <a:gd name="connsiteY175" fmla="*/ 1521743 h 1904786"/>
                <a:gd name="connsiteX176" fmla="*/ 333498 w 5941705"/>
                <a:gd name="connsiteY176" fmla="*/ 1473553 h 1904786"/>
                <a:gd name="connsiteX177" fmla="*/ 270349 w 5941705"/>
                <a:gd name="connsiteY177" fmla="*/ 1452900 h 1904786"/>
                <a:gd name="connsiteX178" fmla="*/ 236237 w 5941705"/>
                <a:gd name="connsiteY178" fmla="*/ 1439523 h 1904786"/>
                <a:gd name="connsiteX179" fmla="*/ 0 w 5941705"/>
                <a:gd name="connsiteY179" fmla="*/ 1120182 h 1904786"/>
                <a:gd name="connsiteX180" fmla="*/ 142886 w 5941705"/>
                <a:gd name="connsiteY180" fmla="*/ 845826 h 1904786"/>
                <a:gd name="connsiteX181" fmla="*/ 142886 w 5941705"/>
                <a:gd name="connsiteY181" fmla="*/ 628909 h 1904786"/>
                <a:gd name="connsiteX182" fmla="*/ 183452 w 5941705"/>
                <a:gd name="connsiteY182" fmla="*/ 523374 h 1904786"/>
                <a:gd name="connsiteX183" fmla="*/ 309027 w 5941705"/>
                <a:gd name="connsiteY183" fmla="*/ 450734 h 1904786"/>
                <a:gd name="connsiteX184" fmla="*/ 767423 w 5941705"/>
                <a:gd name="connsiteY184" fmla="*/ 426525 h 1904786"/>
                <a:gd name="connsiteX185" fmla="*/ 1697365 w 5941705"/>
                <a:gd name="connsiteY185" fmla="*/ 54548 h 1904786"/>
                <a:gd name="connsiteX186" fmla="*/ 1910725 w 5941705"/>
                <a:gd name="connsiteY186" fmla="*/ 24068 h 1904786"/>
                <a:gd name="connsiteX187" fmla="*/ 2588905 w 5941705"/>
                <a:gd name="connsiteY187" fmla="*/ 1208 h 1904786"/>
                <a:gd name="connsiteX0" fmla="*/ 5116984 w 5941705"/>
                <a:gd name="connsiteY0" fmla="*/ 1548814 h 1907322"/>
                <a:gd name="connsiteX1" fmla="*/ 5120066 w 5941705"/>
                <a:gd name="connsiteY1" fmla="*/ 1779674 h 1907322"/>
                <a:gd name="connsiteX2" fmla="*/ 5282005 w 5941705"/>
                <a:gd name="connsiteY2" fmla="*/ 1712167 h 1907322"/>
                <a:gd name="connsiteX3" fmla="*/ 5116984 w 5941705"/>
                <a:gd name="connsiteY3" fmla="*/ 1548814 h 1907322"/>
                <a:gd name="connsiteX4" fmla="*/ 1390021 w 5941705"/>
                <a:gd name="connsiteY4" fmla="*/ 1548814 h 1907322"/>
                <a:gd name="connsiteX5" fmla="*/ 1393103 w 5941705"/>
                <a:gd name="connsiteY5" fmla="*/ 1779674 h 1907322"/>
                <a:gd name="connsiteX6" fmla="*/ 1555042 w 5941705"/>
                <a:gd name="connsiteY6" fmla="*/ 1712167 h 1907322"/>
                <a:gd name="connsiteX7" fmla="*/ 1390021 w 5941705"/>
                <a:gd name="connsiteY7" fmla="*/ 1548814 h 1907322"/>
                <a:gd name="connsiteX8" fmla="*/ 5046770 w 5941705"/>
                <a:gd name="connsiteY8" fmla="*/ 1547769 h 1907322"/>
                <a:gd name="connsiteX9" fmla="*/ 4882001 w 5941705"/>
                <a:gd name="connsiteY9" fmla="*/ 1714221 h 1907322"/>
                <a:gd name="connsiteX10" fmla="*/ 5049877 w 5941705"/>
                <a:gd name="connsiteY10" fmla="*/ 1780517 h 1907322"/>
                <a:gd name="connsiteX11" fmla="*/ 5046770 w 5941705"/>
                <a:gd name="connsiteY11" fmla="*/ 1547769 h 1907322"/>
                <a:gd name="connsiteX12" fmla="*/ 1319807 w 5941705"/>
                <a:gd name="connsiteY12" fmla="*/ 1547769 h 1907322"/>
                <a:gd name="connsiteX13" fmla="*/ 1155038 w 5941705"/>
                <a:gd name="connsiteY13" fmla="*/ 1714221 h 1907322"/>
                <a:gd name="connsiteX14" fmla="*/ 1322914 w 5941705"/>
                <a:gd name="connsiteY14" fmla="*/ 1780517 h 1907322"/>
                <a:gd name="connsiteX15" fmla="*/ 1319807 w 5941705"/>
                <a:gd name="connsiteY15" fmla="*/ 1547769 h 1907322"/>
                <a:gd name="connsiteX16" fmla="*/ 5166423 w 5941705"/>
                <a:gd name="connsiteY16" fmla="*/ 1498984 h 1907322"/>
                <a:gd name="connsiteX17" fmla="*/ 5331884 w 5941705"/>
                <a:gd name="connsiteY17" fmla="*/ 1662773 h 1907322"/>
                <a:gd name="connsiteX18" fmla="*/ 5400288 w 5941705"/>
                <a:gd name="connsiteY18" fmla="*/ 1499882 h 1907322"/>
                <a:gd name="connsiteX19" fmla="*/ 5166423 w 5941705"/>
                <a:gd name="connsiteY19" fmla="*/ 1498984 h 1907322"/>
                <a:gd name="connsiteX20" fmla="*/ 1439460 w 5941705"/>
                <a:gd name="connsiteY20" fmla="*/ 1498984 h 1907322"/>
                <a:gd name="connsiteX21" fmla="*/ 1604921 w 5941705"/>
                <a:gd name="connsiteY21" fmla="*/ 1662773 h 1907322"/>
                <a:gd name="connsiteX22" fmla="*/ 1673325 w 5941705"/>
                <a:gd name="connsiteY22" fmla="*/ 1499882 h 1907322"/>
                <a:gd name="connsiteX23" fmla="*/ 1439460 w 5941705"/>
                <a:gd name="connsiteY23" fmla="*/ 1498984 h 1907322"/>
                <a:gd name="connsiteX24" fmla="*/ 4760955 w 5941705"/>
                <a:gd name="connsiteY24" fmla="*/ 1497428 h 1907322"/>
                <a:gd name="connsiteX25" fmla="*/ 4831688 w 5941705"/>
                <a:gd name="connsiteY25" fmla="*/ 1665269 h 1907322"/>
                <a:gd name="connsiteX26" fmla="*/ 4996937 w 5941705"/>
                <a:gd name="connsiteY26" fmla="*/ 1498334 h 1907322"/>
                <a:gd name="connsiteX27" fmla="*/ 4760955 w 5941705"/>
                <a:gd name="connsiteY27" fmla="*/ 1497428 h 1907322"/>
                <a:gd name="connsiteX28" fmla="*/ 1033992 w 5941705"/>
                <a:gd name="connsiteY28" fmla="*/ 1497428 h 1907322"/>
                <a:gd name="connsiteX29" fmla="*/ 1104725 w 5941705"/>
                <a:gd name="connsiteY29" fmla="*/ 1665269 h 1907322"/>
                <a:gd name="connsiteX30" fmla="*/ 1269974 w 5941705"/>
                <a:gd name="connsiteY30" fmla="*/ 1498334 h 1907322"/>
                <a:gd name="connsiteX31" fmla="*/ 1033992 w 5941705"/>
                <a:gd name="connsiteY31" fmla="*/ 1497428 h 1907322"/>
                <a:gd name="connsiteX32" fmla="*/ 4829608 w 5941705"/>
                <a:gd name="connsiteY32" fmla="*/ 1264343 h 1907322"/>
                <a:gd name="connsiteX33" fmla="*/ 4761204 w 5941705"/>
                <a:gd name="connsiteY33" fmla="*/ 1427235 h 1907322"/>
                <a:gd name="connsiteX34" fmla="*/ 4995069 w 5941705"/>
                <a:gd name="connsiteY34" fmla="*/ 1428132 h 1907322"/>
                <a:gd name="connsiteX35" fmla="*/ 4829608 w 5941705"/>
                <a:gd name="connsiteY35" fmla="*/ 1264343 h 1907322"/>
                <a:gd name="connsiteX36" fmla="*/ 1102645 w 5941705"/>
                <a:gd name="connsiteY36" fmla="*/ 1264343 h 1907322"/>
                <a:gd name="connsiteX37" fmla="*/ 1034241 w 5941705"/>
                <a:gd name="connsiteY37" fmla="*/ 1427235 h 1907322"/>
                <a:gd name="connsiteX38" fmla="*/ 1268106 w 5941705"/>
                <a:gd name="connsiteY38" fmla="*/ 1428132 h 1907322"/>
                <a:gd name="connsiteX39" fmla="*/ 1102645 w 5941705"/>
                <a:gd name="connsiteY39" fmla="*/ 1264343 h 1907322"/>
                <a:gd name="connsiteX40" fmla="*/ 5329803 w 5941705"/>
                <a:gd name="connsiteY40" fmla="*/ 1261846 h 1907322"/>
                <a:gd name="connsiteX41" fmla="*/ 5164554 w 5941705"/>
                <a:gd name="connsiteY41" fmla="*/ 1428782 h 1907322"/>
                <a:gd name="connsiteX42" fmla="*/ 5400538 w 5941705"/>
                <a:gd name="connsiteY42" fmla="*/ 1429688 h 1907322"/>
                <a:gd name="connsiteX43" fmla="*/ 5329803 w 5941705"/>
                <a:gd name="connsiteY43" fmla="*/ 1261846 h 1907322"/>
                <a:gd name="connsiteX44" fmla="*/ 1602840 w 5941705"/>
                <a:gd name="connsiteY44" fmla="*/ 1261846 h 1907322"/>
                <a:gd name="connsiteX45" fmla="*/ 1437591 w 5941705"/>
                <a:gd name="connsiteY45" fmla="*/ 1428782 h 1907322"/>
                <a:gd name="connsiteX46" fmla="*/ 1673575 w 5941705"/>
                <a:gd name="connsiteY46" fmla="*/ 1429688 h 1907322"/>
                <a:gd name="connsiteX47" fmla="*/ 1602840 w 5941705"/>
                <a:gd name="connsiteY47" fmla="*/ 1261846 h 1907322"/>
                <a:gd name="connsiteX48" fmla="*/ 5041427 w 5941705"/>
                <a:gd name="connsiteY48" fmla="*/ 1147443 h 1907322"/>
                <a:gd name="connsiteX49" fmla="*/ 4879487 w 5941705"/>
                <a:gd name="connsiteY49" fmla="*/ 1214949 h 1907322"/>
                <a:gd name="connsiteX50" fmla="*/ 5044508 w 5941705"/>
                <a:gd name="connsiteY50" fmla="*/ 1378302 h 1907322"/>
                <a:gd name="connsiteX51" fmla="*/ 5041427 w 5941705"/>
                <a:gd name="connsiteY51" fmla="*/ 1147443 h 1907322"/>
                <a:gd name="connsiteX52" fmla="*/ 1314464 w 5941705"/>
                <a:gd name="connsiteY52" fmla="*/ 1147443 h 1907322"/>
                <a:gd name="connsiteX53" fmla="*/ 1152524 w 5941705"/>
                <a:gd name="connsiteY53" fmla="*/ 1214949 h 1907322"/>
                <a:gd name="connsiteX54" fmla="*/ 1317545 w 5941705"/>
                <a:gd name="connsiteY54" fmla="*/ 1378302 h 1907322"/>
                <a:gd name="connsiteX55" fmla="*/ 1314464 w 5941705"/>
                <a:gd name="connsiteY55" fmla="*/ 1147443 h 1907322"/>
                <a:gd name="connsiteX56" fmla="*/ 5111615 w 5941705"/>
                <a:gd name="connsiteY56" fmla="*/ 1146599 h 1907322"/>
                <a:gd name="connsiteX57" fmla="*/ 5114722 w 5941705"/>
                <a:gd name="connsiteY57" fmla="*/ 1379345 h 1907322"/>
                <a:gd name="connsiteX58" fmla="*/ 5279490 w 5941705"/>
                <a:gd name="connsiteY58" fmla="*/ 1212894 h 1907322"/>
                <a:gd name="connsiteX59" fmla="*/ 5111615 w 5941705"/>
                <a:gd name="connsiteY59" fmla="*/ 1146599 h 1907322"/>
                <a:gd name="connsiteX60" fmla="*/ 1384652 w 5941705"/>
                <a:gd name="connsiteY60" fmla="*/ 1146599 h 1907322"/>
                <a:gd name="connsiteX61" fmla="*/ 1387759 w 5941705"/>
                <a:gd name="connsiteY61" fmla="*/ 1379345 h 1907322"/>
                <a:gd name="connsiteX62" fmla="*/ 1552527 w 5941705"/>
                <a:gd name="connsiteY62" fmla="*/ 1212894 h 1907322"/>
                <a:gd name="connsiteX63" fmla="*/ 1384652 w 5941705"/>
                <a:gd name="connsiteY63" fmla="*/ 1146599 h 1907322"/>
                <a:gd name="connsiteX64" fmla="*/ 5080745 w 5941705"/>
                <a:gd name="connsiteY64" fmla="*/ 1019794 h 1907322"/>
                <a:gd name="connsiteX65" fmla="*/ 5239854 w 5941705"/>
                <a:gd name="connsiteY65" fmla="*/ 1051172 h 1907322"/>
                <a:gd name="connsiteX66" fmla="*/ 5281583 w 5941705"/>
                <a:gd name="connsiteY66" fmla="*/ 1070495 h 1907322"/>
                <a:gd name="connsiteX67" fmla="*/ 5297306 w 5941705"/>
                <a:gd name="connsiteY67" fmla="*/ 1078892 h 1907322"/>
                <a:gd name="connsiteX68" fmla="*/ 5397320 w 5941705"/>
                <a:gd name="connsiteY68" fmla="*/ 1152581 h 1907322"/>
                <a:gd name="connsiteX69" fmla="*/ 5474593 w 5941705"/>
                <a:gd name="connsiteY69" fmla="*/ 1265094 h 1907322"/>
                <a:gd name="connsiteX70" fmla="*/ 5490691 w 5941705"/>
                <a:gd name="connsiteY70" fmla="*/ 1295896 h 1907322"/>
                <a:gd name="connsiteX71" fmla="*/ 5491006 w 5941705"/>
                <a:gd name="connsiteY71" fmla="*/ 1296513 h 1907322"/>
                <a:gd name="connsiteX72" fmla="*/ 5497349 w 5941705"/>
                <a:gd name="connsiteY72" fmla="*/ 1316954 h 1907322"/>
                <a:gd name="connsiteX73" fmla="*/ 5497968 w 5941705"/>
                <a:gd name="connsiteY73" fmla="*/ 1319106 h 1907322"/>
                <a:gd name="connsiteX74" fmla="*/ 5516297 w 5941705"/>
                <a:gd name="connsiteY74" fmla="*/ 1382891 h 1907322"/>
                <a:gd name="connsiteX75" fmla="*/ 5524510 w 5941705"/>
                <a:gd name="connsiteY75" fmla="*/ 1463558 h 1907322"/>
                <a:gd name="connsiteX76" fmla="*/ 5516344 w 5941705"/>
                <a:gd name="connsiteY76" fmla="*/ 1543765 h 1907322"/>
                <a:gd name="connsiteX77" fmla="*/ 5495561 w 5941705"/>
                <a:gd name="connsiteY77" fmla="*/ 1615686 h 1907322"/>
                <a:gd name="connsiteX78" fmla="*/ 5490646 w 5941705"/>
                <a:gd name="connsiteY78" fmla="*/ 1631363 h 1907322"/>
                <a:gd name="connsiteX79" fmla="*/ 5490645 w 5941705"/>
                <a:gd name="connsiteY79" fmla="*/ 1631364 h 1907322"/>
                <a:gd name="connsiteX80" fmla="*/ 5479922 w 5941705"/>
                <a:gd name="connsiteY80" fmla="*/ 1652302 h 1907322"/>
                <a:gd name="connsiteX81" fmla="*/ 5397118 w 5941705"/>
                <a:gd name="connsiteY81" fmla="*/ 1774742 h 1907322"/>
                <a:gd name="connsiteX82" fmla="*/ 5262748 w 5941705"/>
                <a:gd name="connsiteY82" fmla="*/ 1866430 h 1907322"/>
                <a:gd name="connsiteX83" fmla="*/ 5241483 w 5941705"/>
                <a:gd name="connsiteY83" fmla="*/ 1875674 h 1907322"/>
                <a:gd name="connsiteX84" fmla="*/ 5200496 w 5941705"/>
                <a:gd name="connsiteY84" fmla="*/ 1888524 h 1907322"/>
                <a:gd name="connsiteX85" fmla="*/ 5080745 w 5941705"/>
                <a:gd name="connsiteY85" fmla="*/ 1907322 h 1907322"/>
                <a:gd name="connsiteX86" fmla="*/ 4921634 w 5941705"/>
                <a:gd name="connsiteY86" fmla="*/ 1875943 h 1907322"/>
                <a:gd name="connsiteX87" fmla="*/ 4879900 w 5941705"/>
                <a:gd name="connsiteY87" fmla="*/ 1856618 h 1907322"/>
                <a:gd name="connsiteX88" fmla="*/ 4864179 w 5941705"/>
                <a:gd name="connsiteY88" fmla="*/ 1848222 h 1907322"/>
                <a:gd name="connsiteX89" fmla="*/ 4764170 w 5941705"/>
                <a:gd name="connsiteY89" fmla="*/ 1774535 h 1907322"/>
                <a:gd name="connsiteX90" fmla="*/ 4686830 w 5941705"/>
                <a:gd name="connsiteY90" fmla="*/ 1661896 h 1907322"/>
                <a:gd name="connsiteX91" fmla="*/ 4670805 w 5941705"/>
                <a:gd name="connsiteY91" fmla="*/ 1631230 h 1907322"/>
                <a:gd name="connsiteX92" fmla="*/ 4670488 w 5941705"/>
                <a:gd name="connsiteY92" fmla="*/ 1630611 h 1907322"/>
                <a:gd name="connsiteX93" fmla="*/ 4664123 w 5941705"/>
                <a:gd name="connsiteY93" fmla="*/ 1610097 h 1907322"/>
                <a:gd name="connsiteX94" fmla="*/ 4663511 w 5941705"/>
                <a:gd name="connsiteY94" fmla="*/ 1607966 h 1907322"/>
                <a:gd name="connsiteX95" fmla="*/ 4645193 w 5941705"/>
                <a:gd name="connsiteY95" fmla="*/ 1544204 h 1907322"/>
                <a:gd name="connsiteX96" fmla="*/ 4636982 w 5941705"/>
                <a:gd name="connsiteY96" fmla="*/ 1463558 h 1907322"/>
                <a:gd name="connsiteX97" fmla="*/ 4645149 w 5941705"/>
                <a:gd name="connsiteY97" fmla="*/ 1383351 h 1907322"/>
                <a:gd name="connsiteX98" fmla="*/ 4681610 w 5941705"/>
                <a:gd name="connsiteY98" fmla="*/ 1274742 h 1907322"/>
                <a:gd name="connsiteX99" fmla="*/ 4764374 w 5941705"/>
                <a:gd name="connsiteY99" fmla="*/ 1152374 h 1907322"/>
                <a:gd name="connsiteX100" fmla="*/ 4909454 w 5941705"/>
                <a:gd name="connsiteY100" fmla="*/ 1054814 h 1907322"/>
                <a:gd name="connsiteX101" fmla="*/ 5080745 w 5941705"/>
                <a:gd name="connsiteY101" fmla="*/ 1019794 h 1907322"/>
                <a:gd name="connsiteX102" fmla="*/ 1353782 w 5941705"/>
                <a:gd name="connsiteY102" fmla="*/ 1019794 h 1907322"/>
                <a:gd name="connsiteX103" fmla="*/ 1512891 w 5941705"/>
                <a:gd name="connsiteY103" fmla="*/ 1051172 h 1907322"/>
                <a:gd name="connsiteX104" fmla="*/ 1554620 w 5941705"/>
                <a:gd name="connsiteY104" fmla="*/ 1070495 h 1907322"/>
                <a:gd name="connsiteX105" fmla="*/ 1570343 w 5941705"/>
                <a:gd name="connsiteY105" fmla="*/ 1078892 h 1907322"/>
                <a:gd name="connsiteX106" fmla="*/ 1670357 w 5941705"/>
                <a:gd name="connsiteY106" fmla="*/ 1152581 h 1907322"/>
                <a:gd name="connsiteX107" fmla="*/ 1747630 w 5941705"/>
                <a:gd name="connsiteY107" fmla="*/ 1265094 h 1907322"/>
                <a:gd name="connsiteX108" fmla="*/ 1763728 w 5941705"/>
                <a:gd name="connsiteY108" fmla="*/ 1295896 h 1907322"/>
                <a:gd name="connsiteX109" fmla="*/ 1764043 w 5941705"/>
                <a:gd name="connsiteY109" fmla="*/ 1296513 h 1907322"/>
                <a:gd name="connsiteX110" fmla="*/ 1770386 w 5941705"/>
                <a:gd name="connsiteY110" fmla="*/ 1316954 h 1907322"/>
                <a:gd name="connsiteX111" fmla="*/ 1771005 w 5941705"/>
                <a:gd name="connsiteY111" fmla="*/ 1319106 h 1907322"/>
                <a:gd name="connsiteX112" fmla="*/ 1789334 w 5941705"/>
                <a:gd name="connsiteY112" fmla="*/ 1382891 h 1907322"/>
                <a:gd name="connsiteX113" fmla="*/ 1797547 w 5941705"/>
                <a:gd name="connsiteY113" fmla="*/ 1463558 h 1907322"/>
                <a:gd name="connsiteX114" fmla="*/ 1789381 w 5941705"/>
                <a:gd name="connsiteY114" fmla="*/ 1543765 h 1907322"/>
                <a:gd name="connsiteX115" fmla="*/ 1768598 w 5941705"/>
                <a:gd name="connsiteY115" fmla="*/ 1615686 h 1907322"/>
                <a:gd name="connsiteX116" fmla="*/ 1763683 w 5941705"/>
                <a:gd name="connsiteY116" fmla="*/ 1631363 h 1907322"/>
                <a:gd name="connsiteX117" fmla="*/ 1763682 w 5941705"/>
                <a:gd name="connsiteY117" fmla="*/ 1631364 h 1907322"/>
                <a:gd name="connsiteX118" fmla="*/ 1752959 w 5941705"/>
                <a:gd name="connsiteY118" fmla="*/ 1652302 h 1907322"/>
                <a:gd name="connsiteX119" fmla="*/ 1670155 w 5941705"/>
                <a:gd name="connsiteY119" fmla="*/ 1774742 h 1907322"/>
                <a:gd name="connsiteX120" fmla="*/ 1535785 w 5941705"/>
                <a:gd name="connsiteY120" fmla="*/ 1866430 h 1907322"/>
                <a:gd name="connsiteX121" fmla="*/ 1514520 w 5941705"/>
                <a:gd name="connsiteY121" fmla="*/ 1875674 h 1907322"/>
                <a:gd name="connsiteX122" fmla="*/ 1473533 w 5941705"/>
                <a:gd name="connsiteY122" fmla="*/ 1888524 h 1907322"/>
                <a:gd name="connsiteX123" fmla="*/ 1353782 w 5941705"/>
                <a:gd name="connsiteY123" fmla="*/ 1907322 h 1907322"/>
                <a:gd name="connsiteX124" fmla="*/ 1194671 w 5941705"/>
                <a:gd name="connsiteY124" fmla="*/ 1875943 h 1907322"/>
                <a:gd name="connsiteX125" fmla="*/ 1152937 w 5941705"/>
                <a:gd name="connsiteY125" fmla="*/ 1856618 h 1907322"/>
                <a:gd name="connsiteX126" fmla="*/ 1137216 w 5941705"/>
                <a:gd name="connsiteY126" fmla="*/ 1848222 h 1907322"/>
                <a:gd name="connsiteX127" fmla="*/ 1037207 w 5941705"/>
                <a:gd name="connsiteY127" fmla="*/ 1774535 h 1907322"/>
                <a:gd name="connsiteX128" fmla="*/ 959867 w 5941705"/>
                <a:gd name="connsiteY128" fmla="*/ 1661896 h 1907322"/>
                <a:gd name="connsiteX129" fmla="*/ 943842 w 5941705"/>
                <a:gd name="connsiteY129" fmla="*/ 1631230 h 1907322"/>
                <a:gd name="connsiteX130" fmla="*/ 943525 w 5941705"/>
                <a:gd name="connsiteY130" fmla="*/ 1630611 h 1907322"/>
                <a:gd name="connsiteX131" fmla="*/ 937160 w 5941705"/>
                <a:gd name="connsiteY131" fmla="*/ 1610097 h 1907322"/>
                <a:gd name="connsiteX132" fmla="*/ 936548 w 5941705"/>
                <a:gd name="connsiteY132" fmla="*/ 1607966 h 1907322"/>
                <a:gd name="connsiteX133" fmla="*/ 918230 w 5941705"/>
                <a:gd name="connsiteY133" fmla="*/ 1544204 h 1907322"/>
                <a:gd name="connsiteX134" fmla="*/ 910019 w 5941705"/>
                <a:gd name="connsiteY134" fmla="*/ 1463558 h 1907322"/>
                <a:gd name="connsiteX135" fmla="*/ 918186 w 5941705"/>
                <a:gd name="connsiteY135" fmla="*/ 1383351 h 1907322"/>
                <a:gd name="connsiteX136" fmla="*/ 954647 w 5941705"/>
                <a:gd name="connsiteY136" fmla="*/ 1274742 h 1907322"/>
                <a:gd name="connsiteX137" fmla="*/ 1037411 w 5941705"/>
                <a:gd name="connsiteY137" fmla="*/ 1152374 h 1907322"/>
                <a:gd name="connsiteX138" fmla="*/ 1182491 w 5941705"/>
                <a:gd name="connsiteY138" fmla="*/ 1054814 h 1907322"/>
                <a:gd name="connsiteX139" fmla="*/ 1353782 w 5941705"/>
                <a:gd name="connsiteY139" fmla="*/ 1019794 h 1907322"/>
                <a:gd name="connsiteX140" fmla="*/ 2733685 w 5941705"/>
                <a:gd name="connsiteY140" fmla="*/ 102805 h 1907322"/>
                <a:gd name="connsiteX141" fmla="*/ 2886085 w 5941705"/>
                <a:gd name="connsiteY141" fmla="*/ 613345 h 1907322"/>
                <a:gd name="connsiteX142" fmla="*/ 3754765 w 5941705"/>
                <a:gd name="connsiteY142" fmla="*/ 628585 h 1907322"/>
                <a:gd name="connsiteX143" fmla="*/ 3792865 w 5941705"/>
                <a:gd name="connsiteY143" fmla="*/ 438085 h 1907322"/>
                <a:gd name="connsiteX144" fmla="*/ 3277086 w 5941705"/>
                <a:gd name="connsiteY144" fmla="*/ 149954 h 1907322"/>
                <a:gd name="connsiteX145" fmla="*/ 2733685 w 5941705"/>
                <a:gd name="connsiteY145" fmla="*/ 102805 h 1907322"/>
                <a:gd name="connsiteX146" fmla="*/ 2558424 w 5941705"/>
                <a:gd name="connsiteY146" fmla="*/ 95185 h 1907322"/>
                <a:gd name="connsiteX147" fmla="*/ 2036454 w 5941705"/>
                <a:gd name="connsiteY147" fmla="*/ 104710 h 1907322"/>
                <a:gd name="connsiteX148" fmla="*/ 1407804 w 5941705"/>
                <a:gd name="connsiteY148" fmla="*/ 339025 h 1907322"/>
                <a:gd name="connsiteX149" fmla="*/ 1506864 w 5941705"/>
                <a:gd name="connsiteY149" fmla="*/ 575245 h 1907322"/>
                <a:gd name="connsiteX150" fmla="*/ 2657484 w 5941705"/>
                <a:gd name="connsiteY150" fmla="*/ 575245 h 1907322"/>
                <a:gd name="connsiteX151" fmla="*/ 2558424 w 5941705"/>
                <a:gd name="connsiteY151" fmla="*/ 95185 h 1907322"/>
                <a:gd name="connsiteX152" fmla="*/ 2588905 w 5941705"/>
                <a:gd name="connsiteY152" fmla="*/ 3744 h 1907322"/>
                <a:gd name="connsiteX153" fmla="*/ 3282325 w 5941705"/>
                <a:gd name="connsiteY153" fmla="*/ 64704 h 1907322"/>
                <a:gd name="connsiteX154" fmla="*/ 4265305 w 5941705"/>
                <a:gd name="connsiteY154" fmla="*/ 582864 h 1907322"/>
                <a:gd name="connsiteX155" fmla="*/ 5133985 w 5941705"/>
                <a:gd name="connsiteY155" fmla="*/ 659064 h 1907322"/>
                <a:gd name="connsiteX156" fmla="*/ 5850265 w 5941705"/>
                <a:gd name="connsiteY156" fmla="*/ 834324 h 1907322"/>
                <a:gd name="connsiteX157" fmla="*/ 5941705 w 5941705"/>
                <a:gd name="connsiteY157" fmla="*/ 1070544 h 1907322"/>
                <a:gd name="connsiteX158" fmla="*/ 5888365 w 5941705"/>
                <a:gd name="connsiteY158" fmla="*/ 1329624 h 1907322"/>
                <a:gd name="connsiteX159" fmla="*/ 5918845 w 5941705"/>
                <a:gd name="connsiteY159" fmla="*/ 1512504 h 1907322"/>
                <a:gd name="connsiteX160" fmla="*/ 5842645 w 5941705"/>
                <a:gd name="connsiteY160" fmla="*/ 1588704 h 1907322"/>
                <a:gd name="connsiteX161" fmla="*/ 5583565 w 5941705"/>
                <a:gd name="connsiteY161" fmla="*/ 1596324 h 1907322"/>
                <a:gd name="connsiteX162" fmla="*/ 5556953 w 5941705"/>
                <a:gd name="connsiteY162" fmla="*/ 1596270 h 1907322"/>
                <a:gd name="connsiteX163" fmla="*/ 5578894 w 5941705"/>
                <a:gd name="connsiteY163" fmla="*/ 1459165 h 1907322"/>
                <a:gd name="connsiteX164" fmla="*/ 5080748 w 5941705"/>
                <a:gd name="connsiteY164" fmla="*/ 965951 h 1907322"/>
                <a:gd name="connsiteX165" fmla="*/ 4582602 w 5941705"/>
                <a:gd name="connsiteY165" fmla="*/ 1459165 h 1907322"/>
                <a:gd name="connsiteX166" fmla="*/ 4603930 w 5941705"/>
                <a:gd name="connsiteY166" fmla="*/ 1594313 h 1907322"/>
                <a:gd name="connsiteX167" fmla="*/ 1872625 w 5941705"/>
                <a:gd name="connsiteY167" fmla="*/ 1588704 h 1907322"/>
                <a:gd name="connsiteX168" fmla="*/ 1833037 w 5941705"/>
                <a:gd name="connsiteY168" fmla="*/ 1586550 h 1907322"/>
                <a:gd name="connsiteX169" fmla="*/ 1851931 w 5941705"/>
                <a:gd name="connsiteY169" fmla="*/ 1459165 h 1907322"/>
                <a:gd name="connsiteX170" fmla="*/ 1353785 w 5941705"/>
                <a:gd name="connsiteY170" fmla="*/ 965951 h 1907322"/>
                <a:gd name="connsiteX171" fmla="*/ 855639 w 5941705"/>
                <a:gd name="connsiteY171" fmla="*/ 1459165 h 1907322"/>
                <a:gd name="connsiteX172" fmla="*/ 863570 w 5941705"/>
                <a:gd name="connsiteY172" fmla="*/ 1537059 h 1907322"/>
                <a:gd name="connsiteX173" fmla="*/ 809613 w 5941705"/>
                <a:gd name="connsiteY173" fmla="*/ 1530853 h 1907322"/>
                <a:gd name="connsiteX174" fmla="*/ 752485 w 5941705"/>
                <a:gd name="connsiteY174" fmla="*/ 1527744 h 1907322"/>
                <a:gd name="connsiteX175" fmla="*/ 752461 w 5941705"/>
                <a:gd name="connsiteY175" fmla="*/ 1524279 h 1907322"/>
                <a:gd name="connsiteX176" fmla="*/ 333498 w 5941705"/>
                <a:gd name="connsiteY176" fmla="*/ 1476089 h 1907322"/>
                <a:gd name="connsiteX177" fmla="*/ 270349 w 5941705"/>
                <a:gd name="connsiteY177" fmla="*/ 1455436 h 1907322"/>
                <a:gd name="connsiteX178" fmla="*/ 236237 w 5941705"/>
                <a:gd name="connsiteY178" fmla="*/ 1442059 h 1907322"/>
                <a:gd name="connsiteX179" fmla="*/ 0 w 5941705"/>
                <a:gd name="connsiteY179" fmla="*/ 1122718 h 1907322"/>
                <a:gd name="connsiteX180" fmla="*/ 142886 w 5941705"/>
                <a:gd name="connsiteY180" fmla="*/ 848362 h 1907322"/>
                <a:gd name="connsiteX181" fmla="*/ 142886 w 5941705"/>
                <a:gd name="connsiteY181" fmla="*/ 631445 h 1907322"/>
                <a:gd name="connsiteX182" fmla="*/ 183452 w 5941705"/>
                <a:gd name="connsiteY182" fmla="*/ 525910 h 1907322"/>
                <a:gd name="connsiteX183" fmla="*/ 309027 w 5941705"/>
                <a:gd name="connsiteY183" fmla="*/ 453270 h 1907322"/>
                <a:gd name="connsiteX184" fmla="*/ 767423 w 5941705"/>
                <a:gd name="connsiteY184" fmla="*/ 429061 h 1907322"/>
                <a:gd name="connsiteX185" fmla="*/ 1697365 w 5941705"/>
                <a:gd name="connsiteY185" fmla="*/ 57084 h 1907322"/>
                <a:gd name="connsiteX186" fmla="*/ 1910725 w 5941705"/>
                <a:gd name="connsiteY186" fmla="*/ 26604 h 1907322"/>
                <a:gd name="connsiteX187" fmla="*/ 2588905 w 5941705"/>
                <a:gd name="connsiteY187" fmla="*/ 3744 h 1907322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92865 w 5941705"/>
                <a:gd name="connsiteY143" fmla="*/ 435550 h 1904787"/>
                <a:gd name="connsiteX144" fmla="*/ 3277086 w 5941705"/>
                <a:gd name="connsiteY144" fmla="*/ 147419 h 1904787"/>
                <a:gd name="connsiteX145" fmla="*/ 2733685 w 5941705"/>
                <a:gd name="connsiteY145" fmla="*/ 100270 h 1904787"/>
                <a:gd name="connsiteX146" fmla="*/ 2558424 w 5941705"/>
                <a:gd name="connsiteY146" fmla="*/ 92650 h 1904787"/>
                <a:gd name="connsiteX147" fmla="*/ 2036454 w 5941705"/>
                <a:gd name="connsiteY147" fmla="*/ 102175 h 1904787"/>
                <a:gd name="connsiteX148" fmla="*/ 1407804 w 5941705"/>
                <a:gd name="connsiteY148" fmla="*/ 336490 h 1904787"/>
                <a:gd name="connsiteX149" fmla="*/ 1506864 w 5941705"/>
                <a:gd name="connsiteY149" fmla="*/ 572710 h 1904787"/>
                <a:gd name="connsiteX150" fmla="*/ 2657484 w 5941705"/>
                <a:gd name="connsiteY150" fmla="*/ 572710 h 1904787"/>
                <a:gd name="connsiteX151" fmla="*/ 2558424 w 5941705"/>
                <a:gd name="connsiteY151" fmla="*/ 92650 h 1904787"/>
                <a:gd name="connsiteX152" fmla="*/ 2588905 w 5941705"/>
                <a:gd name="connsiteY152" fmla="*/ 1209 h 1904787"/>
                <a:gd name="connsiteX153" fmla="*/ 3282325 w 5941705"/>
                <a:gd name="connsiteY153" fmla="*/ 62169 h 1904787"/>
                <a:gd name="connsiteX154" fmla="*/ 4265305 w 5941705"/>
                <a:gd name="connsiteY154" fmla="*/ 580329 h 1904787"/>
                <a:gd name="connsiteX155" fmla="*/ 5133985 w 5941705"/>
                <a:gd name="connsiteY155" fmla="*/ 656529 h 1904787"/>
                <a:gd name="connsiteX156" fmla="*/ 5850265 w 5941705"/>
                <a:gd name="connsiteY156" fmla="*/ 831789 h 1904787"/>
                <a:gd name="connsiteX157" fmla="*/ 5941705 w 5941705"/>
                <a:gd name="connsiteY157" fmla="*/ 1068009 h 1904787"/>
                <a:gd name="connsiteX158" fmla="*/ 5888365 w 5941705"/>
                <a:gd name="connsiteY158" fmla="*/ 1327089 h 1904787"/>
                <a:gd name="connsiteX159" fmla="*/ 5918845 w 5941705"/>
                <a:gd name="connsiteY159" fmla="*/ 1509969 h 1904787"/>
                <a:gd name="connsiteX160" fmla="*/ 5842645 w 5941705"/>
                <a:gd name="connsiteY160" fmla="*/ 1586169 h 1904787"/>
                <a:gd name="connsiteX161" fmla="*/ 5583565 w 5941705"/>
                <a:gd name="connsiteY161" fmla="*/ 1593789 h 1904787"/>
                <a:gd name="connsiteX162" fmla="*/ 5556953 w 5941705"/>
                <a:gd name="connsiteY162" fmla="*/ 1593735 h 1904787"/>
                <a:gd name="connsiteX163" fmla="*/ 5578894 w 5941705"/>
                <a:gd name="connsiteY163" fmla="*/ 1456630 h 1904787"/>
                <a:gd name="connsiteX164" fmla="*/ 5080748 w 5941705"/>
                <a:gd name="connsiteY164" fmla="*/ 963416 h 1904787"/>
                <a:gd name="connsiteX165" fmla="*/ 4582602 w 5941705"/>
                <a:gd name="connsiteY165" fmla="*/ 1456630 h 1904787"/>
                <a:gd name="connsiteX166" fmla="*/ 4603930 w 5941705"/>
                <a:gd name="connsiteY166" fmla="*/ 1591778 h 1904787"/>
                <a:gd name="connsiteX167" fmla="*/ 1872625 w 5941705"/>
                <a:gd name="connsiteY167" fmla="*/ 1586169 h 1904787"/>
                <a:gd name="connsiteX168" fmla="*/ 1833037 w 5941705"/>
                <a:gd name="connsiteY168" fmla="*/ 1584015 h 1904787"/>
                <a:gd name="connsiteX169" fmla="*/ 1851931 w 5941705"/>
                <a:gd name="connsiteY169" fmla="*/ 1456630 h 1904787"/>
                <a:gd name="connsiteX170" fmla="*/ 1353785 w 5941705"/>
                <a:gd name="connsiteY170" fmla="*/ 963416 h 1904787"/>
                <a:gd name="connsiteX171" fmla="*/ 855639 w 5941705"/>
                <a:gd name="connsiteY171" fmla="*/ 1456630 h 1904787"/>
                <a:gd name="connsiteX172" fmla="*/ 863570 w 5941705"/>
                <a:gd name="connsiteY172" fmla="*/ 1534524 h 1904787"/>
                <a:gd name="connsiteX173" fmla="*/ 809613 w 5941705"/>
                <a:gd name="connsiteY173" fmla="*/ 1528318 h 1904787"/>
                <a:gd name="connsiteX174" fmla="*/ 752485 w 5941705"/>
                <a:gd name="connsiteY174" fmla="*/ 1525209 h 1904787"/>
                <a:gd name="connsiteX175" fmla="*/ 752461 w 5941705"/>
                <a:gd name="connsiteY175" fmla="*/ 1521744 h 1904787"/>
                <a:gd name="connsiteX176" fmla="*/ 333498 w 5941705"/>
                <a:gd name="connsiteY176" fmla="*/ 1473554 h 1904787"/>
                <a:gd name="connsiteX177" fmla="*/ 270349 w 5941705"/>
                <a:gd name="connsiteY177" fmla="*/ 1452901 h 1904787"/>
                <a:gd name="connsiteX178" fmla="*/ 236237 w 5941705"/>
                <a:gd name="connsiteY178" fmla="*/ 1439524 h 1904787"/>
                <a:gd name="connsiteX179" fmla="*/ 0 w 5941705"/>
                <a:gd name="connsiteY179" fmla="*/ 1120183 h 1904787"/>
                <a:gd name="connsiteX180" fmla="*/ 142886 w 5941705"/>
                <a:gd name="connsiteY180" fmla="*/ 845827 h 1904787"/>
                <a:gd name="connsiteX181" fmla="*/ 142886 w 5941705"/>
                <a:gd name="connsiteY181" fmla="*/ 628910 h 1904787"/>
                <a:gd name="connsiteX182" fmla="*/ 183452 w 5941705"/>
                <a:gd name="connsiteY182" fmla="*/ 523375 h 1904787"/>
                <a:gd name="connsiteX183" fmla="*/ 309027 w 5941705"/>
                <a:gd name="connsiteY183" fmla="*/ 450735 h 1904787"/>
                <a:gd name="connsiteX184" fmla="*/ 767423 w 5941705"/>
                <a:gd name="connsiteY184" fmla="*/ 426526 h 1904787"/>
                <a:gd name="connsiteX185" fmla="*/ 1697365 w 5941705"/>
                <a:gd name="connsiteY185" fmla="*/ 54549 h 1904787"/>
                <a:gd name="connsiteX186" fmla="*/ 1910725 w 5941705"/>
                <a:gd name="connsiteY186" fmla="*/ 24069 h 1904787"/>
                <a:gd name="connsiteX187" fmla="*/ 2588905 w 5941705"/>
                <a:gd name="connsiteY187" fmla="*/ 1209 h 1904787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92865 w 5941705"/>
                <a:gd name="connsiteY143" fmla="*/ 435550 h 1904787"/>
                <a:gd name="connsiteX144" fmla="*/ 3277086 w 5941705"/>
                <a:gd name="connsiteY144" fmla="*/ 147419 h 1904787"/>
                <a:gd name="connsiteX145" fmla="*/ 2733685 w 5941705"/>
                <a:gd name="connsiteY145" fmla="*/ 100270 h 1904787"/>
                <a:gd name="connsiteX146" fmla="*/ 2558424 w 5941705"/>
                <a:gd name="connsiteY146" fmla="*/ 92650 h 1904787"/>
                <a:gd name="connsiteX147" fmla="*/ 2036454 w 5941705"/>
                <a:gd name="connsiteY147" fmla="*/ 102175 h 1904787"/>
                <a:gd name="connsiteX148" fmla="*/ 1407804 w 5941705"/>
                <a:gd name="connsiteY148" fmla="*/ 336490 h 1904787"/>
                <a:gd name="connsiteX149" fmla="*/ 1506864 w 5941705"/>
                <a:gd name="connsiteY149" fmla="*/ 572710 h 1904787"/>
                <a:gd name="connsiteX150" fmla="*/ 2657484 w 5941705"/>
                <a:gd name="connsiteY150" fmla="*/ 572710 h 1904787"/>
                <a:gd name="connsiteX151" fmla="*/ 2558424 w 5941705"/>
                <a:gd name="connsiteY151" fmla="*/ 92650 h 1904787"/>
                <a:gd name="connsiteX152" fmla="*/ 2588905 w 5941705"/>
                <a:gd name="connsiteY152" fmla="*/ 1209 h 1904787"/>
                <a:gd name="connsiteX153" fmla="*/ 3282325 w 5941705"/>
                <a:gd name="connsiteY153" fmla="*/ 62169 h 1904787"/>
                <a:gd name="connsiteX154" fmla="*/ 4265305 w 5941705"/>
                <a:gd name="connsiteY154" fmla="*/ 580329 h 1904787"/>
                <a:gd name="connsiteX155" fmla="*/ 5133985 w 5941705"/>
                <a:gd name="connsiteY155" fmla="*/ 656529 h 1904787"/>
                <a:gd name="connsiteX156" fmla="*/ 5850265 w 5941705"/>
                <a:gd name="connsiteY156" fmla="*/ 831789 h 1904787"/>
                <a:gd name="connsiteX157" fmla="*/ 5941705 w 5941705"/>
                <a:gd name="connsiteY157" fmla="*/ 1068009 h 1904787"/>
                <a:gd name="connsiteX158" fmla="*/ 5888365 w 5941705"/>
                <a:gd name="connsiteY158" fmla="*/ 1327089 h 1904787"/>
                <a:gd name="connsiteX159" fmla="*/ 5918845 w 5941705"/>
                <a:gd name="connsiteY159" fmla="*/ 1509969 h 1904787"/>
                <a:gd name="connsiteX160" fmla="*/ 5842645 w 5941705"/>
                <a:gd name="connsiteY160" fmla="*/ 1586169 h 1904787"/>
                <a:gd name="connsiteX161" fmla="*/ 5583565 w 5941705"/>
                <a:gd name="connsiteY161" fmla="*/ 1593789 h 1904787"/>
                <a:gd name="connsiteX162" fmla="*/ 5556953 w 5941705"/>
                <a:gd name="connsiteY162" fmla="*/ 1593735 h 1904787"/>
                <a:gd name="connsiteX163" fmla="*/ 5578894 w 5941705"/>
                <a:gd name="connsiteY163" fmla="*/ 1456630 h 1904787"/>
                <a:gd name="connsiteX164" fmla="*/ 5080748 w 5941705"/>
                <a:gd name="connsiteY164" fmla="*/ 963416 h 1904787"/>
                <a:gd name="connsiteX165" fmla="*/ 4582602 w 5941705"/>
                <a:gd name="connsiteY165" fmla="*/ 1456630 h 1904787"/>
                <a:gd name="connsiteX166" fmla="*/ 4603930 w 5941705"/>
                <a:gd name="connsiteY166" fmla="*/ 1591778 h 1904787"/>
                <a:gd name="connsiteX167" fmla="*/ 1872625 w 5941705"/>
                <a:gd name="connsiteY167" fmla="*/ 1586169 h 1904787"/>
                <a:gd name="connsiteX168" fmla="*/ 1833037 w 5941705"/>
                <a:gd name="connsiteY168" fmla="*/ 1584015 h 1904787"/>
                <a:gd name="connsiteX169" fmla="*/ 1851931 w 5941705"/>
                <a:gd name="connsiteY169" fmla="*/ 1456630 h 1904787"/>
                <a:gd name="connsiteX170" fmla="*/ 1353785 w 5941705"/>
                <a:gd name="connsiteY170" fmla="*/ 963416 h 1904787"/>
                <a:gd name="connsiteX171" fmla="*/ 855639 w 5941705"/>
                <a:gd name="connsiteY171" fmla="*/ 1456630 h 1904787"/>
                <a:gd name="connsiteX172" fmla="*/ 863570 w 5941705"/>
                <a:gd name="connsiteY172" fmla="*/ 1534524 h 1904787"/>
                <a:gd name="connsiteX173" fmla="*/ 809613 w 5941705"/>
                <a:gd name="connsiteY173" fmla="*/ 1528318 h 1904787"/>
                <a:gd name="connsiteX174" fmla="*/ 752485 w 5941705"/>
                <a:gd name="connsiteY174" fmla="*/ 1525209 h 1904787"/>
                <a:gd name="connsiteX175" fmla="*/ 752461 w 5941705"/>
                <a:gd name="connsiteY175" fmla="*/ 1521744 h 1904787"/>
                <a:gd name="connsiteX176" fmla="*/ 333498 w 5941705"/>
                <a:gd name="connsiteY176" fmla="*/ 1473554 h 1904787"/>
                <a:gd name="connsiteX177" fmla="*/ 270349 w 5941705"/>
                <a:gd name="connsiteY177" fmla="*/ 1452901 h 1904787"/>
                <a:gd name="connsiteX178" fmla="*/ 236237 w 5941705"/>
                <a:gd name="connsiteY178" fmla="*/ 1439524 h 1904787"/>
                <a:gd name="connsiteX179" fmla="*/ 0 w 5941705"/>
                <a:gd name="connsiteY179" fmla="*/ 1120183 h 1904787"/>
                <a:gd name="connsiteX180" fmla="*/ 142886 w 5941705"/>
                <a:gd name="connsiteY180" fmla="*/ 845827 h 1904787"/>
                <a:gd name="connsiteX181" fmla="*/ 142886 w 5941705"/>
                <a:gd name="connsiteY181" fmla="*/ 628910 h 1904787"/>
                <a:gd name="connsiteX182" fmla="*/ 183452 w 5941705"/>
                <a:gd name="connsiteY182" fmla="*/ 523375 h 1904787"/>
                <a:gd name="connsiteX183" fmla="*/ 309027 w 5941705"/>
                <a:gd name="connsiteY183" fmla="*/ 450735 h 1904787"/>
                <a:gd name="connsiteX184" fmla="*/ 767423 w 5941705"/>
                <a:gd name="connsiteY184" fmla="*/ 426526 h 1904787"/>
                <a:gd name="connsiteX185" fmla="*/ 1697365 w 5941705"/>
                <a:gd name="connsiteY185" fmla="*/ 54549 h 1904787"/>
                <a:gd name="connsiteX186" fmla="*/ 1910725 w 5941705"/>
                <a:gd name="connsiteY186" fmla="*/ 24069 h 1904787"/>
                <a:gd name="connsiteX187" fmla="*/ 2588905 w 5941705"/>
                <a:gd name="connsiteY187" fmla="*/ 1209 h 1904787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76415 w 5941705"/>
                <a:gd name="connsiteY143" fmla="*/ 522206 h 1904787"/>
                <a:gd name="connsiteX144" fmla="*/ 3792865 w 5941705"/>
                <a:gd name="connsiteY144" fmla="*/ 435550 h 1904787"/>
                <a:gd name="connsiteX145" fmla="*/ 3277086 w 5941705"/>
                <a:gd name="connsiteY145" fmla="*/ 147419 h 1904787"/>
                <a:gd name="connsiteX146" fmla="*/ 2733685 w 5941705"/>
                <a:gd name="connsiteY146" fmla="*/ 100270 h 1904787"/>
                <a:gd name="connsiteX147" fmla="*/ 2558424 w 5941705"/>
                <a:gd name="connsiteY147" fmla="*/ 92650 h 1904787"/>
                <a:gd name="connsiteX148" fmla="*/ 2036454 w 5941705"/>
                <a:gd name="connsiteY148" fmla="*/ 102175 h 1904787"/>
                <a:gd name="connsiteX149" fmla="*/ 1407804 w 5941705"/>
                <a:gd name="connsiteY149" fmla="*/ 336490 h 1904787"/>
                <a:gd name="connsiteX150" fmla="*/ 1506864 w 5941705"/>
                <a:gd name="connsiteY150" fmla="*/ 572710 h 1904787"/>
                <a:gd name="connsiteX151" fmla="*/ 2657484 w 5941705"/>
                <a:gd name="connsiteY151" fmla="*/ 572710 h 1904787"/>
                <a:gd name="connsiteX152" fmla="*/ 2558424 w 5941705"/>
                <a:gd name="connsiteY152" fmla="*/ 92650 h 1904787"/>
                <a:gd name="connsiteX153" fmla="*/ 2588905 w 5941705"/>
                <a:gd name="connsiteY153" fmla="*/ 1209 h 1904787"/>
                <a:gd name="connsiteX154" fmla="*/ 3282325 w 5941705"/>
                <a:gd name="connsiteY154" fmla="*/ 62169 h 1904787"/>
                <a:gd name="connsiteX155" fmla="*/ 4265305 w 5941705"/>
                <a:gd name="connsiteY155" fmla="*/ 580329 h 1904787"/>
                <a:gd name="connsiteX156" fmla="*/ 5133985 w 5941705"/>
                <a:gd name="connsiteY156" fmla="*/ 656529 h 1904787"/>
                <a:gd name="connsiteX157" fmla="*/ 5850265 w 5941705"/>
                <a:gd name="connsiteY157" fmla="*/ 831789 h 1904787"/>
                <a:gd name="connsiteX158" fmla="*/ 5941705 w 5941705"/>
                <a:gd name="connsiteY158" fmla="*/ 1068009 h 1904787"/>
                <a:gd name="connsiteX159" fmla="*/ 5888365 w 5941705"/>
                <a:gd name="connsiteY159" fmla="*/ 1327089 h 1904787"/>
                <a:gd name="connsiteX160" fmla="*/ 5918845 w 5941705"/>
                <a:gd name="connsiteY160" fmla="*/ 1509969 h 1904787"/>
                <a:gd name="connsiteX161" fmla="*/ 5842645 w 5941705"/>
                <a:gd name="connsiteY161" fmla="*/ 1586169 h 1904787"/>
                <a:gd name="connsiteX162" fmla="*/ 5583565 w 5941705"/>
                <a:gd name="connsiteY162" fmla="*/ 1593789 h 1904787"/>
                <a:gd name="connsiteX163" fmla="*/ 5556953 w 5941705"/>
                <a:gd name="connsiteY163" fmla="*/ 1593735 h 1904787"/>
                <a:gd name="connsiteX164" fmla="*/ 5578894 w 5941705"/>
                <a:gd name="connsiteY164" fmla="*/ 1456630 h 1904787"/>
                <a:gd name="connsiteX165" fmla="*/ 5080748 w 5941705"/>
                <a:gd name="connsiteY165" fmla="*/ 963416 h 1904787"/>
                <a:gd name="connsiteX166" fmla="*/ 4582602 w 5941705"/>
                <a:gd name="connsiteY166" fmla="*/ 1456630 h 1904787"/>
                <a:gd name="connsiteX167" fmla="*/ 4603930 w 5941705"/>
                <a:gd name="connsiteY167" fmla="*/ 1591778 h 1904787"/>
                <a:gd name="connsiteX168" fmla="*/ 1872625 w 5941705"/>
                <a:gd name="connsiteY168" fmla="*/ 1586169 h 1904787"/>
                <a:gd name="connsiteX169" fmla="*/ 1833037 w 5941705"/>
                <a:gd name="connsiteY169" fmla="*/ 1584015 h 1904787"/>
                <a:gd name="connsiteX170" fmla="*/ 1851931 w 5941705"/>
                <a:gd name="connsiteY170" fmla="*/ 1456630 h 1904787"/>
                <a:gd name="connsiteX171" fmla="*/ 1353785 w 5941705"/>
                <a:gd name="connsiteY171" fmla="*/ 963416 h 1904787"/>
                <a:gd name="connsiteX172" fmla="*/ 855639 w 5941705"/>
                <a:gd name="connsiteY172" fmla="*/ 1456630 h 1904787"/>
                <a:gd name="connsiteX173" fmla="*/ 863570 w 5941705"/>
                <a:gd name="connsiteY173" fmla="*/ 1534524 h 1904787"/>
                <a:gd name="connsiteX174" fmla="*/ 809613 w 5941705"/>
                <a:gd name="connsiteY174" fmla="*/ 1528318 h 1904787"/>
                <a:gd name="connsiteX175" fmla="*/ 752485 w 5941705"/>
                <a:gd name="connsiteY175" fmla="*/ 1525209 h 1904787"/>
                <a:gd name="connsiteX176" fmla="*/ 752461 w 5941705"/>
                <a:gd name="connsiteY176" fmla="*/ 1521744 h 1904787"/>
                <a:gd name="connsiteX177" fmla="*/ 333498 w 5941705"/>
                <a:gd name="connsiteY177" fmla="*/ 1473554 h 1904787"/>
                <a:gd name="connsiteX178" fmla="*/ 270349 w 5941705"/>
                <a:gd name="connsiteY178" fmla="*/ 1452901 h 1904787"/>
                <a:gd name="connsiteX179" fmla="*/ 236237 w 5941705"/>
                <a:gd name="connsiteY179" fmla="*/ 1439524 h 1904787"/>
                <a:gd name="connsiteX180" fmla="*/ 0 w 5941705"/>
                <a:gd name="connsiteY180" fmla="*/ 1120183 h 1904787"/>
                <a:gd name="connsiteX181" fmla="*/ 142886 w 5941705"/>
                <a:gd name="connsiteY181" fmla="*/ 845827 h 1904787"/>
                <a:gd name="connsiteX182" fmla="*/ 142886 w 5941705"/>
                <a:gd name="connsiteY182" fmla="*/ 628910 h 1904787"/>
                <a:gd name="connsiteX183" fmla="*/ 183452 w 5941705"/>
                <a:gd name="connsiteY183" fmla="*/ 523375 h 1904787"/>
                <a:gd name="connsiteX184" fmla="*/ 309027 w 5941705"/>
                <a:gd name="connsiteY184" fmla="*/ 450735 h 1904787"/>
                <a:gd name="connsiteX185" fmla="*/ 767423 w 5941705"/>
                <a:gd name="connsiteY185" fmla="*/ 426526 h 1904787"/>
                <a:gd name="connsiteX186" fmla="*/ 1697365 w 5941705"/>
                <a:gd name="connsiteY186" fmla="*/ 54549 h 1904787"/>
                <a:gd name="connsiteX187" fmla="*/ 1910725 w 5941705"/>
                <a:gd name="connsiteY187" fmla="*/ 24069 h 1904787"/>
                <a:gd name="connsiteX188" fmla="*/ 2588905 w 5941705"/>
                <a:gd name="connsiteY188" fmla="*/ 1209 h 1904787"/>
                <a:gd name="connsiteX0" fmla="*/ 5116984 w 5941705"/>
                <a:gd name="connsiteY0" fmla="*/ 1546279 h 1904787"/>
                <a:gd name="connsiteX1" fmla="*/ 5120066 w 5941705"/>
                <a:gd name="connsiteY1" fmla="*/ 1777139 h 1904787"/>
                <a:gd name="connsiteX2" fmla="*/ 5282005 w 5941705"/>
                <a:gd name="connsiteY2" fmla="*/ 1709632 h 1904787"/>
                <a:gd name="connsiteX3" fmla="*/ 5116984 w 5941705"/>
                <a:gd name="connsiteY3" fmla="*/ 1546279 h 1904787"/>
                <a:gd name="connsiteX4" fmla="*/ 1390021 w 5941705"/>
                <a:gd name="connsiteY4" fmla="*/ 1546279 h 1904787"/>
                <a:gd name="connsiteX5" fmla="*/ 1393103 w 5941705"/>
                <a:gd name="connsiteY5" fmla="*/ 1777139 h 1904787"/>
                <a:gd name="connsiteX6" fmla="*/ 1555042 w 5941705"/>
                <a:gd name="connsiteY6" fmla="*/ 1709632 h 1904787"/>
                <a:gd name="connsiteX7" fmla="*/ 1390021 w 5941705"/>
                <a:gd name="connsiteY7" fmla="*/ 1546279 h 1904787"/>
                <a:gd name="connsiteX8" fmla="*/ 5046770 w 5941705"/>
                <a:gd name="connsiteY8" fmla="*/ 1545234 h 1904787"/>
                <a:gd name="connsiteX9" fmla="*/ 4882001 w 5941705"/>
                <a:gd name="connsiteY9" fmla="*/ 1711686 h 1904787"/>
                <a:gd name="connsiteX10" fmla="*/ 5049877 w 5941705"/>
                <a:gd name="connsiteY10" fmla="*/ 1777982 h 1904787"/>
                <a:gd name="connsiteX11" fmla="*/ 5046770 w 5941705"/>
                <a:gd name="connsiteY11" fmla="*/ 1545234 h 1904787"/>
                <a:gd name="connsiteX12" fmla="*/ 1319807 w 5941705"/>
                <a:gd name="connsiteY12" fmla="*/ 1545234 h 1904787"/>
                <a:gd name="connsiteX13" fmla="*/ 1155038 w 5941705"/>
                <a:gd name="connsiteY13" fmla="*/ 1711686 h 1904787"/>
                <a:gd name="connsiteX14" fmla="*/ 1322914 w 5941705"/>
                <a:gd name="connsiteY14" fmla="*/ 1777982 h 1904787"/>
                <a:gd name="connsiteX15" fmla="*/ 1319807 w 5941705"/>
                <a:gd name="connsiteY15" fmla="*/ 1545234 h 1904787"/>
                <a:gd name="connsiteX16" fmla="*/ 5166423 w 5941705"/>
                <a:gd name="connsiteY16" fmla="*/ 1496449 h 1904787"/>
                <a:gd name="connsiteX17" fmla="*/ 5331884 w 5941705"/>
                <a:gd name="connsiteY17" fmla="*/ 1660238 h 1904787"/>
                <a:gd name="connsiteX18" fmla="*/ 5400288 w 5941705"/>
                <a:gd name="connsiteY18" fmla="*/ 1497347 h 1904787"/>
                <a:gd name="connsiteX19" fmla="*/ 5166423 w 5941705"/>
                <a:gd name="connsiteY19" fmla="*/ 1496449 h 1904787"/>
                <a:gd name="connsiteX20" fmla="*/ 1439460 w 5941705"/>
                <a:gd name="connsiteY20" fmla="*/ 1496449 h 1904787"/>
                <a:gd name="connsiteX21" fmla="*/ 1604921 w 5941705"/>
                <a:gd name="connsiteY21" fmla="*/ 1660238 h 1904787"/>
                <a:gd name="connsiteX22" fmla="*/ 1673325 w 5941705"/>
                <a:gd name="connsiteY22" fmla="*/ 1497347 h 1904787"/>
                <a:gd name="connsiteX23" fmla="*/ 1439460 w 5941705"/>
                <a:gd name="connsiteY23" fmla="*/ 1496449 h 1904787"/>
                <a:gd name="connsiteX24" fmla="*/ 4760955 w 5941705"/>
                <a:gd name="connsiteY24" fmla="*/ 1494893 h 1904787"/>
                <a:gd name="connsiteX25" fmla="*/ 4831688 w 5941705"/>
                <a:gd name="connsiteY25" fmla="*/ 1662734 h 1904787"/>
                <a:gd name="connsiteX26" fmla="*/ 4996937 w 5941705"/>
                <a:gd name="connsiteY26" fmla="*/ 1495799 h 1904787"/>
                <a:gd name="connsiteX27" fmla="*/ 4760955 w 5941705"/>
                <a:gd name="connsiteY27" fmla="*/ 1494893 h 1904787"/>
                <a:gd name="connsiteX28" fmla="*/ 1033992 w 5941705"/>
                <a:gd name="connsiteY28" fmla="*/ 1494893 h 1904787"/>
                <a:gd name="connsiteX29" fmla="*/ 1104725 w 5941705"/>
                <a:gd name="connsiteY29" fmla="*/ 1662734 h 1904787"/>
                <a:gd name="connsiteX30" fmla="*/ 1269974 w 5941705"/>
                <a:gd name="connsiteY30" fmla="*/ 1495799 h 1904787"/>
                <a:gd name="connsiteX31" fmla="*/ 1033992 w 5941705"/>
                <a:gd name="connsiteY31" fmla="*/ 1494893 h 1904787"/>
                <a:gd name="connsiteX32" fmla="*/ 4829608 w 5941705"/>
                <a:gd name="connsiteY32" fmla="*/ 1261808 h 1904787"/>
                <a:gd name="connsiteX33" fmla="*/ 4761204 w 5941705"/>
                <a:gd name="connsiteY33" fmla="*/ 1424700 h 1904787"/>
                <a:gd name="connsiteX34" fmla="*/ 4995069 w 5941705"/>
                <a:gd name="connsiteY34" fmla="*/ 1425597 h 1904787"/>
                <a:gd name="connsiteX35" fmla="*/ 4829608 w 5941705"/>
                <a:gd name="connsiteY35" fmla="*/ 1261808 h 1904787"/>
                <a:gd name="connsiteX36" fmla="*/ 1102645 w 5941705"/>
                <a:gd name="connsiteY36" fmla="*/ 1261808 h 1904787"/>
                <a:gd name="connsiteX37" fmla="*/ 1034241 w 5941705"/>
                <a:gd name="connsiteY37" fmla="*/ 1424700 h 1904787"/>
                <a:gd name="connsiteX38" fmla="*/ 1268106 w 5941705"/>
                <a:gd name="connsiteY38" fmla="*/ 1425597 h 1904787"/>
                <a:gd name="connsiteX39" fmla="*/ 1102645 w 5941705"/>
                <a:gd name="connsiteY39" fmla="*/ 1261808 h 1904787"/>
                <a:gd name="connsiteX40" fmla="*/ 5329803 w 5941705"/>
                <a:gd name="connsiteY40" fmla="*/ 1259311 h 1904787"/>
                <a:gd name="connsiteX41" fmla="*/ 5164554 w 5941705"/>
                <a:gd name="connsiteY41" fmla="*/ 1426247 h 1904787"/>
                <a:gd name="connsiteX42" fmla="*/ 5400538 w 5941705"/>
                <a:gd name="connsiteY42" fmla="*/ 1427153 h 1904787"/>
                <a:gd name="connsiteX43" fmla="*/ 5329803 w 5941705"/>
                <a:gd name="connsiteY43" fmla="*/ 1259311 h 1904787"/>
                <a:gd name="connsiteX44" fmla="*/ 1602840 w 5941705"/>
                <a:gd name="connsiteY44" fmla="*/ 1259311 h 1904787"/>
                <a:gd name="connsiteX45" fmla="*/ 1437591 w 5941705"/>
                <a:gd name="connsiteY45" fmla="*/ 1426247 h 1904787"/>
                <a:gd name="connsiteX46" fmla="*/ 1673575 w 5941705"/>
                <a:gd name="connsiteY46" fmla="*/ 1427153 h 1904787"/>
                <a:gd name="connsiteX47" fmla="*/ 1602840 w 5941705"/>
                <a:gd name="connsiteY47" fmla="*/ 1259311 h 1904787"/>
                <a:gd name="connsiteX48" fmla="*/ 5041427 w 5941705"/>
                <a:gd name="connsiteY48" fmla="*/ 1144908 h 1904787"/>
                <a:gd name="connsiteX49" fmla="*/ 4879487 w 5941705"/>
                <a:gd name="connsiteY49" fmla="*/ 1212414 h 1904787"/>
                <a:gd name="connsiteX50" fmla="*/ 5044508 w 5941705"/>
                <a:gd name="connsiteY50" fmla="*/ 1375767 h 1904787"/>
                <a:gd name="connsiteX51" fmla="*/ 5041427 w 5941705"/>
                <a:gd name="connsiteY51" fmla="*/ 1144908 h 1904787"/>
                <a:gd name="connsiteX52" fmla="*/ 1314464 w 5941705"/>
                <a:gd name="connsiteY52" fmla="*/ 1144908 h 1904787"/>
                <a:gd name="connsiteX53" fmla="*/ 1152524 w 5941705"/>
                <a:gd name="connsiteY53" fmla="*/ 1212414 h 1904787"/>
                <a:gd name="connsiteX54" fmla="*/ 1317545 w 5941705"/>
                <a:gd name="connsiteY54" fmla="*/ 1375767 h 1904787"/>
                <a:gd name="connsiteX55" fmla="*/ 1314464 w 5941705"/>
                <a:gd name="connsiteY55" fmla="*/ 1144908 h 1904787"/>
                <a:gd name="connsiteX56" fmla="*/ 5111615 w 5941705"/>
                <a:gd name="connsiteY56" fmla="*/ 1144064 h 1904787"/>
                <a:gd name="connsiteX57" fmla="*/ 5114722 w 5941705"/>
                <a:gd name="connsiteY57" fmla="*/ 1376810 h 1904787"/>
                <a:gd name="connsiteX58" fmla="*/ 5279490 w 5941705"/>
                <a:gd name="connsiteY58" fmla="*/ 1210359 h 1904787"/>
                <a:gd name="connsiteX59" fmla="*/ 5111615 w 5941705"/>
                <a:gd name="connsiteY59" fmla="*/ 1144064 h 1904787"/>
                <a:gd name="connsiteX60" fmla="*/ 1384652 w 5941705"/>
                <a:gd name="connsiteY60" fmla="*/ 1144064 h 1904787"/>
                <a:gd name="connsiteX61" fmla="*/ 1387759 w 5941705"/>
                <a:gd name="connsiteY61" fmla="*/ 1376810 h 1904787"/>
                <a:gd name="connsiteX62" fmla="*/ 1552527 w 5941705"/>
                <a:gd name="connsiteY62" fmla="*/ 1210359 h 1904787"/>
                <a:gd name="connsiteX63" fmla="*/ 1384652 w 5941705"/>
                <a:gd name="connsiteY63" fmla="*/ 1144064 h 1904787"/>
                <a:gd name="connsiteX64" fmla="*/ 5080745 w 5941705"/>
                <a:gd name="connsiteY64" fmla="*/ 1017259 h 1904787"/>
                <a:gd name="connsiteX65" fmla="*/ 5239854 w 5941705"/>
                <a:gd name="connsiteY65" fmla="*/ 1048637 h 1904787"/>
                <a:gd name="connsiteX66" fmla="*/ 5281583 w 5941705"/>
                <a:gd name="connsiteY66" fmla="*/ 1067960 h 1904787"/>
                <a:gd name="connsiteX67" fmla="*/ 5297306 w 5941705"/>
                <a:gd name="connsiteY67" fmla="*/ 1076357 h 1904787"/>
                <a:gd name="connsiteX68" fmla="*/ 5397320 w 5941705"/>
                <a:gd name="connsiteY68" fmla="*/ 1150046 h 1904787"/>
                <a:gd name="connsiteX69" fmla="*/ 5474593 w 5941705"/>
                <a:gd name="connsiteY69" fmla="*/ 1262559 h 1904787"/>
                <a:gd name="connsiteX70" fmla="*/ 5490691 w 5941705"/>
                <a:gd name="connsiteY70" fmla="*/ 1293361 h 1904787"/>
                <a:gd name="connsiteX71" fmla="*/ 5491006 w 5941705"/>
                <a:gd name="connsiteY71" fmla="*/ 1293978 h 1904787"/>
                <a:gd name="connsiteX72" fmla="*/ 5497349 w 5941705"/>
                <a:gd name="connsiteY72" fmla="*/ 1314419 h 1904787"/>
                <a:gd name="connsiteX73" fmla="*/ 5497968 w 5941705"/>
                <a:gd name="connsiteY73" fmla="*/ 1316571 h 1904787"/>
                <a:gd name="connsiteX74" fmla="*/ 5516297 w 5941705"/>
                <a:gd name="connsiteY74" fmla="*/ 1380356 h 1904787"/>
                <a:gd name="connsiteX75" fmla="*/ 5524510 w 5941705"/>
                <a:gd name="connsiteY75" fmla="*/ 1461023 h 1904787"/>
                <a:gd name="connsiteX76" fmla="*/ 5516344 w 5941705"/>
                <a:gd name="connsiteY76" fmla="*/ 1541230 h 1904787"/>
                <a:gd name="connsiteX77" fmla="*/ 5495561 w 5941705"/>
                <a:gd name="connsiteY77" fmla="*/ 1613151 h 1904787"/>
                <a:gd name="connsiteX78" fmla="*/ 5490646 w 5941705"/>
                <a:gd name="connsiteY78" fmla="*/ 1628828 h 1904787"/>
                <a:gd name="connsiteX79" fmla="*/ 5490645 w 5941705"/>
                <a:gd name="connsiteY79" fmla="*/ 1628829 h 1904787"/>
                <a:gd name="connsiteX80" fmla="*/ 5479922 w 5941705"/>
                <a:gd name="connsiteY80" fmla="*/ 1649767 h 1904787"/>
                <a:gd name="connsiteX81" fmla="*/ 5397118 w 5941705"/>
                <a:gd name="connsiteY81" fmla="*/ 1772207 h 1904787"/>
                <a:gd name="connsiteX82" fmla="*/ 5262748 w 5941705"/>
                <a:gd name="connsiteY82" fmla="*/ 1863895 h 1904787"/>
                <a:gd name="connsiteX83" fmla="*/ 5241483 w 5941705"/>
                <a:gd name="connsiteY83" fmla="*/ 1873139 h 1904787"/>
                <a:gd name="connsiteX84" fmla="*/ 5200496 w 5941705"/>
                <a:gd name="connsiteY84" fmla="*/ 1885989 h 1904787"/>
                <a:gd name="connsiteX85" fmla="*/ 5080745 w 5941705"/>
                <a:gd name="connsiteY85" fmla="*/ 1904787 h 1904787"/>
                <a:gd name="connsiteX86" fmla="*/ 4921634 w 5941705"/>
                <a:gd name="connsiteY86" fmla="*/ 1873408 h 1904787"/>
                <a:gd name="connsiteX87" fmla="*/ 4879900 w 5941705"/>
                <a:gd name="connsiteY87" fmla="*/ 1854083 h 1904787"/>
                <a:gd name="connsiteX88" fmla="*/ 4864179 w 5941705"/>
                <a:gd name="connsiteY88" fmla="*/ 1845687 h 1904787"/>
                <a:gd name="connsiteX89" fmla="*/ 4764170 w 5941705"/>
                <a:gd name="connsiteY89" fmla="*/ 1772000 h 1904787"/>
                <a:gd name="connsiteX90" fmla="*/ 4686830 w 5941705"/>
                <a:gd name="connsiteY90" fmla="*/ 1659361 h 1904787"/>
                <a:gd name="connsiteX91" fmla="*/ 4670805 w 5941705"/>
                <a:gd name="connsiteY91" fmla="*/ 1628695 h 1904787"/>
                <a:gd name="connsiteX92" fmla="*/ 4670488 w 5941705"/>
                <a:gd name="connsiteY92" fmla="*/ 1628076 h 1904787"/>
                <a:gd name="connsiteX93" fmla="*/ 4664123 w 5941705"/>
                <a:gd name="connsiteY93" fmla="*/ 1607562 h 1904787"/>
                <a:gd name="connsiteX94" fmla="*/ 4663511 w 5941705"/>
                <a:gd name="connsiteY94" fmla="*/ 1605431 h 1904787"/>
                <a:gd name="connsiteX95" fmla="*/ 4645193 w 5941705"/>
                <a:gd name="connsiteY95" fmla="*/ 1541669 h 1904787"/>
                <a:gd name="connsiteX96" fmla="*/ 4636982 w 5941705"/>
                <a:gd name="connsiteY96" fmla="*/ 1461023 h 1904787"/>
                <a:gd name="connsiteX97" fmla="*/ 4645149 w 5941705"/>
                <a:gd name="connsiteY97" fmla="*/ 1380816 h 1904787"/>
                <a:gd name="connsiteX98" fmla="*/ 4681610 w 5941705"/>
                <a:gd name="connsiteY98" fmla="*/ 1272207 h 1904787"/>
                <a:gd name="connsiteX99" fmla="*/ 4764374 w 5941705"/>
                <a:gd name="connsiteY99" fmla="*/ 1149839 h 1904787"/>
                <a:gd name="connsiteX100" fmla="*/ 4909454 w 5941705"/>
                <a:gd name="connsiteY100" fmla="*/ 1052279 h 1904787"/>
                <a:gd name="connsiteX101" fmla="*/ 5080745 w 5941705"/>
                <a:gd name="connsiteY101" fmla="*/ 1017259 h 1904787"/>
                <a:gd name="connsiteX102" fmla="*/ 1353782 w 5941705"/>
                <a:gd name="connsiteY102" fmla="*/ 1017259 h 1904787"/>
                <a:gd name="connsiteX103" fmla="*/ 1512891 w 5941705"/>
                <a:gd name="connsiteY103" fmla="*/ 1048637 h 1904787"/>
                <a:gd name="connsiteX104" fmla="*/ 1554620 w 5941705"/>
                <a:gd name="connsiteY104" fmla="*/ 1067960 h 1904787"/>
                <a:gd name="connsiteX105" fmla="*/ 1570343 w 5941705"/>
                <a:gd name="connsiteY105" fmla="*/ 1076357 h 1904787"/>
                <a:gd name="connsiteX106" fmla="*/ 1670357 w 5941705"/>
                <a:gd name="connsiteY106" fmla="*/ 1150046 h 1904787"/>
                <a:gd name="connsiteX107" fmla="*/ 1747630 w 5941705"/>
                <a:gd name="connsiteY107" fmla="*/ 1262559 h 1904787"/>
                <a:gd name="connsiteX108" fmla="*/ 1763728 w 5941705"/>
                <a:gd name="connsiteY108" fmla="*/ 1293361 h 1904787"/>
                <a:gd name="connsiteX109" fmla="*/ 1764043 w 5941705"/>
                <a:gd name="connsiteY109" fmla="*/ 1293978 h 1904787"/>
                <a:gd name="connsiteX110" fmla="*/ 1770386 w 5941705"/>
                <a:gd name="connsiteY110" fmla="*/ 1314419 h 1904787"/>
                <a:gd name="connsiteX111" fmla="*/ 1771005 w 5941705"/>
                <a:gd name="connsiteY111" fmla="*/ 1316571 h 1904787"/>
                <a:gd name="connsiteX112" fmla="*/ 1789334 w 5941705"/>
                <a:gd name="connsiteY112" fmla="*/ 1380356 h 1904787"/>
                <a:gd name="connsiteX113" fmla="*/ 1797547 w 5941705"/>
                <a:gd name="connsiteY113" fmla="*/ 1461023 h 1904787"/>
                <a:gd name="connsiteX114" fmla="*/ 1789381 w 5941705"/>
                <a:gd name="connsiteY114" fmla="*/ 1541230 h 1904787"/>
                <a:gd name="connsiteX115" fmla="*/ 1768598 w 5941705"/>
                <a:gd name="connsiteY115" fmla="*/ 1613151 h 1904787"/>
                <a:gd name="connsiteX116" fmla="*/ 1763683 w 5941705"/>
                <a:gd name="connsiteY116" fmla="*/ 1628828 h 1904787"/>
                <a:gd name="connsiteX117" fmla="*/ 1763682 w 5941705"/>
                <a:gd name="connsiteY117" fmla="*/ 1628829 h 1904787"/>
                <a:gd name="connsiteX118" fmla="*/ 1752959 w 5941705"/>
                <a:gd name="connsiteY118" fmla="*/ 1649767 h 1904787"/>
                <a:gd name="connsiteX119" fmla="*/ 1670155 w 5941705"/>
                <a:gd name="connsiteY119" fmla="*/ 1772207 h 1904787"/>
                <a:gd name="connsiteX120" fmla="*/ 1535785 w 5941705"/>
                <a:gd name="connsiteY120" fmla="*/ 1863895 h 1904787"/>
                <a:gd name="connsiteX121" fmla="*/ 1514520 w 5941705"/>
                <a:gd name="connsiteY121" fmla="*/ 1873139 h 1904787"/>
                <a:gd name="connsiteX122" fmla="*/ 1473533 w 5941705"/>
                <a:gd name="connsiteY122" fmla="*/ 1885989 h 1904787"/>
                <a:gd name="connsiteX123" fmla="*/ 1353782 w 5941705"/>
                <a:gd name="connsiteY123" fmla="*/ 1904787 h 1904787"/>
                <a:gd name="connsiteX124" fmla="*/ 1194671 w 5941705"/>
                <a:gd name="connsiteY124" fmla="*/ 1873408 h 1904787"/>
                <a:gd name="connsiteX125" fmla="*/ 1152937 w 5941705"/>
                <a:gd name="connsiteY125" fmla="*/ 1854083 h 1904787"/>
                <a:gd name="connsiteX126" fmla="*/ 1137216 w 5941705"/>
                <a:gd name="connsiteY126" fmla="*/ 1845687 h 1904787"/>
                <a:gd name="connsiteX127" fmla="*/ 1037207 w 5941705"/>
                <a:gd name="connsiteY127" fmla="*/ 1772000 h 1904787"/>
                <a:gd name="connsiteX128" fmla="*/ 959867 w 5941705"/>
                <a:gd name="connsiteY128" fmla="*/ 1659361 h 1904787"/>
                <a:gd name="connsiteX129" fmla="*/ 943842 w 5941705"/>
                <a:gd name="connsiteY129" fmla="*/ 1628695 h 1904787"/>
                <a:gd name="connsiteX130" fmla="*/ 943525 w 5941705"/>
                <a:gd name="connsiteY130" fmla="*/ 1628076 h 1904787"/>
                <a:gd name="connsiteX131" fmla="*/ 937160 w 5941705"/>
                <a:gd name="connsiteY131" fmla="*/ 1607562 h 1904787"/>
                <a:gd name="connsiteX132" fmla="*/ 936548 w 5941705"/>
                <a:gd name="connsiteY132" fmla="*/ 1605431 h 1904787"/>
                <a:gd name="connsiteX133" fmla="*/ 918230 w 5941705"/>
                <a:gd name="connsiteY133" fmla="*/ 1541669 h 1904787"/>
                <a:gd name="connsiteX134" fmla="*/ 910019 w 5941705"/>
                <a:gd name="connsiteY134" fmla="*/ 1461023 h 1904787"/>
                <a:gd name="connsiteX135" fmla="*/ 918186 w 5941705"/>
                <a:gd name="connsiteY135" fmla="*/ 1380816 h 1904787"/>
                <a:gd name="connsiteX136" fmla="*/ 954647 w 5941705"/>
                <a:gd name="connsiteY136" fmla="*/ 1272207 h 1904787"/>
                <a:gd name="connsiteX137" fmla="*/ 1037411 w 5941705"/>
                <a:gd name="connsiteY137" fmla="*/ 1149839 h 1904787"/>
                <a:gd name="connsiteX138" fmla="*/ 1182491 w 5941705"/>
                <a:gd name="connsiteY138" fmla="*/ 1052279 h 1904787"/>
                <a:gd name="connsiteX139" fmla="*/ 1353782 w 5941705"/>
                <a:gd name="connsiteY139" fmla="*/ 1017259 h 1904787"/>
                <a:gd name="connsiteX140" fmla="*/ 2733685 w 5941705"/>
                <a:gd name="connsiteY140" fmla="*/ 100270 h 1904787"/>
                <a:gd name="connsiteX141" fmla="*/ 2886085 w 5941705"/>
                <a:gd name="connsiteY141" fmla="*/ 610810 h 1904787"/>
                <a:gd name="connsiteX142" fmla="*/ 3754765 w 5941705"/>
                <a:gd name="connsiteY142" fmla="*/ 626050 h 1904787"/>
                <a:gd name="connsiteX143" fmla="*/ 3776415 w 5941705"/>
                <a:gd name="connsiteY143" fmla="*/ 522206 h 1904787"/>
                <a:gd name="connsiteX144" fmla="*/ 3792865 w 5941705"/>
                <a:gd name="connsiteY144" fmla="*/ 435550 h 1904787"/>
                <a:gd name="connsiteX145" fmla="*/ 3277086 w 5941705"/>
                <a:gd name="connsiteY145" fmla="*/ 147419 h 1904787"/>
                <a:gd name="connsiteX146" fmla="*/ 2733685 w 5941705"/>
                <a:gd name="connsiteY146" fmla="*/ 100270 h 1904787"/>
                <a:gd name="connsiteX147" fmla="*/ 2558424 w 5941705"/>
                <a:gd name="connsiteY147" fmla="*/ 92650 h 1904787"/>
                <a:gd name="connsiteX148" fmla="*/ 2036454 w 5941705"/>
                <a:gd name="connsiteY148" fmla="*/ 102175 h 1904787"/>
                <a:gd name="connsiteX149" fmla="*/ 1407804 w 5941705"/>
                <a:gd name="connsiteY149" fmla="*/ 336490 h 1904787"/>
                <a:gd name="connsiteX150" fmla="*/ 1506864 w 5941705"/>
                <a:gd name="connsiteY150" fmla="*/ 572710 h 1904787"/>
                <a:gd name="connsiteX151" fmla="*/ 2676191 w 5941705"/>
                <a:gd name="connsiteY151" fmla="*/ 613869 h 1904787"/>
                <a:gd name="connsiteX152" fmla="*/ 2558424 w 5941705"/>
                <a:gd name="connsiteY152" fmla="*/ 92650 h 1904787"/>
                <a:gd name="connsiteX153" fmla="*/ 2588905 w 5941705"/>
                <a:gd name="connsiteY153" fmla="*/ 1209 h 1904787"/>
                <a:gd name="connsiteX154" fmla="*/ 3282325 w 5941705"/>
                <a:gd name="connsiteY154" fmla="*/ 62169 h 1904787"/>
                <a:gd name="connsiteX155" fmla="*/ 4265305 w 5941705"/>
                <a:gd name="connsiteY155" fmla="*/ 580329 h 1904787"/>
                <a:gd name="connsiteX156" fmla="*/ 5133985 w 5941705"/>
                <a:gd name="connsiteY156" fmla="*/ 656529 h 1904787"/>
                <a:gd name="connsiteX157" fmla="*/ 5850265 w 5941705"/>
                <a:gd name="connsiteY157" fmla="*/ 831789 h 1904787"/>
                <a:gd name="connsiteX158" fmla="*/ 5941705 w 5941705"/>
                <a:gd name="connsiteY158" fmla="*/ 1068009 h 1904787"/>
                <a:gd name="connsiteX159" fmla="*/ 5888365 w 5941705"/>
                <a:gd name="connsiteY159" fmla="*/ 1327089 h 1904787"/>
                <a:gd name="connsiteX160" fmla="*/ 5918845 w 5941705"/>
                <a:gd name="connsiteY160" fmla="*/ 1509969 h 1904787"/>
                <a:gd name="connsiteX161" fmla="*/ 5842645 w 5941705"/>
                <a:gd name="connsiteY161" fmla="*/ 1586169 h 1904787"/>
                <a:gd name="connsiteX162" fmla="*/ 5583565 w 5941705"/>
                <a:gd name="connsiteY162" fmla="*/ 1593789 h 1904787"/>
                <a:gd name="connsiteX163" fmla="*/ 5556953 w 5941705"/>
                <a:gd name="connsiteY163" fmla="*/ 1593735 h 1904787"/>
                <a:gd name="connsiteX164" fmla="*/ 5578894 w 5941705"/>
                <a:gd name="connsiteY164" fmla="*/ 1456630 h 1904787"/>
                <a:gd name="connsiteX165" fmla="*/ 5080748 w 5941705"/>
                <a:gd name="connsiteY165" fmla="*/ 963416 h 1904787"/>
                <a:gd name="connsiteX166" fmla="*/ 4582602 w 5941705"/>
                <a:gd name="connsiteY166" fmla="*/ 1456630 h 1904787"/>
                <a:gd name="connsiteX167" fmla="*/ 4603930 w 5941705"/>
                <a:gd name="connsiteY167" fmla="*/ 1591778 h 1904787"/>
                <a:gd name="connsiteX168" fmla="*/ 1872625 w 5941705"/>
                <a:gd name="connsiteY168" fmla="*/ 1586169 h 1904787"/>
                <a:gd name="connsiteX169" fmla="*/ 1833037 w 5941705"/>
                <a:gd name="connsiteY169" fmla="*/ 1584015 h 1904787"/>
                <a:gd name="connsiteX170" fmla="*/ 1851931 w 5941705"/>
                <a:gd name="connsiteY170" fmla="*/ 1456630 h 1904787"/>
                <a:gd name="connsiteX171" fmla="*/ 1353785 w 5941705"/>
                <a:gd name="connsiteY171" fmla="*/ 963416 h 1904787"/>
                <a:gd name="connsiteX172" fmla="*/ 855639 w 5941705"/>
                <a:gd name="connsiteY172" fmla="*/ 1456630 h 1904787"/>
                <a:gd name="connsiteX173" fmla="*/ 863570 w 5941705"/>
                <a:gd name="connsiteY173" fmla="*/ 1534524 h 1904787"/>
                <a:gd name="connsiteX174" fmla="*/ 809613 w 5941705"/>
                <a:gd name="connsiteY174" fmla="*/ 1528318 h 1904787"/>
                <a:gd name="connsiteX175" fmla="*/ 752485 w 5941705"/>
                <a:gd name="connsiteY175" fmla="*/ 1525209 h 1904787"/>
                <a:gd name="connsiteX176" fmla="*/ 752461 w 5941705"/>
                <a:gd name="connsiteY176" fmla="*/ 1521744 h 1904787"/>
                <a:gd name="connsiteX177" fmla="*/ 333498 w 5941705"/>
                <a:gd name="connsiteY177" fmla="*/ 1473554 h 1904787"/>
                <a:gd name="connsiteX178" fmla="*/ 270349 w 5941705"/>
                <a:gd name="connsiteY178" fmla="*/ 1452901 h 1904787"/>
                <a:gd name="connsiteX179" fmla="*/ 236237 w 5941705"/>
                <a:gd name="connsiteY179" fmla="*/ 1439524 h 1904787"/>
                <a:gd name="connsiteX180" fmla="*/ 0 w 5941705"/>
                <a:gd name="connsiteY180" fmla="*/ 1120183 h 1904787"/>
                <a:gd name="connsiteX181" fmla="*/ 142886 w 5941705"/>
                <a:gd name="connsiteY181" fmla="*/ 845827 h 1904787"/>
                <a:gd name="connsiteX182" fmla="*/ 142886 w 5941705"/>
                <a:gd name="connsiteY182" fmla="*/ 628910 h 1904787"/>
                <a:gd name="connsiteX183" fmla="*/ 183452 w 5941705"/>
                <a:gd name="connsiteY183" fmla="*/ 523375 h 1904787"/>
                <a:gd name="connsiteX184" fmla="*/ 309027 w 5941705"/>
                <a:gd name="connsiteY184" fmla="*/ 450735 h 1904787"/>
                <a:gd name="connsiteX185" fmla="*/ 767423 w 5941705"/>
                <a:gd name="connsiteY185" fmla="*/ 426526 h 1904787"/>
                <a:gd name="connsiteX186" fmla="*/ 1697365 w 5941705"/>
                <a:gd name="connsiteY186" fmla="*/ 54549 h 1904787"/>
                <a:gd name="connsiteX187" fmla="*/ 1910725 w 5941705"/>
                <a:gd name="connsiteY187" fmla="*/ 24069 h 1904787"/>
                <a:gd name="connsiteX188" fmla="*/ 2588905 w 5941705"/>
                <a:gd name="connsiteY188" fmla="*/ 1209 h 190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5941705" h="1904787">
                  <a:moveTo>
                    <a:pt x="5116984" y="1546279"/>
                  </a:moveTo>
                  <a:cubicBezTo>
                    <a:pt x="5118011" y="1623232"/>
                    <a:pt x="5119039" y="1700186"/>
                    <a:pt x="5120066" y="1777139"/>
                  </a:cubicBezTo>
                  <a:cubicBezTo>
                    <a:pt x="5181372" y="1771322"/>
                    <a:pt x="5237223" y="1747059"/>
                    <a:pt x="5282005" y="1709632"/>
                  </a:cubicBezTo>
                  <a:lnTo>
                    <a:pt x="5116984" y="1546279"/>
                  </a:lnTo>
                  <a:close/>
                  <a:moveTo>
                    <a:pt x="1390021" y="1546279"/>
                  </a:moveTo>
                  <a:cubicBezTo>
                    <a:pt x="1391048" y="1623232"/>
                    <a:pt x="1392076" y="1700186"/>
                    <a:pt x="1393103" y="1777139"/>
                  </a:cubicBezTo>
                  <a:cubicBezTo>
                    <a:pt x="1454409" y="1771322"/>
                    <a:pt x="1510260" y="1747059"/>
                    <a:pt x="1555042" y="1709632"/>
                  </a:cubicBezTo>
                  <a:lnTo>
                    <a:pt x="1390021" y="1546279"/>
                  </a:lnTo>
                  <a:close/>
                  <a:moveTo>
                    <a:pt x="5046770" y="1545234"/>
                  </a:moveTo>
                  <a:lnTo>
                    <a:pt x="4882001" y="1711686"/>
                  </a:lnTo>
                  <a:cubicBezTo>
                    <a:pt x="4928474" y="1749610"/>
                    <a:pt x="4986439" y="1773642"/>
                    <a:pt x="5049877" y="1777982"/>
                  </a:cubicBezTo>
                  <a:cubicBezTo>
                    <a:pt x="5048841" y="1700399"/>
                    <a:pt x="5047806" y="1622817"/>
                    <a:pt x="5046770" y="1545234"/>
                  </a:cubicBezTo>
                  <a:close/>
                  <a:moveTo>
                    <a:pt x="1319807" y="1545234"/>
                  </a:moveTo>
                  <a:lnTo>
                    <a:pt x="1155038" y="1711686"/>
                  </a:lnTo>
                  <a:cubicBezTo>
                    <a:pt x="1201511" y="1749610"/>
                    <a:pt x="1259476" y="1773642"/>
                    <a:pt x="1322914" y="1777982"/>
                  </a:cubicBezTo>
                  <a:cubicBezTo>
                    <a:pt x="1321878" y="1700399"/>
                    <a:pt x="1320843" y="1622817"/>
                    <a:pt x="1319807" y="1545234"/>
                  </a:cubicBezTo>
                  <a:close/>
                  <a:moveTo>
                    <a:pt x="5166423" y="1496449"/>
                  </a:moveTo>
                  <a:lnTo>
                    <a:pt x="5331884" y="1660238"/>
                  </a:lnTo>
                  <a:cubicBezTo>
                    <a:pt x="5370179" y="1615277"/>
                    <a:pt x="5394850" y="1559050"/>
                    <a:pt x="5400288" y="1497347"/>
                  </a:cubicBezTo>
                  <a:lnTo>
                    <a:pt x="5166423" y="1496449"/>
                  </a:lnTo>
                  <a:close/>
                  <a:moveTo>
                    <a:pt x="1439460" y="1496449"/>
                  </a:moveTo>
                  <a:lnTo>
                    <a:pt x="1604921" y="1660238"/>
                  </a:lnTo>
                  <a:cubicBezTo>
                    <a:pt x="1643216" y="1615277"/>
                    <a:pt x="1667887" y="1559050"/>
                    <a:pt x="1673325" y="1497347"/>
                  </a:cubicBezTo>
                  <a:lnTo>
                    <a:pt x="1439460" y="1496449"/>
                  </a:lnTo>
                  <a:close/>
                  <a:moveTo>
                    <a:pt x="4760955" y="1494893"/>
                  </a:moveTo>
                  <a:cubicBezTo>
                    <a:pt x="4766108" y="1558685"/>
                    <a:pt x="4791727" y="1616741"/>
                    <a:pt x="4831688" y="1662734"/>
                  </a:cubicBezTo>
                  <a:lnTo>
                    <a:pt x="4996937" y="1495799"/>
                  </a:lnTo>
                  <a:lnTo>
                    <a:pt x="4760955" y="1494893"/>
                  </a:lnTo>
                  <a:close/>
                  <a:moveTo>
                    <a:pt x="1033992" y="1494893"/>
                  </a:moveTo>
                  <a:cubicBezTo>
                    <a:pt x="1039145" y="1558685"/>
                    <a:pt x="1064764" y="1616741"/>
                    <a:pt x="1104725" y="1662734"/>
                  </a:cubicBezTo>
                  <a:lnTo>
                    <a:pt x="1269974" y="1495799"/>
                  </a:lnTo>
                  <a:lnTo>
                    <a:pt x="1033992" y="1494893"/>
                  </a:lnTo>
                  <a:close/>
                  <a:moveTo>
                    <a:pt x="4829608" y="1261808"/>
                  </a:moveTo>
                  <a:cubicBezTo>
                    <a:pt x="4791313" y="1306769"/>
                    <a:pt x="4766642" y="1362997"/>
                    <a:pt x="4761204" y="1424700"/>
                  </a:cubicBezTo>
                  <a:lnTo>
                    <a:pt x="4995069" y="1425597"/>
                  </a:lnTo>
                  <a:lnTo>
                    <a:pt x="4829608" y="1261808"/>
                  </a:lnTo>
                  <a:close/>
                  <a:moveTo>
                    <a:pt x="1102645" y="1261808"/>
                  </a:moveTo>
                  <a:cubicBezTo>
                    <a:pt x="1064350" y="1306769"/>
                    <a:pt x="1039679" y="1362997"/>
                    <a:pt x="1034241" y="1424700"/>
                  </a:cubicBezTo>
                  <a:lnTo>
                    <a:pt x="1268106" y="1425597"/>
                  </a:lnTo>
                  <a:lnTo>
                    <a:pt x="1102645" y="1261808"/>
                  </a:lnTo>
                  <a:close/>
                  <a:moveTo>
                    <a:pt x="5329803" y="1259311"/>
                  </a:moveTo>
                  <a:lnTo>
                    <a:pt x="5164554" y="1426247"/>
                  </a:lnTo>
                  <a:lnTo>
                    <a:pt x="5400538" y="1427153"/>
                  </a:lnTo>
                  <a:cubicBezTo>
                    <a:pt x="5395385" y="1363361"/>
                    <a:pt x="5369765" y="1305304"/>
                    <a:pt x="5329803" y="1259311"/>
                  </a:cubicBezTo>
                  <a:close/>
                  <a:moveTo>
                    <a:pt x="1602840" y="1259311"/>
                  </a:moveTo>
                  <a:lnTo>
                    <a:pt x="1437591" y="1426247"/>
                  </a:lnTo>
                  <a:lnTo>
                    <a:pt x="1673575" y="1427153"/>
                  </a:lnTo>
                  <a:cubicBezTo>
                    <a:pt x="1668422" y="1363361"/>
                    <a:pt x="1642802" y="1305304"/>
                    <a:pt x="1602840" y="1259311"/>
                  </a:cubicBezTo>
                  <a:close/>
                  <a:moveTo>
                    <a:pt x="5041427" y="1144908"/>
                  </a:moveTo>
                  <a:cubicBezTo>
                    <a:pt x="4980121" y="1150724"/>
                    <a:pt x="4924269" y="1174987"/>
                    <a:pt x="4879487" y="1212414"/>
                  </a:cubicBezTo>
                  <a:lnTo>
                    <a:pt x="5044508" y="1375767"/>
                  </a:lnTo>
                  <a:lnTo>
                    <a:pt x="5041427" y="1144908"/>
                  </a:lnTo>
                  <a:close/>
                  <a:moveTo>
                    <a:pt x="1314464" y="1144908"/>
                  </a:moveTo>
                  <a:cubicBezTo>
                    <a:pt x="1253158" y="1150724"/>
                    <a:pt x="1197306" y="1174987"/>
                    <a:pt x="1152524" y="1212414"/>
                  </a:cubicBezTo>
                  <a:lnTo>
                    <a:pt x="1317545" y="1375767"/>
                  </a:lnTo>
                  <a:lnTo>
                    <a:pt x="1314464" y="1144908"/>
                  </a:lnTo>
                  <a:close/>
                  <a:moveTo>
                    <a:pt x="5111615" y="1144064"/>
                  </a:moveTo>
                  <a:cubicBezTo>
                    <a:pt x="5112651" y="1221646"/>
                    <a:pt x="5113686" y="1299228"/>
                    <a:pt x="5114722" y="1376810"/>
                  </a:cubicBezTo>
                  <a:lnTo>
                    <a:pt x="5279490" y="1210359"/>
                  </a:lnTo>
                  <a:cubicBezTo>
                    <a:pt x="5233017" y="1172436"/>
                    <a:pt x="5175053" y="1148404"/>
                    <a:pt x="5111615" y="1144064"/>
                  </a:cubicBezTo>
                  <a:close/>
                  <a:moveTo>
                    <a:pt x="1384652" y="1144064"/>
                  </a:moveTo>
                  <a:cubicBezTo>
                    <a:pt x="1385688" y="1221646"/>
                    <a:pt x="1386723" y="1299228"/>
                    <a:pt x="1387759" y="1376810"/>
                  </a:cubicBezTo>
                  <a:lnTo>
                    <a:pt x="1552527" y="1210359"/>
                  </a:lnTo>
                  <a:cubicBezTo>
                    <a:pt x="1506054" y="1172436"/>
                    <a:pt x="1448090" y="1148404"/>
                    <a:pt x="1384652" y="1144064"/>
                  </a:cubicBezTo>
                  <a:close/>
                  <a:moveTo>
                    <a:pt x="5080745" y="1017259"/>
                  </a:moveTo>
                  <a:cubicBezTo>
                    <a:pt x="5137074" y="1017259"/>
                    <a:pt x="5190927" y="1027965"/>
                    <a:pt x="5239854" y="1048637"/>
                  </a:cubicBezTo>
                  <a:cubicBezTo>
                    <a:pt x="5254582" y="1053010"/>
                    <a:pt x="5268690" y="1059187"/>
                    <a:pt x="5281583" y="1067960"/>
                  </a:cubicBezTo>
                  <a:cubicBezTo>
                    <a:pt x="5287242" y="1070008"/>
                    <a:pt x="5292427" y="1072928"/>
                    <a:pt x="5297306" y="1076357"/>
                  </a:cubicBezTo>
                  <a:cubicBezTo>
                    <a:pt x="5333947" y="1094347"/>
                    <a:pt x="5367336" y="1119522"/>
                    <a:pt x="5397320" y="1150046"/>
                  </a:cubicBezTo>
                  <a:cubicBezTo>
                    <a:pt x="5430388" y="1183710"/>
                    <a:pt x="5456879" y="1221399"/>
                    <a:pt x="5474593" y="1262559"/>
                  </a:cubicBezTo>
                  <a:cubicBezTo>
                    <a:pt x="5481612" y="1271965"/>
                    <a:pt x="5486516" y="1282491"/>
                    <a:pt x="5490691" y="1293361"/>
                  </a:cubicBezTo>
                  <a:cubicBezTo>
                    <a:pt x="5490845" y="1293548"/>
                    <a:pt x="5490926" y="1293763"/>
                    <a:pt x="5491006" y="1293978"/>
                  </a:cubicBezTo>
                  <a:cubicBezTo>
                    <a:pt x="5493906" y="1300521"/>
                    <a:pt x="5496384" y="1307217"/>
                    <a:pt x="5497349" y="1314419"/>
                  </a:cubicBezTo>
                  <a:lnTo>
                    <a:pt x="5497968" y="1316571"/>
                  </a:lnTo>
                  <a:cubicBezTo>
                    <a:pt x="5507080" y="1336702"/>
                    <a:pt x="5512882" y="1358172"/>
                    <a:pt x="5516297" y="1380356"/>
                  </a:cubicBezTo>
                  <a:cubicBezTo>
                    <a:pt x="5521936" y="1406376"/>
                    <a:pt x="5524510" y="1433402"/>
                    <a:pt x="5524510" y="1461023"/>
                  </a:cubicBezTo>
                  <a:cubicBezTo>
                    <a:pt x="5524510" y="1488484"/>
                    <a:pt x="5521966" y="1515356"/>
                    <a:pt x="5516344" y="1541230"/>
                  </a:cubicBezTo>
                  <a:cubicBezTo>
                    <a:pt x="5512458" y="1566277"/>
                    <a:pt x="5505689" y="1590445"/>
                    <a:pt x="5495561" y="1613151"/>
                  </a:cubicBezTo>
                  <a:cubicBezTo>
                    <a:pt x="5494919" y="1618675"/>
                    <a:pt x="5492906" y="1623797"/>
                    <a:pt x="5490646" y="1628828"/>
                  </a:cubicBezTo>
                  <a:lnTo>
                    <a:pt x="5490645" y="1628829"/>
                  </a:lnTo>
                  <a:cubicBezTo>
                    <a:pt x="5487910" y="1636210"/>
                    <a:pt x="5484686" y="1643368"/>
                    <a:pt x="5479922" y="1649767"/>
                  </a:cubicBezTo>
                  <a:cubicBezTo>
                    <a:pt x="5461155" y="1694502"/>
                    <a:pt x="5433002" y="1735724"/>
                    <a:pt x="5397118" y="1772207"/>
                  </a:cubicBezTo>
                  <a:cubicBezTo>
                    <a:pt x="5357516" y="1812469"/>
                    <a:pt x="5311988" y="1843410"/>
                    <a:pt x="5262748" y="1863895"/>
                  </a:cubicBezTo>
                  <a:cubicBezTo>
                    <a:pt x="5256165" y="1868082"/>
                    <a:pt x="5249045" y="1871142"/>
                    <a:pt x="5241483" y="1873139"/>
                  </a:cubicBezTo>
                  <a:cubicBezTo>
                    <a:pt x="5228294" y="1878964"/>
                    <a:pt x="5214627" y="1883395"/>
                    <a:pt x="5200496" y="1885989"/>
                  </a:cubicBezTo>
                  <a:cubicBezTo>
                    <a:pt x="5162822" y="1898915"/>
                    <a:pt x="5122462" y="1904787"/>
                    <a:pt x="5080745" y="1904787"/>
                  </a:cubicBezTo>
                  <a:cubicBezTo>
                    <a:pt x="5024415" y="1904787"/>
                    <a:pt x="4970561" y="1894081"/>
                    <a:pt x="4921634" y="1873408"/>
                  </a:cubicBezTo>
                  <a:cubicBezTo>
                    <a:pt x="4906904" y="1869034"/>
                    <a:pt x="4892795" y="1862857"/>
                    <a:pt x="4879900" y="1854083"/>
                  </a:cubicBezTo>
                  <a:cubicBezTo>
                    <a:pt x="4874242" y="1852035"/>
                    <a:pt x="4869057" y="1849115"/>
                    <a:pt x="4864179" y="1845687"/>
                  </a:cubicBezTo>
                  <a:cubicBezTo>
                    <a:pt x="4827541" y="1827697"/>
                    <a:pt x="4794153" y="1802523"/>
                    <a:pt x="4764170" y="1772000"/>
                  </a:cubicBezTo>
                  <a:cubicBezTo>
                    <a:pt x="4731066" y="1738300"/>
                    <a:pt x="4704554" y="1700566"/>
                    <a:pt x="4686830" y="1659361"/>
                  </a:cubicBezTo>
                  <a:cubicBezTo>
                    <a:pt x="4679841" y="1649996"/>
                    <a:pt x="4674961" y="1639517"/>
                    <a:pt x="4670805" y="1628695"/>
                  </a:cubicBezTo>
                  <a:cubicBezTo>
                    <a:pt x="4670650" y="1628508"/>
                    <a:pt x="4670569" y="1628292"/>
                    <a:pt x="4670488" y="1628076"/>
                  </a:cubicBezTo>
                  <a:cubicBezTo>
                    <a:pt x="4667578" y="1621510"/>
                    <a:pt x="4665091" y="1614790"/>
                    <a:pt x="4664123" y="1607562"/>
                  </a:cubicBezTo>
                  <a:lnTo>
                    <a:pt x="4663511" y="1605431"/>
                  </a:lnTo>
                  <a:cubicBezTo>
                    <a:pt x="4654402" y="1585308"/>
                    <a:pt x="4648603" y="1563846"/>
                    <a:pt x="4645193" y="1541669"/>
                  </a:cubicBezTo>
                  <a:cubicBezTo>
                    <a:pt x="4639555" y="1515655"/>
                    <a:pt x="4636982" y="1488637"/>
                    <a:pt x="4636982" y="1461023"/>
                  </a:cubicBezTo>
                  <a:cubicBezTo>
                    <a:pt x="4636982" y="1433562"/>
                    <a:pt x="4639527" y="1406690"/>
                    <a:pt x="4645149" y="1380816"/>
                  </a:cubicBezTo>
                  <a:cubicBezTo>
                    <a:pt x="4651544" y="1342320"/>
                    <a:pt x="4663734" y="1305714"/>
                    <a:pt x="4681610" y="1272207"/>
                  </a:cubicBezTo>
                  <a:cubicBezTo>
                    <a:pt x="4700369" y="1227499"/>
                    <a:pt x="4728510" y="1186302"/>
                    <a:pt x="4764374" y="1149839"/>
                  </a:cubicBezTo>
                  <a:cubicBezTo>
                    <a:pt x="4806989" y="1106514"/>
                    <a:pt x="4856467" y="1073981"/>
                    <a:pt x="4909454" y="1052279"/>
                  </a:cubicBezTo>
                  <a:cubicBezTo>
                    <a:pt x="4962082" y="1029721"/>
                    <a:pt x="5019973" y="1017259"/>
                    <a:pt x="5080745" y="1017259"/>
                  </a:cubicBezTo>
                  <a:close/>
                  <a:moveTo>
                    <a:pt x="1353782" y="1017259"/>
                  </a:moveTo>
                  <a:cubicBezTo>
                    <a:pt x="1410111" y="1017259"/>
                    <a:pt x="1463964" y="1027965"/>
                    <a:pt x="1512891" y="1048637"/>
                  </a:cubicBezTo>
                  <a:cubicBezTo>
                    <a:pt x="1527619" y="1053010"/>
                    <a:pt x="1541727" y="1059187"/>
                    <a:pt x="1554620" y="1067960"/>
                  </a:cubicBezTo>
                  <a:cubicBezTo>
                    <a:pt x="1560279" y="1070008"/>
                    <a:pt x="1565464" y="1072928"/>
                    <a:pt x="1570343" y="1076357"/>
                  </a:cubicBezTo>
                  <a:cubicBezTo>
                    <a:pt x="1606984" y="1094347"/>
                    <a:pt x="1640373" y="1119522"/>
                    <a:pt x="1670357" y="1150046"/>
                  </a:cubicBezTo>
                  <a:cubicBezTo>
                    <a:pt x="1703425" y="1183710"/>
                    <a:pt x="1729916" y="1221399"/>
                    <a:pt x="1747630" y="1262559"/>
                  </a:cubicBezTo>
                  <a:cubicBezTo>
                    <a:pt x="1754649" y="1271965"/>
                    <a:pt x="1759553" y="1282491"/>
                    <a:pt x="1763728" y="1293361"/>
                  </a:cubicBezTo>
                  <a:cubicBezTo>
                    <a:pt x="1763882" y="1293548"/>
                    <a:pt x="1763963" y="1293763"/>
                    <a:pt x="1764043" y="1293978"/>
                  </a:cubicBezTo>
                  <a:cubicBezTo>
                    <a:pt x="1766943" y="1300521"/>
                    <a:pt x="1769421" y="1307217"/>
                    <a:pt x="1770386" y="1314419"/>
                  </a:cubicBezTo>
                  <a:lnTo>
                    <a:pt x="1771005" y="1316571"/>
                  </a:lnTo>
                  <a:cubicBezTo>
                    <a:pt x="1780117" y="1336702"/>
                    <a:pt x="1785919" y="1358172"/>
                    <a:pt x="1789334" y="1380356"/>
                  </a:cubicBezTo>
                  <a:cubicBezTo>
                    <a:pt x="1794973" y="1406376"/>
                    <a:pt x="1797547" y="1433402"/>
                    <a:pt x="1797547" y="1461023"/>
                  </a:cubicBezTo>
                  <a:cubicBezTo>
                    <a:pt x="1797547" y="1488484"/>
                    <a:pt x="1795003" y="1515356"/>
                    <a:pt x="1789381" y="1541230"/>
                  </a:cubicBezTo>
                  <a:cubicBezTo>
                    <a:pt x="1785495" y="1566277"/>
                    <a:pt x="1778726" y="1590445"/>
                    <a:pt x="1768598" y="1613151"/>
                  </a:cubicBezTo>
                  <a:cubicBezTo>
                    <a:pt x="1767956" y="1618675"/>
                    <a:pt x="1765943" y="1623797"/>
                    <a:pt x="1763683" y="1628828"/>
                  </a:cubicBezTo>
                  <a:lnTo>
                    <a:pt x="1763682" y="1628829"/>
                  </a:lnTo>
                  <a:cubicBezTo>
                    <a:pt x="1760947" y="1636210"/>
                    <a:pt x="1757723" y="1643368"/>
                    <a:pt x="1752959" y="1649767"/>
                  </a:cubicBezTo>
                  <a:cubicBezTo>
                    <a:pt x="1734192" y="1694502"/>
                    <a:pt x="1706039" y="1735724"/>
                    <a:pt x="1670155" y="1772207"/>
                  </a:cubicBezTo>
                  <a:cubicBezTo>
                    <a:pt x="1630553" y="1812469"/>
                    <a:pt x="1585025" y="1843410"/>
                    <a:pt x="1535785" y="1863895"/>
                  </a:cubicBezTo>
                  <a:cubicBezTo>
                    <a:pt x="1529202" y="1868082"/>
                    <a:pt x="1522082" y="1871142"/>
                    <a:pt x="1514520" y="1873139"/>
                  </a:cubicBezTo>
                  <a:cubicBezTo>
                    <a:pt x="1501331" y="1878964"/>
                    <a:pt x="1487664" y="1883395"/>
                    <a:pt x="1473533" y="1885989"/>
                  </a:cubicBezTo>
                  <a:cubicBezTo>
                    <a:pt x="1435859" y="1898915"/>
                    <a:pt x="1395499" y="1904787"/>
                    <a:pt x="1353782" y="1904787"/>
                  </a:cubicBezTo>
                  <a:cubicBezTo>
                    <a:pt x="1297452" y="1904787"/>
                    <a:pt x="1243598" y="1894081"/>
                    <a:pt x="1194671" y="1873408"/>
                  </a:cubicBezTo>
                  <a:cubicBezTo>
                    <a:pt x="1179941" y="1869034"/>
                    <a:pt x="1165832" y="1862857"/>
                    <a:pt x="1152937" y="1854083"/>
                  </a:cubicBezTo>
                  <a:cubicBezTo>
                    <a:pt x="1147279" y="1852035"/>
                    <a:pt x="1142094" y="1849115"/>
                    <a:pt x="1137216" y="1845687"/>
                  </a:cubicBezTo>
                  <a:cubicBezTo>
                    <a:pt x="1100578" y="1827697"/>
                    <a:pt x="1067190" y="1802523"/>
                    <a:pt x="1037207" y="1772000"/>
                  </a:cubicBezTo>
                  <a:cubicBezTo>
                    <a:pt x="1004103" y="1738300"/>
                    <a:pt x="977591" y="1700566"/>
                    <a:pt x="959867" y="1659361"/>
                  </a:cubicBezTo>
                  <a:cubicBezTo>
                    <a:pt x="952878" y="1649996"/>
                    <a:pt x="947998" y="1639517"/>
                    <a:pt x="943842" y="1628695"/>
                  </a:cubicBezTo>
                  <a:cubicBezTo>
                    <a:pt x="943687" y="1628508"/>
                    <a:pt x="943606" y="1628292"/>
                    <a:pt x="943525" y="1628076"/>
                  </a:cubicBezTo>
                  <a:cubicBezTo>
                    <a:pt x="940615" y="1621510"/>
                    <a:pt x="938128" y="1614790"/>
                    <a:pt x="937160" y="1607562"/>
                  </a:cubicBezTo>
                  <a:lnTo>
                    <a:pt x="936548" y="1605431"/>
                  </a:lnTo>
                  <a:cubicBezTo>
                    <a:pt x="927439" y="1585308"/>
                    <a:pt x="921640" y="1563846"/>
                    <a:pt x="918230" y="1541669"/>
                  </a:cubicBezTo>
                  <a:cubicBezTo>
                    <a:pt x="912592" y="1515655"/>
                    <a:pt x="910019" y="1488637"/>
                    <a:pt x="910019" y="1461023"/>
                  </a:cubicBezTo>
                  <a:cubicBezTo>
                    <a:pt x="910019" y="1433562"/>
                    <a:pt x="912564" y="1406690"/>
                    <a:pt x="918186" y="1380816"/>
                  </a:cubicBezTo>
                  <a:cubicBezTo>
                    <a:pt x="924581" y="1342320"/>
                    <a:pt x="936771" y="1305714"/>
                    <a:pt x="954647" y="1272207"/>
                  </a:cubicBezTo>
                  <a:cubicBezTo>
                    <a:pt x="973406" y="1227499"/>
                    <a:pt x="1001547" y="1186302"/>
                    <a:pt x="1037411" y="1149839"/>
                  </a:cubicBezTo>
                  <a:cubicBezTo>
                    <a:pt x="1080026" y="1106514"/>
                    <a:pt x="1129504" y="1073981"/>
                    <a:pt x="1182491" y="1052279"/>
                  </a:cubicBezTo>
                  <a:cubicBezTo>
                    <a:pt x="1235119" y="1029721"/>
                    <a:pt x="1293010" y="1017259"/>
                    <a:pt x="1353782" y="1017259"/>
                  </a:cubicBezTo>
                  <a:close/>
                  <a:moveTo>
                    <a:pt x="2733685" y="100270"/>
                  </a:moveTo>
                  <a:lnTo>
                    <a:pt x="2886085" y="610810"/>
                  </a:lnTo>
                  <a:lnTo>
                    <a:pt x="3754765" y="626050"/>
                  </a:lnTo>
                  <a:lnTo>
                    <a:pt x="3776415" y="522206"/>
                  </a:lnTo>
                  <a:lnTo>
                    <a:pt x="3792865" y="435550"/>
                  </a:lnTo>
                  <a:cubicBezTo>
                    <a:pt x="3738255" y="365700"/>
                    <a:pt x="3453616" y="203299"/>
                    <a:pt x="3277086" y="147419"/>
                  </a:cubicBezTo>
                  <a:lnTo>
                    <a:pt x="2733685" y="100270"/>
                  </a:lnTo>
                  <a:close/>
                  <a:moveTo>
                    <a:pt x="2558424" y="92650"/>
                  </a:moveTo>
                  <a:cubicBezTo>
                    <a:pt x="2339984" y="92650"/>
                    <a:pt x="2254894" y="102175"/>
                    <a:pt x="2036454" y="102175"/>
                  </a:cubicBezTo>
                  <a:cubicBezTo>
                    <a:pt x="1845954" y="147895"/>
                    <a:pt x="1496069" y="258067"/>
                    <a:pt x="1407804" y="336490"/>
                  </a:cubicBezTo>
                  <a:cubicBezTo>
                    <a:pt x="1319539" y="414913"/>
                    <a:pt x="1299854" y="538420"/>
                    <a:pt x="1506864" y="572710"/>
                  </a:cubicBezTo>
                  <a:lnTo>
                    <a:pt x="2676191" y="613869"/>
                  </a:lnTo>
                  <a:lnTo>
                    <a:pt x="2558424" y="92650"/>
                  </a:lnTo>
                  <a:close/>
                  <a:moveTo>
                    <a:pt x="2588905" y="1209"/>
                  </a:moveTo>
                  <a:lnTo>
                    <a:pt x="3282325" y="62169"/>
                  </a:lnTo>
                  <a:cubicBezTo>
                    <a:pt x="3561725" y="158689"/>
                    <a:pt x="3956695" y="481269"/>
                    <a:pt x="4265305" y="580329"/>
                  </a:cubicBezTo>
                  <a:lnTo>
                    <a:pt x="5133985" y="656529"/>
                  </a:lnTo>
                  <a:cubicBezTo>
                    <a:pt x="5423545" y="681929"/>
                    <a:pt x="5715645" y="763209"/>
                    <a:pt x="5850265" y="831789"/>
                  </a:cubicBezTo>
                  <a:lnTo>
                    <a:pt x="5941705" y="1068009"/>
                  </a:lnTo>
                  <a:lnTo>
                    <a:pt x="5888365" y="1327089"/>
                  </a:lnTo>
                  <a:lnTo>
                    <a:pt x="5918845" y="1509969"/>
                  </a:lnTo>
                  <a:lnTo>
                    <a:pt x="5842645" y="1586169"/>
                  </a:lnTo>
                  <a:lnTo>
                    <a:pt x="5583565" y="1593789"/>
                  </a:lnTo>
                  <a:lnTo>
                    <a:pt x="5556953" y="1593735"/>
                  </a:lnTo>
                  <a:cubicBezTo>
                    <a:pt x="5572022" y="1550672"/>
                    <a:pt x="5578894" y="1504446"/>
                    <a:pt x="5578894" y="1456630"/>
                  </a:cubicBezTo>
                  <a:cubicBezTo>
                    <a:pt x="5578894" y="1184235"/>
                    <a:pt x="5355866" y="963416"/>
                    <a:pt x="5080748" y="963416"/>
                  </a:cubicBezTo>
                  <a:cubicBezTo>
                    <a:pt x="4805630" y="963416"/>
                    <a:pt x="4582602" y="1184235"/>
                    <a:pt x="4582602" y="1456630"/>
                  </a:cubicBezTo>
                  <a:cubicBezTo>
                    <a:pt x="4582602" y="1503725"/>
                    <a:pt x="4589269" y="1549279"/>
                    <a:pt x="4603930" y="1591778"/>
                  </a:cubicBezTo>
                  <a:lnTo>
                    <a:pt x="1872625" y="1586169"/>
                  </a:lnTo>
                  <a:lnTo>
                    <a:pt x="1833037" y="1584015"/>
                  </a:lnTo>
                  <a:cubicBezTo>
                    <a:pt x="1846048" y="1543754"/>
                    <a:pt x="1851931" y="1500872"/>
                    <a:pt x="1851931" y="1456630"/>
                  </a:cubicBezTo>
                  <a:cubicBezTo>
                    <a:pt x="1851931" y="1184235"/>
                    <a:pt x="1628903" y="963416"/>
                    <a:pt x="1353785" y="963416"/>
                  </a:cubicBezTo>
                  <a:cubicBezTo>
                    <a:pt x="1078667" y="963416"/>
                    <a:pt x="855639" y="1184235"/>
                    <a:pt x="855639" y="1456630"/>
                  </a:cubicBezTo>
                  <a:cubicBezTo>
                    <a:pt x="855639" y="1483231"/>
                    <a:pt x="857766" y="1509340"/>
                    <a:pt x="863570" y="1534524"/>
                  </a:cubicBezTo>
                  <a:lnTo>
                    <a:pt x="809613" y="1528318"/>
                  </a:lnTo>
                  <a:lnTo>
                    <a:pt x="752485" y="1525209"/>
                  </a:lnTo>
                  <a:lnTo>
                    <a:pt x="752461" y="1521744"/>
                  </a:lnTo>
                  <a:lnTo>
                    <a:pt x="333498" y="1473554"/>
                  </a:lnTo>
                  <a:cubicBezTo>
                    <a:pt x="310538" y="1470913"/>
                    <a:pt x="289209" y="1463716"/>
                    <a:pt x="270349" y="1452901"/>
                  </a:cubicBezTo>
                  <a:lnTo>
                    <a:pt x="236237" y="1439524"/>
                  </a:lnTo>
                  <a:cubicBezTo>
                    <a:pt x="99139" y="1398389"/>
                    <a:pt x="0" y="1270864"/>
                    <a:pt x="0" y="1120183"/>
                  </a:cubicBezTo>
                  <a:cubicBezTo>
                    <a:pt x="0" y="1006616"/>
                    <a:pt x="56316" y="906203"/>
                    <a:pt x="142886" y="845827"/>
                  </a:cubicBezTo>
                  <a:lnTo>
                    <a:pt x="142886" y="628910"/>
                  </a:lnTo>
                  <a:cubicBezTo>
                    <a:pt x="142886" y="588196"/>
                    <a:pt x="157511" y="550898"/>
                    <a:pt x="183452" y="523375"/>
                  </a:cubicBezTo>
                  <a:cubicBezTo>
                    <a:pt x="209577" y="481177"/>
                    <a:pt x="255705" y="453551"/>
                    <a:pt x="309027" y="450735"/>
                  </a:cubicBezTo>
                  <a:lnTo>
                    <a:pt x="767423" y="426526"/>
                  </a:lnTo>
                  <a:lnTo>
                    <a:pt x="1697365" y="54549"/>
                  </a:lnTo>
                  <a:lnTo>
                    <a:pt x="1910725" y="24069"/>
                  </a:lnTo>
                  <a:cubicBezTo>
                    <a:pt x="2059315" y="15179"/>
                    <a:pt x="2360305" y="-5141"/>
                    <a:pt x="2588905" y="1209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 err="1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0" name="Freeform 249">
              <a:extLst>
                <a:ext uri="{FF2B5EF4-FFF2-40B4-BE49-F238E27FC236}">
                  <a16:creationId xmlns:a16="http://schemas.microsoft.com/office/drawing/2014/main" id="{EAEDFC0F-8C47-4350-86AA-649943CD2CBD}"/>
                </a:ext>
              </a:extLst>
            </p:cNvPr>
            <p:cNvSpPr/>
            <p:nvPr/>
          </p:nvSpPr>
          <p:spPr>
            <a:xfrm rot="21348315">
              <a:off x="1428995" y="996483"/>
              <a:ext cx="229276" cy="67996"/>
            </a:xfrm>
            <a:custGeom>
              <a:avLst/>
              <a:gdLst>
                <a:gd name="connsiteX0" fmla="*/ 33338 w 335756"/>
                <a:gd name="connsiteY0" fmla="*/ 107156 h 138112"/>
                <a:gd name="connsiteX1" fmla="*/ 335756 w 335756"/>
                <a:gd name="connsiteY1" fmla="*/ 138112 h 138112"/>
                <a:gd name="connsiteX2" fmla="*/ 242888 w 335756"/>
                <a:gd name="connsiteY2" fmla="*/ 78581 h 138112"/>
                <a:gd name="connsiteX3" fmla="*/ 0 w 335756"/>
                <a:gd name="connsiteY3" fmla="*/ 0 h 138112"/>
                <a:gd name="connsiteX4" fmla="*/ 33338 w 335756"/>
                <a:gd name="connsiteY4" fmla="*/ 107156 h 13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756" h="138112">
                  <a:moveTo>
                    <a:pt x="33338" y="107156"/>
                  </a:moveTo>
                  <a:lnTo>
                    <a:pt x="335756" y="138112"/>
                  </a:lnTo>
                  <a:lnTo>
                    <a:pt x="242888" y="78581"/>
                  </a:lnTo>
                  <a:lnTo>
                    <a:pt x="0" y="0"/>
                  </a:lnTo>
                  <a:lnTo>
                    <a:pt x="33338" y="107156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dirty="0" err="1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172" name="Freeform 49">
            <a:extLst>
              <a:ext uri="{FF2B5EF4-FFF2-40B4-BE49-F238E27FC236}">
                <a16:creationId xmlns:a16="http://schemas.microsoft.com/office/drawing/2014/main" id="{E1B13B96-6D78-48CC-B0CB-4DDF62A9203C}"/>
              </a:ext>
            </a:extLst>
          </p:cNvPr>
          <p:cNvSpPr>
            <a:spLocks noEditPoints="1"/>
          </p:cNvSpPr>
          <p:nvPr/>
        </p:nvSpPr>
        <p:spPr bwMode="auto">
          <a:xfrm>
            <a:off x="2451858" y="1980511"/>
            <a:ext cx="313361" cy="205187"/>
          </a:xfrm>
          <a:custGeom>
            <a:avLst/>
            <a:gdLst>
              <a:gd name="T0" fmla="*/ 2688 w 3352"/>
              <a:gd name="T1" fmla="*/ 1497 h 2035"/>
              <a:gd name="T2" fmla="*/ 2671 w 3352"/>
              <a:gd name="T3" fmla="*/ 1712 h 2035"/>
              <a:gd name="T4" fmla="*/ 2855 w 3352"/>
              <a:gd name="T5" fmla="*/ 1822 h 2035"/>
              <a:gd name="T6" fmla="*/ 3038 w 3352"/>
              <a:gd name="T7" fmla="*/ 1712 h 2035"/>
              <a:gd name="T8" fmla="*/ 3021 w 3352"/>
              <a:gd name="T9" fmla="*/ 1497 h 2035"/>
              <a:gd name="T10" fmla="*/ 421 w 3352"/>
              <a:gd name="T11" fmla="*/ 1413 h 2035"/>
              <a:gd name="T12" fmla="*/ 238 w 3352"/>
              <a:gd name="T13" fmla="*/ 1524 h 2035"/>
              <a:gd name="T14" fmla="*/ 255 w 3352"/>
              <a:gd name="T15" fmla="*/ 1739 h 2035"/>
              <a:gd name="T16" fmla="*/ 454 w 3352"/>
              <a:gd name="T17" fmla="*/ 1820 h 2035"/>
              <a:gd name="T18" fmla="*/ 618 w 3352"/>
              <a:gd name="T19" fmla="*/ 1682 h 2035"/>
              <a:gd name="T20" fmla="*/ 568 w 3352"/>
              <a:gd name="T21" fmla="*/ 1473 h 2035"/>
              <a:gd name="T22" fmla="*/ 572 w 3352"/>
              <a:gd name="T23" fmla="*/ 123 h 2035"/>
              <a:gd name="T24" fmla="*/ 427 w 3352"/>
              <a:gd name="T25" fmla="*/ 258 h 2035"/>
              <a:gd name="T26" fmla="*/ 320 w 3352"/>
              <a:gd name="T27" fmla="*/ 485 h 2035"/>
              <a:gd name="T28" fmla="*/ 333 w 3352"/>
              <a:gd name="T29" fmla="*/ 614 h 2035"/>
              <a:gd name="T30" fmla="*/ 463 w 3352"/>
              <a:gd name="T31" fmla="*/ 540 h 2035"/>
              <a:gd name="T32" fmla="*/ 594 w 3352"/>
              <a:gd name="T33" fmla="*/ 316 h 2035"/>
              <a:gd name="T34" fmla="*/ 618 w 3352"/>
              <a:gd name="T35" fmla="*/ 146 h 2035"/>
              <a:gd name="T36" fmla="*/ 1048 w 3352"/>
              <a:gd name="T37" fmla="*/ 109 h 2035"/>
              <a:gd name="T38" fmla="*/ 837 w 3352"/>
              <a:gd name="T39" fmla="*/ 216 h 2035"/>
              <a:gd name="T40" fmla="*/ 764 w 3352"/>
              <a:gd name="T41" fmla="*/ 419 h 2035"/>
              <a:gd name="T42" fmla="*/ 832 w 3352"/>
              <a:gd name="T43" fmla="*/ 592 h 2035"/>
              <a:gd name="T44" fmla="*/ 2496 w 3352"/>
              <a:gd name="T45" fmla="*/ 733 h 2035"/>
              <a:gd name="T46" fmla="*/ 2500 w 3352"/>
              <a:gd name="T47" fmla="*/ 625 h 2035"/>
              <a:gd name="T48" fmla="*/ 2121 w 3352"/>
              <a:gd name="T49" fmla="*/ 349 h 2035"/>
              <a:gd name="T50" fmla="*/ 1732 w 3352"/>
              <a:gd name="T51" fmla="*/ 179 h 2035"/>
              <a:gd name="T52" fmla="*/ 1455 w 3352"/>
              <a:gd name="T53" fmla="*/ 113 h 2035"/>
              <a:gd name="T54" fmla="*/ 1250 w 3352"/>
              <a:gd name="T55" fmla="*/ 0 h 2035"/>
              <a:gd name="T56" fmla="*/ 1814 w 3352"/>
              <a:gd name="T57" fmla="*/ 97 h 2035"/>
              <a:gd name="T58" fmla="*/ 2168 w 3352"/>
              <a:gd name="T59" fmla="*/ 269 h 2035"/>
              <a:gd name="T60" fmla="*/ 2539 w 3352"/>
              <a:gd name="T61" fmla="*/ 502 h 2035"/>
              <a:gd name="T62" fmla="*/ 2919 w 3352"/>
              <a:gd name="T63" fmla="*/ 791 h 2035"/>
              <a:gd name="T64" fmla="*/ 3179 w 3352"/>
              <a:gd name="T65" fmla="*/ 1079 h 2035"/>
              <a:gd name="T66" fmla="*/ 3244 w 3352"/>
              <a:gd name="T67" fmla="*/ 1305 h 2035"/>
              <a:gd name="T68" fmla="*/ 3298 w 3352"/>
              <a:gd name="T69" fmla="*/ 1363 h 2035"/>
              <a:gd name="T70" fmla="*/ 3352 w 3352"/>
              <a:gd name="T71" fmla="*/ 1537 h 2035"/>
              <a:gd name="T72" fmla="*/ 3301 w 3352"/>
              <a:gd name="T73" fmla="*/ 1707 h 2035"/>
              <a:gd name="T74" fmla="*/ 3128 w 3352"/>
              <a:gd name="T75" fmla="*/ 1936 h 2035"/>
              <a:gd name="T76" fmla="*/ 2804 w 3352"/>
              <a:gd name="T77" fmla="*/ 2032 h 2035"/>
              <a:gd name="T78" fmla="*/ 2519 w 3352"/>
              <a:gd name="T79" fmla="*/ 1870 h 2035"/>
              <a:gd name="T80" fmla="*/ 2239 w 3352"/>
              <a:gd name="T81" fmla="*/ 1743 h 2035"/>
              <a:gd name="T82" fmla="*/ 1760 w 3352"/>
              <a:gd name="T83" fmla="*/ 1742 h 2035"/>
              <a:gd name="T84" fmla="*/ 1269 w 3352"/>
              <a:gd name="T85" fmla="*/ 1742 h 2035"/>
              <a:gd name="T86" fmla="*/ 914 w 3352"/>
              <a:gd name="T87" fmla="*/ 1741 h 2035"/>
              <a:gd name="T88" fmla="*/ 787 w 3352"/>
              <a:gd name="T89" fmla="*/ 1824 h 2035"/>
              <a:gd name="T90" fmla="*/ 523 w 3352"/>
              <a:gd name="T91" fmla="*/ 2023 h 2035"/>
              <a:gd name="T92" fmla="*/ 181 w 3352"/>
              <a:gd name="T93" fmla="*/ 1960 h 2035"/>
              <a:gd name="T94" fmla="*/ 3 w 3352"/>
              <a:gd name="T95" fmla="*/ 1671 h 2035"/>
              <a:gd name="T96" fmla="*/ 25 w 3352"/>
              <a:gd name="T97" fmla="*/ 1424 h 2035"/>
              <a:gd name="T98" fmla="*/ 44 w 3352"/>
              <a:gd name="T99" fmla="*/ 1277 h 2035"/>
              <a:gd name="T100" fmla="*/ 108 w 3352"/>
              <a:gd name="T101" fmla="*/ 1080 h 2035"/>
              <a:gd name="T102" fmla="*/ 170 w 3352"/>
              <a:gd name="T103" fmla="*/ 768 h 2035"/>
              <a:gd name="T104" fmla="*/ 282 w 3352"/>
              <a:gd name="T105" fmla="*/ 367 h 2035"/>
              <a:gd name="T106" fmla="*/ 457 w 3352"/>
              <a:gd name="T107" fmla="*/ 125 h 2035"/>
              <a:gd name="T108" fmla="*/ 604 w 3352"/>
              <a:gd name="T109" fmla="*/ 44 h 2035"/>
              <a:gd name="T110" fmla="*/ 937 w 3352"/>
              <a:gd name="T111" fmla="*/ 9 h 2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52" h="2035">
                <a:moveTo>
                  <a:pt x="2855" y="1413"/>
                </a:moveTo>
                <a:lnTo>
                  <a:pt x="2822" y="1417"/>
                </a:lnTo>
                <a:lnTo>
                  <a:pt x="2789" y="1424"/>
                </a:lnTo>
                <a:lnTo>
                  <a:pt x="2760" y="1436"/>
                </a:lnTo>
                <a:lnTo>
                  <a:pt x="2733" y="1453"/>
                </a:lnTo>
                <a:lnTo>
                  <a:pt x="2708" y="1473"/>
                </a:lnTo>
                <a:lnTo>
                  <a:pt x="2688" y="1497"/>
                </a:lnTo>
                <a:lnTo>
                  <a:pt x="2671" y="1524"/>
                </a:lnTo>
                <a:lnTo>
                  <a:pt x="2658" y="1554"/>
                </a:lnTo>
                <a:lnTo>
                  <a:pt x="2651" y="1584"/>
                </a:lnTo>
                <a:lnTo>
                  <a:pt x="2648" y="1618"/>
                </a:lnTo>
                <a:lnTo>
                  <a:pt x="2651" y="1651"/>
                </a:lnTo>
                <a:lnTo>
                  <a:pt x="2658" y="1682"/>
                </a:lnTo>
                <a:lnTo>
                  <a:pt x="2671" y="1712"/>
                </a:lnTo>
                <a:lnTo>
                  <a:pt x="2688" y="1739"/>
                </a:lnTo>
                <a:lnTo>
                  <a:pt x="2708" y="1763"/>
                </a:lnTo>
                <a:lnTo>
                  <a:pt x="2733" y="1783"/>
                </a:lnTo>
                <a:lnTo>
                  <a:pt x="2760" y="1800"/>
                </a:lnTo>
                <a:lnTo>
                  <a:pt x="2789" y="1812"/>
                </a:lnTo>
                <a:lnTo>
                  <a:pt x="2822" y="1820"/>
                </a:lnTo>
                <a:lnTo>
                  <a:pt x="2855" y="1822"/>
                </a:lnTo>
                <a:lnTo>
                  <a:pt x="2888" y="1820"/>
                </a:lnTo>
                <a:lnTo>
                  <a:pt x="2919" y="1812"/>
                </a:lnTo>
                <a:lnTo>
                  <a:pt x="2949" y="1800"/>
                </a:lnTo>
                <a:lnTo>
                  <a:pt x="2976" y="1783"/>
                </a:lnTo>
                <a:lnTo>
                  <a:pt x="3000" y="1763"/>
                </a:lnTo>
                <a:lnTo>
                  <a:pt x="3021" y="1739"/>
                </a:lnTo>
                <a:lnTo>
                  <a:pt x="3038" y="1712"/>
                </a:lnTo>
                <a:lnTo>
                  <a:pt x="3050" y="1682"/>
                </a:lnTo>
                <a:lnTo>
                  <a:pt x="3059" y="1651"/>
                </a:lnTo>
                <a:lnTo>
                  <a:pt x="3061" y="1618"/>
                </a:lnTo>
                <a:lnTo>
                  <a:pt x="3059" y="1584"/>
                </a:lnTo>
                <a:lnTo>
                  <a:pt x="3050" y="1554"/>
                </a:lnTo>
                <a:lnTo>
                  <a:pt x="3038" y="1524"/>
                </a:lnTo>
                <a:lnTo>
                  <a:pt x="3021" y="1497"/>
                </a:lnTo>
                <a:lnTo>
                  <a:pt x="3000" y="1473"/>
                </a:lnTo>
                <a:lnTo>
                  <a:pt x="2976" y="1453"/>
                </a:lnTo>
                <a:lnTo>
                  <a:pt x="2949" y="1436"/>
                </a:lnTo>
                <a:lnTo>
                  <a:pt x="2919" y="1424"/>
                </a:lnTo>
                <a:lnTo>
                  <a:pt x="2888" y="1417"/>
                </a:lnTo>
                <a:lnTo>
                  <a:pt x="2855" y="1413"/>
                </a:lnTo>
                <a:close/>
                <a:moveTo>
                  <a:pt x="421" y="1413"/>
                </a:moveTo>
                <a:lnTo>
                  <a:pt x="388" y="1417"/>
                </a:lnTo>
                <a:lnTo>
                  <a:pt x="357" y="1424"/>
                </a:lnTo>
                <a:lnTo>
                  <a:pt x="327" y="1436"/>
                </a:lnTo>
                <a:lnTo>
                  <a:pt x="300" y="1453"/>
                </a:lnTo>
                <a:lnTo>
                  <a:pt x="276" y="1473"/>
                </a:lnTo>
                <a:lnTo>
                  <a:pt x="255" y="1497"/>
                </a:lnTo>
                <a:lnTo>
                  <a:pt x="238" y="1524"/>
                </a:lnTo>
                <a:lnTo>
                  <a:pt x="226" y="1554"/>
                </a:lnTo>
                <a:lnTo>
                  <a:pt x="217" y="1584"/>
                </a:lnTo>
                <a:lnTo>
                  <a:pt x="215" y="1618"/>
                </a:lnTo>
                <a:lnTo>
                  <a:pt x="217" y="1651"/>
                </a:lnTo>
                <a:lnTo>
                  <a:pt x="226" y="1682"/>
                </a:lnTo>
                <a:lnTo>
                  <a:pt x="238" y="1712"/>
                </a:lnTo>
                <a:lnTo>
                  <a:pt x="255" y="1739"/>
                </a:lnTo>
                <a:lnTo>
                  <a:pt x="276" y="1763"/>
                </a:lnTo>
                <a:lnTo>
                  <a:pt x="300" y="1783"/>
                </a:lnTo>
                <a:lnTo>
                  <a:pt x="327" y="1800"/>
                </a:lnTo>
                <a:lnTo>
                  <a:pt x="357" y="1812"/>
                </a:lnTo>
                <a:lnTo>
                  <a:pt x="388" y="1820"/>
                </a:lnTo>
                <a:lnTo>
                  <a:pt x="421" y="1822"/>
                </a:lnTo>
                <a:lnTo>
                  <a:pt x="454" y="1820"/>
                </a:lnTo>
                <a:lnTo>
                  <a:pt x="487" y="1812"/>
                </a:lnTo>
                <a:lnTo>
                  <a:pt x="517" y="1800"/>
                </a:lnTo>
                <a:lnTo>
                  <a:pt x="544" y="1783"/>
                </a:lnTo>
                <a:lnTo>
                  <a:pt x="568" y="1763"/>
                </a:lnTo>
                <a:lnTo>
                  <a:pt x="589" y="1739"/>
                </a:lnTo>
                <a:lnTo>
                  <a:pt x="605" y="1712"/>
                </a:lnTo>
                <a:lnTo>
                  <a:pt x="618" y="1682"/>
                </a:lnTo>
                <a:lnTo>
                  <a:pt x="625" y="1651"/>
                </a:lnTo>
                <a:lnTo>
                  <a:pt x="628" y="1618"/>
                </a:lnTo>
                <a:lnTo>
                  <a:pt x="625" y="1584"/>
                </a:lnTo>
                <a:lnTo>
                  <a:pt x="618" y="1554"/>
                </a:lnTo>
                <a:lnTo>
                  <a:pt x="605" y="1524"/>
                </a:lnTo>
                <a:lnTo>
                  <a:pt x="589" y="1497"/>
                </a:lnTo>
                <a:lnTo>
                  <a:pt x="568" y="1473"/>
                </a:lnTo>
                <a:lnTo>
                  <a:pt x="544" y="1453"/>
                </a:lnTo>
                <a:lnTo>
                  <a:pt x="517" y="1436"/>
                </a:lnTo>
                <a:lnTo>
                  <a:pt x="487" y="1424"/>
                </a:lnTo>
                <a:lnTo>
                  <a:pt x="454" y="1417"/>
                </a:lnTo>
                <a:lnTo>
                  <a:pt x="421" y="1413"/>
                </a:lnTo>
                <a:close/>
                <a:moveTo>
                  <a:pt x="588" y="122"/>
                </a:moveTo>
                <a:lnTo>
                  <a:pt x="572" y="123"/>
                </a:lnTo>
                <a:lnTo>
                  <a:pt x="554" y="130"/>
                </a:lnTo>
                <a:lnTo>
                  <a:pt x="535" y="142"/>
                </a:lnTo>
                <a:lnTo>
                  <a:pt x="515" y="157"/>
                </a:lnTo>
                <a:lnTo>
                  <a:pt x="493" y="177"/>
                </a:lnTo>
                <a:lnTo>
                  <a:pt x="472" y="200"/>
                </a:lnTo>
                <a:lnTo>
                  <a:pt x="449" y="227"/>
                </a:lnTo>
                <a:lnTo>
                  <a:pt x="427" y="258"/>
                </a:lnTo>
                <a:lnTo>
                  <a:pt x="407" y="291"/>
                </a:lnTo>
                <a:lnTo>
                  <a:pt x="386" y="326"/>
                </a:lnTo>
                <a:lnTo>
                  <a:pt x="368" y="360"/>
                </a:lnTo>
                <a:lnTo>
                  <a:pt x="353" y="393"/>
                </a:lnTo>
                <a:lnTo>
                  <a:pt x="340" y="425"/>
                </a:lnTo>
                <a:lnTo>
                  <a:pt x="330" y="456"/>
                </a:lnTo>
                <a:lnTo>
                  <a:pt x="320" y="485"/>
                </a:lnTo>
                <a:lnTo>
                  <a:pt x="315" y="511"/>
                </a:lnTo>
                <a:lnTo>
                  <a:pt x="311" y="537"/>
                </a:lnTo>
                <a:lnTo>
                  <a:pt x="310" y="559"/>
                </a:lnTo>
                <a:lnTo>
                  <a:pt x="312" y="578"/>
                </a:lnTo>
                <a:lnTo>
                  <a:pt x="316" y="594"/>
                </a:lnTo>
                <a:lnTo>
                  <a:pt x="323" y="606"/>
                </a:lnTo>
                <a:lnTo>
                  <a:pt x="333" y="614"/>
                </a:lnTo>
                <a:lnTo>
                  <a:pt x="346" y="618"/>
                </a:lnTo>
                <a:lnTo>
                  <a:pt x="362" y="616"/>
                </a:lnTo>
                <a:lnTo>
                  <a:pt x="380" y="610"/>
                </a:lnTo>
                <a:lnTo>
                  <a:pt x="399" y="599"/>
                </a:lnTo>
                <a:lnTo>
                  <a:pt x="419" y="583"/>
                </a:lnTo>
                <a:lnTo>
                  <a:pt x="441" y="563"/>
                </a:lnTo>
                <a:lnTo>
                  <a:pt x="463" y="540"/>
                </a:lnTo>
                <a:lnTo>
                  <a:pt x="485" y="512"/>
                </a:lnTo>
                <a:lnTo>
                  <a:pt x="506" y="483"/>
                </a:lnTo>
                <a:lnTo>
                  <a:pt x="527" y="450"/>
                </a:lnTo>
                <a:lnTo>
                  <a:pt x="548" y="414"/>
                </a:lnTo>
                <a:lnTo>
                  <a:pt x="566" y="381"/>
                </a:lnTo>
                <a:lnTo>
                  <a:pt x="581" y="348"/>
                </a:lnTo>
                <a:lnTo>
                  <a:pt x="594" y="316"/>
                </a:lnTo>
                <a:lnTo>
                  <a:pt x="604" y="285"/>
                </a:lnTo>
                <a:lnTo>
                  <a:pt x="613" y="255"/>
                </a:lnTo>
                <a:lnTo>
                  <a:pt x="619" y="228"/>
                </a:lnTo>
                <a:lnTo>
                  <a:pt x="623" y="203"/>
                </a:lnTo>
                <a:lnTo>
                  <a:pt x="624" y="181"/>
                </a:lnTo>
                <a:lnTo>
                  <a:pt x="622" y="162"/>
                </a:lnTo>
                <a:lnTo>
                  <a:pt x="618" y="146"/>
                </a:lnTo>
                <a:lnTo>
                  <a:pt x="610" y="134"/>
                </a:lnTo>
                <a:lnTo>
                  <a:pt x="601" y="126"/>
                </a:lnTo>
                <a:lnTo>
                  <a:pt x="588" y="122"/>
                </a:lnTo>
                <a:close/>
                <a:moveTo>
                  <a:pt x="1212" y="99"/>
                </a:moveTo>
                <a:lnTo>
                  <a:pt x="1156" y="99"/>
                </a:lnTo>
                <a:lnTo>
                  <a:pt x="1101" y="103"/>
                </a:lnTo>
                <a:lnTo>
                  <a:pt x="1048" y="109"/>
                </a:lnTo>
                <a:lnTo>
                  <a:pt x="998" y="116"/>
                </a:lnTo>
                <a:lnTo>
                  <a:pt x="953" y="127"/>
                </a:lnTo>
                <a:lnTo>
                  <a:pt x="925" y="138"/>
                </a:lnTo>
                <a:lnTo>
                  <a:pt x="899" y="153"/>
                </a:lnTo>
                <a:lnTo>
                  <a:pt x="876" y="171"/>
                </a:lnTo>
                <a:lnTo>
                  <a:pt x="855" y="192"/>
                </a:lnTo>
                <a:lnTo>
                  <a:pt x="837" y="216"/>
                </a:lnTo>
                <a:lnTo>
                  <a:pt x="821" y="242"/>
                </a:lnTo>
                <a:lnTo>
                  <a:pt x="807" y="269"/>
                </a:lnTo>
                <a:lnTo>
                  <a:pt x="796" y="298"/>
                </a:lnTo>
                <a:lnTo>
                  <a:pt x="785" y="328"/>
                </a:lnTo>
                <a:lnTo>
                  <a:pt x="777" y="358"/>
                </a:lnTo>
                <a:lnTo>
                  <a:pt x="771" y="389"/>
                </a:lnTo>
                <a:lnTo>
                  <a:pt x="764" y="419"/>
                </a:lnTo>
                <a:lnTo>
                  <a:pt x="760" y="448"/>
                </a:lnTo>
                <a:lnTo>
                  <a:pt x="760" y="476"/>
                </a:lnTo>
                <a:lnTo>
                  <a:pt x="764" y="504"/>
                </a:lnTo>
                <a:lnTo>
                  <a:pt x="775" y="530"/>
                </a:lnTo>
                <a:lnTo>
                  <a:pt x="790" y="554"/>
                </a:lnTo>
                <a:lnTo>
                  <a:pt x="809" y="574"/>
                </a:lnTo>
                <a:lnTo>
                  <a:pt x="832" y="592"/>
                </a:lnTo>
                <a:lnTo>
                  <a:pt x="857" y="605"/>
                </a:lnTo>
                <a:lnTo>
                  <a:pt x="884" y="615"/>
                </a:lnTo>
                <a:lnTo>
                  <a:pt x="913" y="621"/>
                </a:lnTo>
                <a:lnTo>
                  <a:pt x="2432" y="742"/>
                </a:lnTo>
                <a:lnTo>
                  <a:pt x="2456" y="742"/>
                </a:lnTo>
                <a:lnTo>
                  <a:pt x="2477" y="739"/>
                </a:lnTo>
                <a:lnTo>
                  <a:pt x="2496" y="733"/>
                </a:lnTo>
                <a:lnTo>
                  <a:pt x="2511" y="722"/>
                </a:lnTo>
                <a:lnTo>
                  <a:pt x="2521" y="710"/>
                </a:lnTo>
                <a:lnTo>
                  <a:pt x="2527" y="697"/>
                </a:lnTo>
                <a:lnTo>
                  <a:pt x="2528" y="680"/>
                </a:lnTo>
                <a:lnTo>
                  <a:pt x="2524" y="663"/>
                </a:lnTo>
                <a:lnTo>
                  <a:pt x="2515" y="644"/>
                </a:lnTo>
                <a:lnTo>
                  <a:pt x="2500" y="625"/>
                </a:lnTo>
                <a:lnTo>
                  <a:pt x="2455" y="579"/>
                </a:lnTo>
                <a:lnTo>
                  <a:pt x="2407" y="536"/>
                </a:lnTo>
                <a:lnTo>
                  <a:pt x="2354" y="495"/>
                </a:lnTo>
                <a:lnTo>
                  <a:pt x="2298" y="455"/>
                </a:lnTo>
                <a:lnTo>
                  <a:pt x="2240" y="418"/>
                </a:lnTo>
                <a:lnTo>
                  <a:pt x="2181" y="383"/>
                </a:lnTo>
                <a:lnTo>
                  <a:pt x="2121" y="349"/>
                </a:lnTo>
                <a:lnTo>
                  <a:pt x="2059" y="318"/>
                </a:lnTo>
                <a:lnTo>
                  <a:pt x="1999" y="289"/>
                </a:lnTo>
                <a:lnTo>
                  <a:pt x="1941" y="262"/>
                </a:lnTo>
                <a:lnTo>
                  <a:pt x="1883" y="237"/>
                </a:lnTo>
                <a:lnTo>
                  <a:pt x="1829" y="216"/>
                </a:lnTo>
                <a:lnTo>
                  <a:pt x="1778" y="195"/>
                </a:lnTo>
                <a:lnTo>
                  <a:pt x="1732" y="179"/>
                </a:lnTo>
                <a:lnTo>
                  <a:pt x="1698" y="167"/>
                </a:lnTo>
                <a:lnTo>
                  <a:pt x="1660" y="156"/>
                </a:lnTo>
                <a:lnTo>
                  <a:pt x="1619" y="145"/>
                </a:lnTo>
                <a:lnTo>
                  <a:pt x="1578" y="136"/>
                </a:lnTo>
                <a:lnTo>
                  <a:pt x="1535" y="126"/>
                </a:lnTo>
                <a:lnTo>
                  <a:pt x="1494" y="118"/>
                </a:lnTo>
                <a:lnTo>
                  <a:pt x="1455" y="113"/>
                </a:lnTo>
                <a:lnTo>
                  <a:pt x="1420" y="109"/>
                </a:lnTo>
                <a:lnTo>
                  <a:pt x="1372" y="105"/>
                </a:lnTo>
                <a:lnTo>
                  <a:pt x="1320" y="102"/>
                </a:lnTo>
                <a:lnTo>
                  <a:pt x="1267" y="99"/>
                </a:lnTo>
                <a:lnTo>
                  <a:pt x="1212" y="99"/>
                </a:lnTo>
                <a:close/>
                <a:moveTo>
                  <a:pt x="1172" y="0"/>
                </a:moveTo>
                <a:lnTo>
                  <a:pt x="1250" y="0"/>
                </a:lnTo>
                <a:lnTo>
                  <a:pt x="1329" y="3"/>
                </a:lnTo>
                <a:lnTo>
                  <a:pt x="1408" y="8"/>
                </a:lnTo>
                <a:lnTo>
                  <a:pt x="1487" y="17"/>
                </a:lnTo>
                <a:lnTo>
                  <a:pt x="1567" y="30"/>
                </a:lnTo>
                <a:lnTo>
                  <a:pt x="1648" y="48"/>
                </a:lnTo>
                <a:lnTo>
                  <a:pt x="1731" y="70"/>
                </a:lnTo>
                <a:lnTo>
                  <a:pt x="1814" y="97"/>
                </a:lnTo>
                <a:lnTo>
                  <a:pt x="1898" y="130"/>
                </a:lnTo>
                <a:lnTo>
                  <a:pt x="1983" y="169"/>
                </a:lnTo>
                <a:lnTo>
                  <a:pt x="2012" y="184"/>
                </a:lnTo>
                <a:lnTo>
                  <a:pt x="2046" y="201"/>
                </a:lnTo>
                <a:lnTo>
                  <a:pt x="2083" y="222"/>
                </a:lnTo>
                <a:lnTo>
                  <a:pt x="2125" y="245"/>
                </a:lnTo>
                <a:lnTo>
                  <a:pt x="2168" y="269"/>
                </a:lnTo>
                <a:lnTo>
                  <a:pt x="2216" y="297"/>
                </a:lnTo>
                <a:lnTo>
                  <a:pt x="2266" y="327"/>
                </a:lnTo>
                <a:lnTo>
                  <a:pt x="2318" y="359"/>
                </a:lnTo>
                <a:lnTo>
                  <a:pt x="2371" y="393"/>
                </a:lnTo>
                <a:lnTo>
                  <a:pt x="2426" y="428"/>
                </a:lnTo>
                <a:lnTo>
                  <a:pt x="2482" y="465"/>
                </a:lnTo>
                <a:lnTo>
                  <a:pt x="2539" y="502"/>
                </a:lnTo>
                <a:lnTo>
                  <a:pt x="2596" y="541"/>
                </a:lnTo>
                <a:lnTo>
                  <a:pt x="2652" y="581"/>
                </a:lnTo>
                <a:lnTo>
                  <a:pt x="2708" y="623"/>
                </a:lnTo>
                <a:lnTo>
                  <a:pt x="2763" y="664"/>
                </a:lnTo>
                <a:lnTo>
                  <a:pt x="2817" y="706"/>
                </a:lnTo>
                <a:lnTo>
                  <a:pt x="2869" y="748"/>
                </a:lnTo>
                <a:lnTo>
                  <a:pt x="2919" y="791"/>
                </a:lnTo>
                <a:lnTo>
                  <a:pt x="2967" y="834"/>
                </a:lnTo>
                <a:lnTo>
                  <a:pt x="3012" y="876"/>
                </a:lnTo>
                <a:lnTo>
                  <a:pt x="3052" y="918"/>
                </a:lnTo>
                <a:lnTo>
                  <a:pt x="3091" y="959"/>
                </a:lnTo>
                <a:lnTo>
                  <a:pt x="3124" y="1001"/>
                </a:lnTo>
                <a:lnTo>
                  <a:pt x="3154" y="1040"/>
                </a:lnTo>
                <a:lnTo>
                  <a:pt x="3179" y="1079"/>
                </a:lnTo>
                <a:lnTo>
                  <a:pt x="3199" y="1117"/>
                </a:lnTo>
                <a:lnTo>
                  <a:pt x="3213" y="1153"/>
                </a:lnTo>
                <a:lnTo>
                  <a:pt x="3221" y="1188"/>
                </a:lnTo>
                <a:lnTo>
                  <a:pt x="3226" y="1219"/>
                </a:lnTo>
                <a:lnTo>
                  <a:pt x="3231" y="1251"/>
                </a:lnTo>
                <a:lnTo>
                  <a:pt x="3238" y="1281"/>
                </a:lnTo>
                <a:lnTo>
                  <a:pt x="3244" y="1305"/>
                </a:lnTo>
                <a:lnTo>
                  <a:pt x="3247" y="1310"/>
                </a:lnTo>
                <a:lnTo>
                  <a:pt x="3253" y="1318"/>
                </a:lnTo>
                <a:lnTo>
                  <a:pt x="3262" y="1326"/>
                </a:lnTo>
                <a:lnTo>
                  <a:pt x="3272" y="1334"/>
                </a:lnTo>
                <a:lnTo>
                  <a:pt x="3279" y="1340"/>
                </a:lnTo>
                <a:lnTo>
                  <a:pt x="3285" y="1347"/>
                </a:lnTo>
                <a:lnTo>
                  <a:pt x="3298" y="1363"/>
                </a:lnTo>
                <a:lnTo>
                  <a:pt x="3310" y="1383"/>
                </a:lnTo>
                <a:lnTo>
                  <a:pt x="3321" y="1404"/>
                </a:lnTo>
                <a:lnTo>
                  <a:pt x="3331" y="1429"/>
                </a:lnTo>
                <a:lnTo>
                  <a:pt x="3338" y="1455"/>
                </a:lnTo>
                <a:lnTo>
                  <a:pt x="3345" y="1481"/>
                </a:lnTo>
                <a:lnTo>
                  <a:pt x="3350" y="1508"/>
                </a:lnTo>
                <a:lnTo>
                  <a:pt x="3352" y="1537"/>
                </a:lnTo>
                <a:lnTo>
                  <a:pt x="3352" y="1565"/>
                </a:lnTo>
                <a:lnTo>
                  <a:pt x="3350" y="1592"/>
                </a:lnTo>
                <a:lnTo>
                  <a:pt x="3346" y="1618"/>
                </a:lnTo>
                <a:lnTo>
                  <a:pt x="3338" y="1643"/>
                </a:lnTo>
                <a:lnTo>
                  <a:pt x="3329" y="1667"/>
                </a:lnTo>
                <a:lnTo>
                  <a:pt x="3317" y="1688"/>
                </a:lnTo>
                <a:lnTo>
                  <a:pt x="3301" y="1707"/>
                </a:lnTo>
                <a:lnTo>
                  <a:pt x="3281" y="1722"/>
                </a:lnTo>
                <a:lnTo>
                  <a:pt x="3259" y="1735"/>
                </a:lnTo>
                <a:lnTo>
                  <a:pt x="3243" y="1781"/>
                </a:lnTo>
                <a:lnTo>
                  <a:pt x="3221" y="1824"/>
                </a:lnTo>
                <a:lnTo>
                  <a:pt x="3194" y="1865"/>
                </a:lnTo>
                <a:lnTo>
                  <a:pt x="3164" y="1902"/>
                </a:lnTo>
                <a:lnTo>
                  <a:pt x="3128" y="1936"/>
                </a:lnTo>
                <a:lnTo>
                  <a:pt x="3090" y="1964"/>
                </a:lnTo>
                <a:lnTo>
                  <a:pt x="3048" y="1989"/>
                </a:lnTo>
                <a:lnTo>
                  <a:pt x="3004" y="2009"/>
                </a:lnTo>
                <a:lnTo>
                  <a:pt x="2956" y="2023"/>
                </a:lnTo>
                <a:lnTo>
                  <a:pt x="2906" y="2032"/>
                </a:lnTo>
                <a:lnTo>
                  <a:pt x="2855" y="2035"/>
                </a:lnTo>
                <a:lnTo>
                  <a:pt x="2804" y="2032"/>
                </a:lnTo>
                <a:lnTo>
                  <a:pt x="2755" y="2023"/>
                </a:lnTo>
                <a:lnTo>
                  <a:pt x="2708" y="2010"/>
                </a:lnTo>
                <a:lnTo>
                  <a:pt x="2664" y="1990"/>
                </a:lnTo>
                <a:lnTo>
                  <a:pt x="2623" y="1966"/>
                </a:lnTo>
                <a:lnTo>
                  <a:pt x="2584" y="1938"/>
                </a:lnTo>
                <a:lnTo>
                  <a:pt x="2550" y="1906"/>
                </a:lnTo>
                <a:lnTo>
                  <a:pt x="2519" y="1870"/>
                </a:lnTo>
                <a:lnTo>
                  <a:pt x="2493" y="1831"/>
                </a:lnTo>
                <a:lnTo>
                  <a:pt x="2471" y="1787"/>
                </a:lnTo>
                <a:lnTo>
                  <a:pt x="2453" y="1743"/>
                </a:lnTo>
                <a:lnTo>
                  <a:pt x="2407" y="1743"/>
                </a:lnTo>
                <a:lnTo>
                  <a:pt x="2355" y="1743"/>
                </a:lnTo>
                <a:lnTo>
                  <a:pt x="2298" y="1743"/>
                </a:lnTo>
                <a:lnTo>
                  <a:pt x="2239" y="1743"/>
                </a:lnTo>
                <a:lnTo>
                  <a:pt x="2177" y="1743"/>
                </a:lnTo>
                <a:lnTo>
                  <a:pt x="2112" y="1743"/>
                </a:lnTo>
                <a:lnTo>
                  <a:pt x="2045" y="1742"/>
                </a:lnTo>
                <a:lnTo>
                  <a:pt x="1975" y="1742"/>
                </a:lnTo>
                <a:lnTo>
                  <a:pt x="1904" y="1742"/>
                </a:lnTo>
                <a:lnTo>
                  <a:pt x="1831" y="1742"/>
                </a:lnTo>
                <a:lnTo>
                  <a:pt x="1760" y="1742"/>
                </a:lnTo>
                <a:lnTo>
                  <a:pt x="1687" y="1742"/>
                </a:lnTo>
                <a:lnTo>
                  <a:pt x="1614" y="1742"/>
                </a:lnTo>
                <a:lnTo>
                  <a:pt x="1542" y="1742"/>
                </a:lnTo>
                <a:lnTo>
                  <a:pt x="1471" y="1742"/>
                </a:lnTo>
                <a:lnTo>
                  <a:pt x="1402" y="1742"/>
                </a:lnTo>
                <a:lnTo>
                  <a:pt x="1334" y="1742"/>
                </a:lnTo>
                <a:lnTo>
                  <a:pt x="1269" y="1742"/>
                </a:lnTo>
                <a:lnTo>
                  <a:pt x="1206" y="1742"/>
                </a:lnTo>
                <a:lnTo>
                  <a:pt x="1147" y="1742"/>
                </a:lnTo>
                <a:lnTo>
                  <a:pt x="1092" y="1742"/>
                </a:lnTo>
                <a:lnTo>
                  <a:pt x="1040" y="1742"/>
                </a:lnTo>
                <a:lnTo>
                  <a:pt x="993" y="1742"/>
                </a:lnTo>
                <a:lnTo>
                  <a:pt x="951" y="1741"/>
                </a:lnTo>
                <a:lnTo>
                  <a:pt x="914" y="1741"/>
                </a:lnTo>
                <a:lnTo>
                  <a:pt x="883" y="1741"/>
                </a:lnTo>
                <a:lnTo>
                  <a:pt x="858" y="1741"/>
                </a:lnTo>
                <a:lnTo>
                  <a:pt x="840" y="1741"/>
                </a:lnTo>
                <a:lnTo>
                  <a:pt x="829" y="1741"/>
                </a:lnTo>
                <a:lnTo>
                  <a:pt x="825" y="1741"/>
                </a:lnTo>
                <a:lnTo>
                  <a:pt x="809" y="1784"/>
                </a:lnTo>
                <a:lnTo>
                  <a:pt x="787" y="1824"/>
                </a:lnTo>
                <a:lnTo>
                  <a:pt x="761" y="1863"/>
                </a:lnTo>
                <a:lnTo>
                  <a:pt x="731" y="1900"/>
                </a:lnTo>
                <a:lnTo>
                  <a:pt x="696" y="1932"/>
                </a:lnTo>
                <a:lnTo>
                  <a:pt x="657" y="1962"/>
                </a:lnTo>
                <a:lnTo>
                  <a:pt x="616" y="1987"/>
                </a:lnTo>
                <a:lnTo>
                  <a:pt x="571" y="2008"/>
                </a:lnTo>
                <a:lnTo>
                  <a:pt x="523" y="2023"/>
                </a:lnTo>
                <a:lnTo>
                  <a:pt x="473" y="2032"/>
                </a:lnTo>
                <a:lnTo>
                  <a:pt x="421" y="2035"/>
                </a:lnTo>
                <a:lnTo>
                  <a:pt x="368" y="2032"/>
                </a:lnTo>
                <a:lnTo>
                  <a:pt x="317" y="2023"/>
                </a:lnTo>
                <a:lnTo>
                  <a:pt x="269" y="2008"/>
                </a:lnTo>
                <a:lnTo>
                  <a:pt x="224" y="1986"/>
                </a:lnTo>
                <a:lnTo>
                  <a:pt x="181" y="1960"/>
                </a:lnTo>
                <a:lnTo>
                  <a:pt x="141" y="1930"/>
                </a:lnTo>
                <a:lnTo>
                  <a:pt x="106" y="1895"/>
                </a:lnTo>
                <a:lnTo>
                  <a:pt x="76" y="1856"/>
                </a:lnTo>
                <a:lnTo>
                  <a:pt x="49" y="1814"/>
                </a:lnTo>
                <a:lnTo>
                  <a:pt x="28" y="1769"/>
                </a:lnTo>
                <a:lnTo>
                  <a:pt x="12" y="1720"/>
                </a:lnTo>
                <a:lnTo>
                  <a:pt x="3" y="1671"/>
                </a:lnTo>
                <a:lnTo>
                  <a:pt x="0" y="1618"/>
                </a:lnTo>
                <a:lnTo>
                  <a:pt x="2" y="1573"/>
                </a:lnTo>
                <a:lnTo>
                  <a:pt x="9" y="1530"/>
                </a:lnTo>
                <a:lnTo>
                  <a:pt x="21" y="1488"/>
                </a:lnTo>
                <a:lnTo>
                  <a:pt x="37" y="1447"/>
                </a:lnTo>
                <a:lnTo>
                  <a:pt x="29" y="1437"/>
                </a:lnTo>
                <a:lnTo>
                  <a:pt x="25" y="1424"/>
                </a:lnTo>
                <a:lnTo>
                  <a:pt x="23" y="1406"/>
                </a:lnTo>
                <a:lnTo>
                  <a:pt x="23" y="1387"/>
                </a:lnTo>
                <a:lnTo>
                  <a:pt x="25" y="1366"/>
                </a:lnTo>
                <a:lnTo>
                  <a:pt x="28" y="1343"/>
                </a:lnTo>
                <a:lnTo>
                  <a:pt x="32" y="1321"/>
                </a:lnTo>
                <a:lnTo>
                  <a:pt x="37" y="1298"/>
                </a:lnTo>
                <a:lnTo>
                  <a:pt x="44" y="1277"/>
                </a:lnTo>
                <a:lnTo>
                  <a:pt x="49" y="1257"/>
                </a:lnTo>
                <a:lnTo>
                  <a:pt x="53" y="1239"/>
                </a:lnTo>
                <a:lnTo>
                  <a:pt x="57" y="1226"/>
                </a:lnTo>
                <a:lnTo>
                  <a:pt x="59" y="1216"/>
                </a:lnTo>
                <a:lnTo>
                  <a:pt x="73" y="1169"/>
                </a:lnTo>
                <a:lnTo>
                  <a:pt x="89" y="1124"/>
                </a:lnTo>
                <a:lnTo>
                  <a:pt x="108" y="1080"/>
                </a:lnTo>
                <a:lnTo>
                  <a:pt x="126" y="1036"/>
                </a:lnTo>
                <a:lnTo>
                  <a:pt x="141" y="990"/>
                </a:lnTo>
                <a:lnTo>
                  <a:pt x="153" y="946"/>
                </a:lnTo>
                <a:lnTo>
                  <a:pt x="159" y="902"/>
                </a:lnTo>
                <a:lnTo>
                  <a:pt x="163" y="857"/>
                </a:lnTo>
                <a:lnTo>
                  <a:pt x="166" y="812"/>
                </a:lnTo>
                <a:lnTo>
                  <a:pt x="170" y="768"/>
                </a:lnTo>
                <a:lnTo>
                  <a:pt x="176" y="724"/>
                </a:lnTo>
                <a:lnTo>
                  <a:pt x="187" y="665"/>
                </a:lnTo>
                <a:lnTo>
                  <a:pt x="203" y="608"/>
                </a:lnTo>
                <a:lnTo>
                  <a:pt x="220" y="540"/>
                </a:lnTo>
                <a:lnTo>
                  <a:pt x="239" y="476"/>
                </a:lnTo>
                <a:lnTo>
                  <a:pt x="260" y="420"/>
                </a:lnTo>
                <a:lnTo>
                  <a:pt x="282" y="367"/>
                </a:lnTo>
                <a:lnTo>
                  <a:pt x="305" y="320"/>
                </a:lnTo>
                <a:lnTo>
                  <a:pt x="329" y="277"/>
                </a:lnTo>
                <a:lnTo>
                  <a:pt x="354" y="238"/>
                </a:lnTo>
                <a:lnTo>
                  <a:pt x="380" y="205"/>
                </a:lnTo>
                <a:lnTo>
                  <a:pt x="405" y="175"/>
                </a:lnTo>
                <a:lnTo>
                  <a:pt x="431" y="148"/>
                </a:lnTo>
                <a:lnTo>
                  <a:pt x="457" y="125"/>
                </a:lnTo>
                <a:lnTo>
                  <a:pt x="483" y="106"/>
                </a:lnTo>
                <a:lnTo>
                  <a:pt x="508" y="89"/>
                </a:lnTo>
                <a:lnTo>
                  <a:pt x="531" y="75"/>
                </a:lnTo>
                <a:lnTo>
                  <a:pt x="536" y="73"/>
                </a:lnTo>
                <a:lnTo>
                  <a:pt x="540" y="70"/>
                </a:lnTo>
                <a:lnTo>
                  <a:pt x="571" y="55"/>
                </a:lnTo>
                <a:lnTo>
                  <a:pt x="604" y="44"/>
                </a:lnTo>
                <a:lnTo>
                  <a:pt x="639" y="36"/>
                </a:lnTo>
                <a:lnTo>
                  <a:pt x="674" y="29"/>
                </a:lnTo>
                <a:lnTo>
                  <a:pt x="709" y="25"/>
                </a:lnTo>
                <a:lnTo>
                  <a:pt x="745" y="22"/>
                </a:lnTo>
                <a:lnTo>
                  <a:pt x="779" y="20"/>
                </a:lnTo>
                <a:lnTo>
                  <a:pt x="858" y="14"/>
                </a:lnTo>
                <a:lnTo>
                  <a:pt x="937" y="9"/>
                </a:lnTo>
                <a:lnTo>
                  <a:pt x="1016" y="5"/>
                </a:lnTo>
                <a:lnTo>
                  <a:pt x="1094" y="1"/>
                </a:lnTo>
                <a:lnTo>
                  <a:pt x="117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173" name="Freeform 100">
            <a:extLst>
              <a:ext uri="{FF2B5EF4-FFF2-40B4-BE49-F238E27FC236}">
                <a16:creationId xmlns:a16="http://schemas.microsoft.com/office/drawing/2014/main" id="{1ECA283B-FC87-4F84-82AF-D98B404AC7AC}"/>
              </a:ext>
            </a:extLst>
          </p:cNvPr>
          <p:cNvSpPr>
            <a:spLocks noEditPoints="1"/>
          </p:cNvSpPr>
          <p:nvPr/>
        </p:nvSpPr>
        <p:spPr bwMode="auto">
          <a:xfrm>
            <a:off x="8572207" y="2592176"/>
            <a:ext cx="382802" cy="198835"/>
          </a:xfrm>
          <a:custGeom>
            <a:avLst/>
            <a:gdLst>
              <a:gd name="T0" fmla="*/ 327 w 3011"/>
              <a:gd name="T1" fmla="*/ 1823 h 2052"/>
              <a:gd name="T2" fmla="*/ 233 w 3011"/>
              <a:gd name="T3" fmla="*/ 1761 h 2052"/>
              <a:gd name="T4" fmla="*/ 4 w 3011"/>
              <a:gd name="T5" fmla="*/ 946 h 2052"/>
              <a:gd name="T6" fmla="*/ 44 w 3011"/>
              <a:gd name="T7" fmla="*/ 199 h 2052"/>
              <a:gd name="T8" fmla="*/ 1240 w 3011"/>
              <a:gd name="T9" fmla="*/ 4 h 2052"/>
              <a:gd name="T10" fmla="*/ 2757 w 3011"/>
              <a:gd name="T11" fmla="*/ 295 h 2052"/>
              <a:gd name="T12" fmla="*/ 2979 w 3011"/>
              <a:gd name="T13" fmla="*/ 1602 h 2052"/>
              <a:gd name="T14" fmla="*/ 2674 w 3011"/>
              <a:gd name="T15" fmla="*/ 1824 h 2052"/>
              <a:gd name="T16" fmla="*/ 2341 w 3011"/>
              <a:gd name="T17" fmla="*/ 2048 h 2052"/>
              <a:gd name="T18" fmla="*/ 2007 w 3011"/>
              <a:gd name="T19" fmla="*/ 1823 h 2052"/>
              <a:gd name="T20" fmla="*/ 1501 w 3011"/>
              <a:gd name="T21" fmla="*/ 1761 h 2052"/>
              <a:gd name="T22" fmla="*/ 994 w 3011"/>
              <a:gd name="T23" fmla="*/ 1823 h 2052"/>
              <a:gd name="T24" fmla="*/ 558 w 3011"/>
              <a:gd name="T25" fmla="*/ 2042 h 2052"/>
              <a:gd name="T26" fmla="*/ 894 w 3011"/>
              <a:gd name="T27" fmla="*/ 1686 h 2052"/>
              <a:gd name="T28" fmla="*/ 427 w 3011"/>
              <a:gd name="T29" fmla="*/ 1686 h 2052"/>
              <a:gd name="T30" fmla="*/ 661 w 3011"/>
              <a:gd name="T31" fmla="*/ 1934 h 2052"/>
              <a:gd name="T32" fmla="*/ 2434 w 3011"/>
              <a:gd name="T33" fmla="*/ 1909 h 2052"/>
              <a:gd name="T34" fmla="*/ 2179 w 3011"/>
              <a:gd name="T35" fmla="*/ 1524 h 2052"/>
              <a:gd name="T36" fmla="*/ 2247 w 3011"/>
              <a:gd name="T37" fmla="*/ 1909 h 2052"/>
              <a:gd name="T38" fmla="*/ 2434 w 3011"/>
              <a:gd name="T39" fmla="*/ 1909 h 2052"/>
              <a:gd name="T40" fmla="*/ 963 w 3011"/>
              <a:gd name="T41" fmla="*/ 762 h 2052"/>
              <a:gd name="T42" fmla="*/ 917 w 3011"/>
              <a:gd name="T43" fmla="*/ 353 h 2052"/>
              <a:gd name="T44" fmla="*/ 379 w 3011"/>
              <a:gd name="T45" fmla="*/ 321 h 2052"/>
              <a:gd name="T46" fmla="*/ 307 w 3011"/>
              <a:gd name="T47" fmla="*/ 582 h 2052"/>
              <a:gd name="T48" fmla="*/ 639 w 3011"/>
              <a:gd name="T49" fmla="*/ 854 h 2052"/>
              <a:gd name="T50" fmla="*/ 916 w 3011"/>
              <a:gd name="T51" fmla="*/ 808 h 2052"/>
              <a:gd name="T52" fmla="*/ 1923 w 3011"/>
              <a:gd name="T53" fmla="*/ 762 h 2052"/>
              <a:gd name="T54" fmla="*/ 1877 w 3011"/>
              <a:gd name="T55" fmla="*/ 353 h 2052"/>
              <a:gd name="T56" fmla="*/ 1245 w 3011"/>
              <a:gd name="T57" fmla="*/ 353 h 2052"/>
              <a:gd name="T58" fmla="*/ 1199 w 3011"/>
              <a:gd name="T59" fmla="*/ 762 h 2052"/>
              <a:gd name="T60" fmla="*/ 1291 w 3011"/>
              <a:gd name="T61" fmla="*/ 855 h 2052"/>
              <a:gd name="T62" fmla="*/ 1830 w 3011"/>
              <a:gd name="T63" fmla="*/ 855 h 2052"/>
              <a:gd name="T64" fmla="*/ 2841 w 3011"/>
              <a:gd name="T65" fmla="*/ 848 h 2052"/>
              <a:gd name="T66" fmla="*/ 2637 w 3011"/>
              <a:gd name="T67" fmla="*/ 321 h 2052"/>
              <a:gd name="T68" fmla="*/ 2205 w 3011"/>
              <a:gd name="T69" fmla="*/ 353 h 2052"/>
              <a:gd name="T70" fmla="*/ 2159 w 3011"/>
              <a:gd name="T71" fmla="*/ 762 h 2052"/>
              <a:gd name="T72" fmla="*/ 2251 w 3011"/>
              <a:gd name="T73" fmla="*/ 855 h 2052"/>
              <a:gd name="T74" fmla="*/ 2841 w 3011"/>
              <a:gd name="T75" fmla="*/ 848 h 2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11" h="2052">
                <a:moveTo>
                  <a:pt x="558" y="2042"/>
                </a:moveTo>
                <a:cubicBezTo>
                  <a:pt x="457" y="2010"/>
                  <a:pt x="365" y="1922"/>
                  <a:pt x="327" y="1823"/>
                </a:cubicBezTo>
                <a:lnTo>
                  <a:pt x="304" y="1761"/>
                </a:lnTo>
                <a:lnTo>
                  <a:pt x="233" y="1761"/>
                </a:lnTo>
                <a:cubicBezTo>
                  <a:pt x="137" y="1761"/>
                  <a:pt x="61" y="1729"/>
                  <a:pt x="27" y="1674"/>
                </a:cubicBezTo>
                <a:cubicBezTo>
                  <a:pt x="0" y="1631"/>
                  <a:pt x="0" y="1616"/>
                  <a:pt x="4" y="946"/>
                </a:cubicBezTo>
                <a:lnTo>
                  <a:pt x="7" y="261"/>
                </a:lnTo>
                <a:lnTo>
                  <a:pt x="44" y="199"/>
                </a:lnTo>
                <a:cubicBezTo>
                  <a:pt x="87" y="126"/>
                  <a:pt x="145" y="74"/>
                  <a:pt x="227" y="36"/>
                </a:cubicBezTo>
                <a:cubicBezTo>
                  <a:pt x="286" y="8"/>
                  <a:pt x="306" y="8"/>
                  <a:pt x="1240" y="4"/>
                </a:cubicBezTo>
                <a:cubicBezTo>
                  <a:pt x="2249" y="0"/>
                  <a:pt x="2420" y="7"/>
                  <a:pt x="2532" y="55"/>
                </a:cubicBezTo>
                <a:cubicBezTo>
                  <a:pt x="2619" y="92"/>
                  <a:pt x="2704" y="183"/>
                  <a:pt x="2757" y="295"/>
                </a:cubicBezTo>
                <a:cubicBezTo>
                  <a:pt x="2808" y="403"/>
                  <a:pt x="2958" y="798"/>
                  <a:pt x="2982" y="888"/>
                </a:cubicBezTo>
                <a:cubicBezTo>
                  <a:pt x="3011" y="992"/>
                  <a:pt x="3008" y="1529"/>
                  <a:pt x="2979" y="1602"/>
                </a:cubicBezTo>
                <a:cubicBezTo>
                  <a:pt x="2950" y="1674"/>
                  <a:pt x="2873" y="1729"/>
                  <a:pt x="2774" y="1749"/>
                </a:cubicBezTo>
                <a:cubicBezTo>
                  <a:pt x="2699" y="1764"/>
                  <a:pt x="2696" y="1766"/>
                  <a:pt x="2674" y="1824"/>
                </a:cubicBezTo>
                <a:cubicBezTo>
                  <a:pt x="2645" y="1900"/>
                  <a:pt x="2587" y="1966"/>
                  <a:pt x="2509" y="2012"/>
                </a:cubicBezTo>
                <a:cubicBezTo>
                  <a:pt x="2456" y="2043"/>
                  <a:pt x="2433" y="2048"/>
                  <a:pt x="2341" y="2048"/>
                </a:cubicBezTo>
                <a:cubicBezTo>
                  <a:pt x="2249" y="2048"/>
                  <a:pt x="2226" y="2043"/>
                  <a:pt x="2173" y="2012"/>
                </a:cubicBezTo>
                <a:cubicBezTo>
                  <a:pt x="2094" y="1965"/>
                  <a:pt x="2037" y="1900"/>
                  <a:pt x="2007" y="1823"/>
                </a:cubicBezTo>
                <a:lnTo>
                  <a:pt x="1984" y="1761"/>
                </a:lnTo>
                <a:lnTo>
                  <a:pt x="1501" y="1761"/>
                </a:lnTo>
                <a:lnTo>
                  <a:pt x="1018" y="1761"/>
                </a:lnTo>
                <a:lnTo>
                  <a:pt x="994" y="1823"/>
                </a:lnTo>
                <a:cubicBezTo>
                  <a:pt x="943" y="1957"/>
                  <a:pt x="826" y="2042"/>
                  <a:pt x="683" y="2049"/>
                </a:cubicBezTo>
                <a:cubicBezTo>
                  <a:pt x="634" y="2052"/>
                  <a:pt x="578" y="2049"/>
                  <a:pt x="558" y="2042"/>
                </a:cubicBezTo>
                <a:close/>
                <a:moveTo>
                  <a:pt x="754" y="1909"/>
                </a:moveTo>
                <a:cubicBezTo>
                  <a:pt x="850" y="1865"/>
                  <a:pt x="894" y="1795"/>
                  <a:pt x="894" y="1686"/>
                </a:cubicBezTo>
                <a:cubicBezTo>
                  <a:pt x="894" y="1484"/>
                  <a:pt x="636" y="1379"/>
                  <a:pt x="499" y="1524"/>
                </a:cubicBezTo>
                <a:cubicBezTo>
                  <a:pt x="442" y="1585"/>
                  <a:pt x="427" y="1617"/>
                  <a:pt x="427" y="1686"/>
                </a:cubicBezTo>
                <a:cubicBezTo>
                  <a:pt x="427" y="1795"/>
                  <a:pt x="471" y="1865"/>
                  <a:pt x="567" y="1909"/>
                </a:cubicBezTo>
                <a:cubicBezTo>
                  <a:pt x="597" y="1923"/>
                  <a:pt x="639" y="1934"/>
                  <a:pt x="661" y="1934"/>
                </a:cubicBezTo>
                <a:cubicBezTo>
                  <a:pt x="683" y="1934"/>
                  <a:pt x="725" y="1923"/>
                  <a:pt x="754" y="1909"/>
                </a:cubicBezTo>
                <a:close/>
                <a:moveTo>
                  <a:pt x="2434" y="1909"/>
                </a:moveTo>
                <a:cubicBezTo>
                  <a:pt x="2530" y="1865"/>
                  <a:pt x="2574" y="1795"/>
                  <a:pt x="2574" y="1686"/>
                </a:cubicBezTo>
                <a:cubicBezTo>
                  <a:pt x="2574" y="1484"/>
                  <a:pt x="2316" y="1379"/>
                  <a:pt x="2179" y="1524"/>
                </a:cubicBezTo>
                <a:cubicBezTo>
                  <a:pt x="2122" y="1585"/>
                  <a:pt x="2107" y="1617"/>
                  <a:pt x="2107" y="1686"/>
                </a:cubicBezTo>
                <a:cubicBezTo>
                  <a:pt x="2107" y="1795"/>
                  <a:pt x="2151" y="1865"/>
                  <a:pt x="2247" y="1909"/>
                </a:cubicBezTo>
                <a:cubicBezTo>
                  <a:pt x="2277" y="1923"/>
                  <a:pt x="2319" y="1934"/>
                  <a:pt x="2341" y="1934"/>
                </a:cubicBezTo>
                <a:cubicBezTo>
                  <a:pt x="2363" y="1934"/>
                  <a:pt x="2405" y="1923"/>
                  <a:pt x="2434" y="1909"/>
                </a:cubicBezTo>
                <a:close/>
                <a:moveTo>
                  <a:pt x="916" y="808"/>
                </a:moveTo>
                <a:lnTo>
                  <a:pt x="963" y="762"/>
                </a:lnTo>
                <a:lnTo>
                  <a:pt x="958" y="574"/>
                </a:lnTo>
                <a:cubicBezTo>
                  <a:pt x="954" y="386"/>
                  <a:pt x="954" y="385"/>
                  <a:pt x="917" y="353"/>
                </a:cubicBezTo>
                <a:cubicBezTo>
                  <a:pt x="880" y="322"/>
                  <a:pt x="874" y="321"/>
                  <a:pt x="629" y="321"/>
                </a:cubicBezTo>
                <a:lnTo>
                  <a:pt x="379" y="321"/>
                </a:lnTo>
                <a:lnTo>
                  <a:pt x="343" y="359"/>
                </a:lnTo>
                <a:cubicBezTo>
                  <a:pt x="308" y="396"/>
                  <a:pt x="307" y="398"/>
                  <a:pt x="307" y="582"/>
                </a:cubicBezTo>
                <a:cubicBezTo>
                  <a:pt x="307" y="781"/>
                  <a:pt x="317" y="816"/>
                  <a:pt x="379" y="841"/>
                </a:cubicBezTo>
                <a:cubicBezTo>
                  <a:pt x="395" y="848"/>
                  <a:pt x="512" y="853"/>
                  <a:pt x="639" y="854"/>
                </a:cubicBezTo>
                <a:lnTo>
                  <a:pt x="870" y="855"/>
                </a:lnTo>
                <a:lnTo>
                  <a:pt x="916" y="808"/>
                </a:lnTo>
                <a:close/>
                <a:moveTo>
                  <a:pt x="1876" y="808"/>
                </a:moveTo>
                <a:lnTo>
                  <a:pt x="1923" y="762"/>
                </a:lnTo>
                <a:lnTo>
                  <a:pt x="1918" y="574"/>
                </a:lnTo>
                <a:cubicBezTo>
                  <a:pt x="1914" y="386"/>
                  <a:pt x="1914" y="385"/>
                  <a:pt x="1877" y="353"/>
                </a:cubicBezTo>
                <a:cubicBezTo>
                  <a:pt x="1840" y="322"/>
                  <a:pt x="1836" y="321"/>
                  <a:pt x="1561" y="321"/>
                </a:cubicBezTo>
                <a:cubicBezTo>
                  <a:pt x="1286" y="321"/>
                  <a:pt x="1282" y="322"/>
                  <a:pt x="1245" y="353"/>
                </a:cubicBezTo>
                <a:cubicBezTo>
                  <a:pt x="1208" y="385"/>
                  <a:pt x="1207" y="386"/>
                  <a:pt x="1203" y="574"/>
                </a:cubicBezTo>
                <a:lnTo>
                  <a:pt x="1199" y="762"/>
                </a:lnTo>
                <a:lnTo>
                  <a:pt x="1245" y="808"/>
                </a:lnTo>
                <a:lnTo>
                  <a:pt x="1291" y="855"/>
                </a:lnTo>
                <a:lnTo>
                  <a:pt x="1561" y="855"/>
                </a:lnTo>
                <a:lnTo>
                  <a:pt x="1830" y="855"/>
                </a:lnTo>
                <a:lnTo>
                  <a:pt x="1876" y="808"/>
                </a:lnTo>
                <a:close/>
                <a:moveTo>
                  <a:pt x="2841" y="848"/>
                </a:moveTo>
                <a:cubicBezTo>
                  <a:pt x="2841" y="837"/>
                  <a:pt x="2723" y="526"/>
                  <a:pt x="2680" y="423"/>
                </a:cubicBezTo>
                <a:lnTo>
                  <a:pt x="2637" y="321"/>
                </a:lnTo>
                <a:lnTo>
                  <a:pt x="2440" y="321"/>
                </a:lnTo>
                <a:cubicBezTo>
                  <a:pt x="2250" y="321"/>
                  <a:pt x="2241" y="322"/>
                  <a:pt x="2205" y="353"/>
                </a:cubicBezTo>
                <a:cubicBezTo>
                  <a:pt x="2168" y="385"/>
                  <a:pt x="2167" y="386"/>
                  <a:pt x="2163" y="574"/>
                </a:cubicBezTo>
                <a:lnTo>
                  <a:pt x="2159" y="762"/>
                </a:lnTo>
                <a:lnTo>
                  <a:pt x="2205" y="808"/>
                </a:lnTo>
                <a:lnTo>
                  <a:pt x="2251" y="855"/>
                </a:lnTo>
                <a:lnTo>
                  <a:pt x="2546" y="855"/>
                </a:lnTo>
                <a:cubicBezTo>
                  <a:pt x="2708" y="855"/>
                  <a:pt x="2841" y="852"/>
                  <a:pt x="2841" y="848"/>
                </a:cubicBez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175" name="Freeform 75">
            <a:extLst>
              <a:ext uri="{FF2B5EF4-FFF2-40B4-BE49-F238E27FC236}">
                <a16:creationId xmlns:a16="http://schemas.microsoft.com/office/drawing/2014/main" id="{B16297DC-BE5D-44BD-988C-3ADD3D29FB10}"/>
              </a:ext>
            </a:extLst>
          </p:cNvPr>
          <p:cNvSpPr>
            <a:spLocks noEditPoints="1"/>
          </p:cNvSpPr>
          <p:nvPr/>
        </p:nvSpPr>
        <p:spPr bwMode="auto">
          <a:xfrm>
            <a:off x="2682809" y="2236655"/>
            <a:ext cx="190429" cy="267916"/>
          </a:xfrm>
          <a:custGeom>
            <a:avLst/>
            <a:gdLst>
              <a:gd name="T0" fmla="*/ 1693 w 2458"/>
              <a:gd name="T1" fmla="*/ 1955 h 3456"/>
              <a:gd name="T2" fmla="*/ 1606 w 2458"/>
              <a:gd name="T3" fmla="*/ 2061 h 3456"/>
              <a:gd name="T4" fmla="*/ 1606 w 2458"/>
              <a:gd name="T5" fmla="*/ 2203 h 3456"/>
              <a:gd name="T6" fmla="*/ 1693 w 2458"/>
              <a:gd name="T7" fmla="*/ 2308 h 3456"/>
              <a:gd name="T8" fmla="*/ 1831 w 2458"/>
              <a:gd name="T9" fmla="*/ 2333 h 3456"/>
              <a:gd name="T10" fmla="*/ 1950 w 2458"/>
              <a:gd name="T11" fmla="*/ 2263 h 3456"/>
              <a:gd name="T12" fmla="*/ 1998 w 2458"/>
              <a:gd name="T13" fmla="*/ 2132 h 3456"/>
              <a:gd name="T14" fmla="*/ 1950 w 2458"/>
              <a:gd name="T15" fmla="*/ 2000 h 3456"/>
              <a:gd name="T16" fmla="*/ 1831 w 2458"/>
              <a:gd name="T17" fmla="*/ 1931 h 3456"/>
              <a:gd name="T18" fmla="*/ 518 w 2458"/>
              <a:gd name="T19" fmla="*/ 1941 h 3456"/>
              <a:gd name="T20" fmla="*/ 414 w 2458"/>
              <a:gd name="T21" fmla="*/ 2029 h 3456"/>
              <a:gd name="T22" fmla="*/ 390 w 2458"/>
              <a:gd name="T23" fmla="*/ 2169 h 3456"/>
              <a:gd name="T24" fmla="*/ 459 w 2458"/>
              <a:gd name="T25" fmla="*/ 2288 h 3456"/>
              <a:gd name="T26" fmla="*/ 589 w 2458"/>
              <a:gd name="T27" fmla="*/ 2336 h 3456"/>
              <a:gd name="T28" fmla="*/ 720 w 2458"/>
              <a:gd name="T29" fmla="*/ 2288 h 3456"/>
              <a:gd name="T30" fmla="*/ 788 w 2458"/>
              <a:gd name="T31" fmla="*/ 2169 h 3456"/>
              <a:gd name="T32" fmla="*/ 764 w 2458"/>
              <a:gd name="T33" fmla="*/ 2029 h 3456"/>
              <a:gd name="T34" fmla="*/ 659 w 2458"/>
              <a:gd name="T35" fmla="*/ 1941 h 3456"/>
              <a:gd name="T36" fmla="*/ 618 w 2458"/>
              <a:gd name="T37" fmla="*/ 512 h 3456"/>
              <a:gd name="T38" fmla="*/ 523 w 2458"/>
              <a:gd name="T39" fmla="*/ 521 h 3456"/>
              <a:gd name="T40" fmla="*/ 441 w 2458"/>
              <a:gd name="T41" fmla="*/ 557 h 3456"/>
              <a:gd name="T42" fmla="*/ 398 w 2458"/>
              <a:gd name="T43" fmla="*/ 637 h 3456"/>
              <a:gd name="T44" fmla="*/ 400 w 2458"/>
              <a:gd name="T45" fmla="*/ 1069 h 3456"/>
              <a:gd name="T46" fmla="*/ 434 w 2458"/>
              <a:gd name="T47" fmla="*/ 1199 h 3456"/>
              <a:gd name="T48" fmla="*/ 502 w 2458"/>
              <a:gd name="T49" fmla="*/ 1261 h 3456"/>
              <a:gd name="T50" fmla="*/ 608 w 2458"/>
              <a:gd name="T51" fmla="*/ 1280 h 3456"/>
              <a:gd name="T52" fmla="*/ 1904 w 2458"/>
              <a:gd name="T53" fmla="*/ 1276 h 3456"/>
              <a:gd name="T54" fmla="*/ 1965 w 2458"/>
              <a:gd name="T55" fmla="*/ 1229 h 3456"/>
              <a:gd name="T56" fmla="*/ 1983 w 2458"/>
              <a:gd name="T57" fmla="*/ 1114 h 3456"/>
              <a:gd name="T58" fmla="*/ 1984 w 2458"/>
              <a:gd name="T59" fmla="*/ 668 h 3456"/>
              <a:gd name="T60" fmla="*/ 1965 w 2458"/>
              <a:gd name="T61" fmla="*/ 558 h 3456"/>
              <a:gd name="T62" fmla="*/ 1901 w 2458"/>
              <a:gd name="T63" fmla="*/ 516 h 3456"/>
              <a:gd name="T64" fmla="*/ 904 w 2458"/>
              <a:gd name="T65" fmla="*/ 128 h 3456"/>
              <a:gd name="T66" fmla="*/ 844 w 2458"/>
              <a:gd name="T67" fmla="*/ 172 h 3456"/>
              <a:gd name="T68" fmla="*/ 853 w 2458"/>
              <a:gd name="T69" fmla="*/ 358 h 3456"/>
              <a:gd name="T70" fmla="*/ 1412 w 2458"/>
              <a:gd name="T71" fmla="*/ 384 h 3456"/>
              <a:gd name="T72" fmla="*/ 1472 w 2458"/>
              <a:gd name="T73" fmla="*/ 341 h 3456"/>
              <a:gd name="T74" fmla="*/ 1463 w 2458"/>
              <a:gd name="T75" fmla="*/ 154 h 3456"/>
              <a:gd name="T76" fmla="*/ 904 w 2458"/>
              <a:gd name="T77" fmla="*/ 128 h 3456"/>
              <a:gd name="T78" fmla="*/ 2054 w 2458"/>
              <a:gd name="T79" fmla="*/ 7 h 3456"/>
              <a:gd name="T80" fmla="*/ 2171 w 2458"/>
              <a:gd name="T81" fmla="*/ 61 h 3456"/>
              <a:gd name="T82" fmla="*/ 2230 w 2458"/>
              <a:gd name="T83" fmla="*/ 176 h 3456"/>
              <a:gd name="T84" fmla="*/ 2237 w 2458"/>
              <a:gd name="T85" fmla="*/ 2268 h 3456"/>
              <a:gd name="T86" fmla="*/ 2234 w 2458"/>
              <a:gd name="T87" fmla="*/ 2382 h 3456"/>
              <a:gd name="T88" fmla="*/ 2212 w 2458"/>
              <a:gd name="T89" fmla="*/ 2487 h 3456"/>
              <a:gd name="T90" fmla="*/ 2157 w 2458"/>
              <a:gd name="T91" fmla="*/ 2569 h 3456"/>
              <a:gd name="T92" fmla="*/ 2051 w 2458"/>
              <a:gd name="T93" fmla="*/ 2617 h 3456"/>
              <a:gd name="T94" fmla="*/ 2458 w 2458"/>
              <a:gd name="T95" fmla="*/ 3456 h 3456"/>
              <a:gd name="T96" fmla="*/ 289 w 2458"/>
              <a:gd name="T97" fmla="*/ 3456 h 3456"/>
              <a:gd name="T98" fmla="*/ 420 w 2458"/>
              <a:gd name="T99" fmla="*/ 2623 h 3456"/>
              <a:gd name="T100" fmla="*/ 305 w 2458"/>
              <a:gd name="T101" fmla="*/ 2615 h 3456"/>
              <a:gd name="T102" fmla="*/ 209 w 2458"/>
              <a:gd name="T103" fmla="*/ 2586 h 3456"/>
              <a:gd name="T104" fmla="*/ 134 w 2458"/>
              <a:gd name="T105" fmla="*/ 2516 h 3456"/>
              <a:gd name="T106" fmla="*/ 90 w 2458"/>
              <a:gd name="T107" fmla="*/ 2386 h 3456"/>
              <a:gd name="T108" fmla="*/ 79 w 2458"/>
              <a:gd name="T109" fmla="*/ 256 h 3456"/>
              <a:gd name="T110" fmla="*/ 103 w 2458"/>
              <a:gd name="T111" fmla="*/ 115 h 3456"/>
              <a:gd name="T112" fmla="*/ 171 w 2458"/>
              <a:gd name="T113" fmla="*/ 37 h 3456"/>
              <a:gd name="T114" fmla="*/ 276 w 2458"/>
              <a:gd name="T115" fmla="*/ 7 h 3456"/>
              <a:gd name="T116" fmla="*/ 412 w 2458"/>
              <a:gd name="T117" fmla="*/ 0 h 3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458" h="3456">
                <a:moveTo>
                  <a:pt x="1795" y="1928"/>
                </a:moveTo>
                <a:lnTo>
                  <a:pt x="1759" y="1931"/>
                </a:lnTo>
                <a:lnTo>
                  <a:pt x="1725" y="1941"/>
                </a:lnTo>
                <a:lnTo>
                  <a:pt x="1693" y="1955"/>
                </a:lnTo>
                <a:lnTo>
                  <a:pt x="1664" y="1976"/>
                </a:lnTo>
                <a:lnTo>
                  <a:pt x="1641" y="2000"/>
                </a:lnTo>
                <a:lnTo>
                  <a:pt x="1620" y="2029"/>
                </a:lnTo>
                <a:lnTo>
                  <a:pt x="1606" y="2061"/>
                </a:lnTo>
                <a:lnTo>
                  <a:pt x="1596" y="2095"/>
                </a:lnTo>
                <a:lnTo>
                  <a:pt x="1593" y="2132"/>
                </a:lnTo>
                <a:lnTo>
                  <a:pt x="1596" y="2169"/>
                </a:lnTo>
                <a:lnTo>
                  <a:pt x="1606" y="2203"/>
                </a:lnTo>
                <a:lnTo>
                  <a:pt x="1620" y="2235"/>
                </a:lnTo>
                <a:lnTo>
                  <a:pt x="1641" y="2263"/>
                </a:lnTo>
                <a:lnTo>
                  <a:pt x="1664" y="2288"/>
                </a:lnTo>
                <a:lnTo>
                  <a:pt x="1693" y="2308"/>
                </a:lnTo>
                <a:lnTo>
                  <a:pt x="1725" y="2323"/>
                </a:lnTo>
                <a:lnTo>
                  <a:pt x="1759" y="2333"/>
                </a:lnTo>
                <a:lnTo>
                  <a:pt x="1795" y="2336"/>
                </a:lnTo>
                <a:lnTo>
                  <a:pt x="1831" y="2333"/>
                </a:lnTo>
                <a:lnTo>
                  <a:pt x="1866" y="2323"/>
                </a:lnTo>
                <a:lnTo>
                  <a:pt x="1897" y="2308"/>
                </a:lnTo>
                <a:lnTo>
                  <a:pt x="1925" y="2288"/>
                </a:lnTo>
                <a:lnTo>
                  <a:pt x="1950" y="2263"/>
                </a:lnTo>
                <a:lnTo>
                  <a:pt x="1970" y="2235"/>
                </a:lnTo>
                <a:lnTo>
                  <a:pt x="1985" y="2203"/>
                </a:lnTo>
                <a:lnTo>
                  <a:pt x="1995" y="2169"/>
                </a:lnTo>
                <a:lnTo>
                  <a:pt x="1998" y="2132"/>
                </a:lnTo>
                <a:lnTo>
                  <a:pt x="1995" y="2095"/>
                </a:lnTo>
                <a:lnTo>
                  <a:pt x="1985" y="2061"/>
                </a:lnTo>
                <a:lnTo>
                  <a:pt x="1970" y="2029"/>
                </a:lnTo>
                <a:lnTo>
                  <a:pt x="1950" y="2000"/>
                </a:lnTo>
                <a:lnTo>
                  <a:pt x="1925" y="1976"/>
                </a:lnTo>
                <a:lnTo>
                  <a:pt x="1897" y="1955"/>
                </a:lnTo>
                <a:lnTo>
                  <a:pt x="1866" y="1941"/>
                </a:lnTo>
                <a:lnTo>
                  <a:pt x="1831" y="1931"/>
                </a:lnTo>
                <a:lnTo>
                  <a:pt x="1795" y="1928"/>
                </a:lnTo>
                <a:close/>
                <a:moveTo>
                  <a:pt x="589" y="1928"/>
                </a:moveTo>
                <a:lnTo>
                  <a:pt x="552" y="1931"/>
                </a:lnTo>
                <a:lnTo>
                  <a:pt x="518" y="1941"/>
                </a:lnTo>
                <a:lnTo>
                  <a:pt x="487" y="1955"/>
                </a:lnTo>
                <a:lnTo>
                  <a:pt x="459" y="1976"/>
                </a:lnTo>
                <a:lnTo>
                  <a:pt x="434" y="2000"/>
                </a:lnTo>
                <a:lnTo>
                  <a:pt x="414" y="2029"/>
                </a:lnTo>
                <a:lnTo>
                  <a:pt x="399" y="2061"/>
                </a:lnTo>
                <a:lnTo>
                  <a:pt x="390" y="2095"/>
                </a:lnTo>
                <a:lnTo>
                  <a:pt x="386" y="2132"/>
                </a:lnTo>
                <a:lnTo>
                  <a:pt x="390" y="2169"/>
                </a:lnTo>
                <a:lnTo>
                  <a:pt x="399" y="2203"/>
                </a:lnTo>
                <a:lnTo>
                  <a:pt x="414" y="2235"/>
                </a:lnTo>
                <a:lnTo>
                  <a:pt x="434" y="2263"/>
                </a:lnTo>
                <a:lnTo>
                  <a:pt x="459" y="2288"/>
                </a:lnTo>
                <a:lnTo>
                  <a:pt x="487" y="2308"/>
                </a:lnTo>
                <a:lnTo>
                  <a:pt x="518" y="2323"/>
                </a:lnTo>
                <a:lnTo>
                  <a:pt x="552" y="2333"/>
                </a:lnTo>
                <a:lnTo>
                  <a:pt x="589" y="2336"/>
                </a:lnTo>
                <a:lnTo>
                  <a:pt x="625" y="2333"/>
                </a:lnTo>
                <a:lnTo>
                  <a:pt x="659" y="2323"/>
                </a:lnTo>
                <a:lnTo>
                  <a:pt x="690" y="2308"/>
                </a:lnTo>
                <a:lnTo>
                  <a:pt x="720" y="2288"/>
                </a:lnTo>
                <a:lnTo>
                  <a:pt x="743" y="2263"/>
                </a:lnTo>
                <a:lnTo>
                  <a:pt x="764" y="2235"/>
                </a:lnTo>
                <a:lnTo>
                  <a:pt x="778" y="2203"/>
                </a:lnTo>
                <a:lnTo>
                  <a:pt x="788" y="2169"/>
                </a:lnTo>
                <a:lnTo>
                  <a:pt x="791" y="2132"/>
                </a:lnTo>
                <a:lnTo>
                  <a:pt x="788" y="2095"/>
                </a:lnTo>
                <a:lnTo>
                  <a:pt x="778" y="2061"/>
                </a:lnTo>
                <a:lnTo>
                  <a:pt x="764" y="2029"/>
                </a:lnTo>
                <a:lnTo>
                  <a:pt x="743" y="2000"/>
                </a:lnTo>
                <a:lnTo>
                  <a:pt x="720" y="1976"/>
                </a:lnTo>
                <a:lnTo>
                  <a:pt x="690" y="1955"/>
                </a:lnTo>
                <a:lnTo>
                  <a:pt x="659" y="1941"/>
                </a:lnTo>
                <a:lnTo>
                  <a:pt x="625" y="1931"/>
                </a:lnTo>
                <a:lnTo>
                  <a:pt x="589" y="1928"/>
                </a:lnTo>
                <a:close/>
                <a:moveTo>
                  <a:pt x="641" y="512"/>
                </a:moveTo>
                <a:lnTo>
                  <a:pt x="618" y="512"/>
                </a:lnTo>
                <a:lnTo>
                  <a:pt x="594" y="513"/>
                </a:lnTo>
                <a:lnTo>
                  <a:pt x="570" y="514"/>
                </a:lnTo>
                <a:lnTo>
                  <a:pt x="546" y="516"/>
                </a:lnTo>
                <a:lnTo>
                  <a:pt x="523" y="521"/>
                </a:lnTo>
                <a:lnTo>
                  <a:pt x="500" y="526"/>
                </a:lnTo>
                <a:lnTo>
                  <a:pt x="479" y="534"/>
                </a:lnTo>
                <a:lnTo>
                  <a:pt x="459" y="545"/>
                </a:lnTo>
                <a:lnTo>
                  <a:pt x="441" y="557"/>
                </a:lnTo>
                <a:lnTo>
                  <a:pt x="426" y="572"/>
                </a:lnTo>
                <a:lnTo>
                  <a:pt x="413" y="591"/>
                </a:lnTo>
                <a:lnTo>
                  <a:pt x="405" y="612"/>
                </a:lnTo>
                <a:lnTo>
                  <a:pt x="398" y="637"/>
                </a:lnTo>
                <a:lnTo>
                  <a:pt x="396" y="668"/>
                </a:lnTo>
                <a:lnTo>
                  <a:pt x="396" y="972"/>
                </a:lnTo>
                <a:lnTo>
                  <a:pt x="397" y="1024"/>
                </a:lnTo>
                <a:lnTo>
                  <a:pt x="400" y="1069"/>
                </a:lnTo>
                <a:lnTo>
                  <a:pt x="406" y="1110"/>
                </a:lnTo>
                <a:lnTo>
                  <a:pt x="412" y="1145"/>
                </a:lnTo>
                <a:lnTo>
                  <a:pt x="422" y="1174"/>
                </a:lnTo>
                <a:lnTo>
                  <a:pt x="434" y="1199"/>
                </a:lnTo>
                <a:lnTo>
                  <a:pt x="447" y="1220"/>
                </a:lnTo>
                <a:lnTo>
                  <a:pt x="463" y="1237"/>
                </a:lnTo>
                <a:lnTo>
                  <a:pt x="482" y="1252"/>
                </a:lnTo>
                <a:lnTo>
                  <a:pt x="502" y="1261"/>
                </a:lnTo>
                <a:lnTo>
                  <a:pt x="525" y="1269"/>
                </a:lnTo>
                <a:lnTo>
                  <a:pt x="550" y="1275"/>
                </a:lnTo>
                <a:lnTo>
                  <a:pt x="578" y="1278"/>
                </a:lnTo>
                <a:lnTo>
                  <a:pt x="608" y="1280"/>
                </a:lnTo>
                <a:lnTo>
                  <a:pt x="641" y="1280"/>
                </a:lnTo>
                <a:lnTo>
                  <a:pt x="1847" y="1280"/>
                </a:lnTo>
                <a:lnTo>
                  <a:pt x="1878" y="1279"/>
                </a:lnTo>
                <a:lnTo>
                  <a:pt x="1904" y="1276"/>
                </a:lnTo>
                <a:lnTo>
                  <a:pt x="1925" y="1268"/>
                </a:lnTo>
                <a:lnTo>
                  <a:pt x="1943" y="1259"/>
                </a:lnTo>
                <a:lnTo>
                  <a:pt x="1956" y="1245"/>
                </a:lnTo>
                <a:lnTo>
                  <a:pt x="1965" y="1229"/>
                </a:lnTo>
                <a:lnTo>
                  <a:pt x="1973" y="1207"/>
                </a:lnTo>
                <a:lnTo>
                  <a:pt x="1978" y="1181"/>
                </a:lnTo>
                <a:lnTo>
                  <a:pt x="1982" y="1150"/>
                </a:lnTo>
                <a:lnTo>
                  <a:pt x="1983" y="1114"/>
                </a:lnTo>
                <a:lnTo>
                  <a:pt x="1984" y="1073"/>
                </a:lnTo>
                <a:lnTo>
                  <a:pt x="1984" y="1026"/>
                </a:lnTo>
                <a:lnTo>
                  <a:pt x="1984" y="972"/>
                </a:lnTo>
                <a:lnTo>
                  <a:pt x="1984" y="668"/>
                </a:lnTo>
                <a:lnTo>
                  <a:pt x="1983" y="633"/>
                </a:lnTo>
                <a:lnTo>
                  <a:pt x="1979" y="603"/>
                </a:lnTo>
                <a:lnTo>
                  <a:pt x="1974" y="579"/>
                </a:lnTo>
                <a:lnTo>
                  <a:pt x="1965" y="558"/>
                </a:lnTo>
                <a:lnTo>
                  <a:pt x="1954" y="543"/>
                </a:lnTo>
                <a:lnTo>
                  <a:pt x="1940" y="531"/>
                </a:lnTo>
                <a:lnTo>
                  <a:pt x="1923" y="522"/>
                </a:lnTo>
                <a:lnTo>
                  <a:pt x="1901" y="516"/>
                </a:lnTo>
                <a:lnTo>
                  <a:pt x="1877" y="513"/>
                </a:lnTo>
                <a:lnTo>
                  <a:pt x="1847" y="512"/>
                </a:lnTo>
                <a:lnTo>
                  <a:pt x="641" y="512"/>
                </a:lnTo>
                <a:close/>
                <a:moveTo>
                  <a:pt x="904" y="128"/>
                </a:moveTo>
                <a:lnTo>
                  <a:pt x="884" y="131"/>
                </a:lnTo>
                <a:lnTo>
                  <a:pt x="867" y="140"/>
                </a:lnTo>
                <a:lnTo>
                  <a:pt x="853" y="154"/>
                </a:lnTo>
                <a:lnTo>
                  <a:pt x="844" y="172"/>
                </a:lnTo>
                <a:lnTo>
                  <a:pt x="841" y="192"/>
                </a:lnTo>
                <a:lnTo>
                  <a:pt x="841" y="320"/>
                </a:lnTo>
                <a:lnTo>
                  <a:pt x="844" y="341"/>
                </a:lnTo>
                <a:lnTo>
                  <a:pt x="853" y="358"/>
                </a:lnTo>
                <a:lnTo>
                  <a:pt x="867" y="371"/>
                </a:lnTo>
                <a:lnTo>
                  <a:pt x="884" y="381"/>
                </a:lnTo>
                <a:lnTo>
                  <a:pt x="904" y="384"/>
                </a:lnTo>
                <a:lnTo>
                  <a:pt x="1412" y="384"/>
                </a:lnTo>
                <a:lnTo>
                  <a:pt x="1432" y="381"/>
                </a:lnTo>
                <a:lnTo>
                  <a:pt x="1449" y="371"/>
                </a:lnTo>
                <a:lnTo>
                  <a:pt x="1463" y="358"/>
                </a:lnTo>
                <a:lnTo>
                  <a:pt x="1472" y="341"/>
                </a:lnTo>
                <a:lnTo>
                  <a:pt x="1475" y="320"/>
                </a:lnTo>
                <a:lnTo>
                  <a:pt x="1475" y="192"/>
                </a:lnTo>
                <a:lnTo>
                  <a:pt x="1472" y="172"/>
                </a:lnTo>
                <a:lnTo>
                  <a:pt x="1463" y="154"/>
                </a:lnTo>
                <a:lnTo>
                  <a:pt x="1449" y="140"/>
                </a:lnTo>
                <a:lnTo>
                  <a:pt x="1432" y="131"/>
                </a:lnTo>
                <a:lnTo>
                  <a:pt x="1412" y="128"/>
                </a:lnTo>
                <a:lnTo>
                  <a:pt x="904" y="128"/>
                </a:lnTo>
                <a:close/>
                <a:moveTo>
                  <a:pt x="450" y="0"/>
                </a:moveTo>
                <a:lnTo>
                  <a:pt x="1974" y="0"/>
                </a:lnTo>
                <a:lnTo>
                  <a:pt x="2016" y="1"/>
                </a:lnTo>
                <a:lnTo>
                  <a:pt x="2054" y="7"/>
                </a:lnTo>
                <a:lnTo>
                  <a:pt x="2089" y="16"/>
                </a:lnTo>
                <a:lnTo>
                  <a:pt x="2120" y="28"/>
                </a:lnTo>
                <a:lnTo>
                  <a:pt x="2147" y="43"/>
                </a:lnTo>
                <a:lnTo>
                  <a:pt x="2171" y="61"/>
                </a:lnTo>
                <a:lnTo>
                  <a:pt x="2192" y="84"/>
                </a:lnTo>
                <a:lnTo>
                  <a:pt x="2208" y="112"/>
                </a:lnTo>
                <a:lnTo>
                  <a:pt x="2221" y="141"/>
                </a:lnTo>
                <a:lnTo>
                  <a:pt x="2230" y="176"/>
                </a:lnTo>
                <a:lnTo>
                  <a:pt x="2236" y="214"/>
                </a:lnTo>
                <a:lnTo>
                  <a:pt x="2237" y="256"/>
                </a:lnTo>
                <a:lnTo>
                  <a:pt x="2237" y="2240"/>
                </a:lnTo>
                <a:lnTo>
                  <a:pt x="2237" y="2268"/>
                </a:lnTo>
                <a:lnTo>
                  <a:pt x="2237" y="2297"/>
                </a:lnTo>
                <a:lnTo>
                  <a:pt x="2237" y="2325"/>
                </a:lnTo>
                <a:lnTo>
                  <a:pt x="2236" y="2353"/>
                </a:lnTo>
                <a:lnTo>
                  <a:pt x="2234" y="2382"/>
                </a:lnTo>
                <a:lnTo>
                  <a:pt x="2230" y="2409"/>
                </a:lnTo>
                <a:lnTo>
                  <a:pt x="2226" y="2436"/>
                </a:lnTo>
                <a:lnTo>
                  <a:pt x="2220" y="2461"/>
                </a:lnTo>
                <a:lnTo>
                  <a:pt x="2212" y="2487"/>
                </a:lnTo>
                <a:lnTo>
                  <a:pt x="2202" y="2509"/>
                </a:lnTo>
                <a:lnTo>
                  <a:pt x="2189" y="2531"/>
                </a:lnTo>
                <a:lnTo>
                  <a:pt x="2174" y="2552"/>
                </a:lnTo>
                <a:lnTo>
                  <a:pt x="2157" y="2569"/>
                </a:lnTo>
                <a:lnTo>
                  <a:pt x="2135" y="2586"/>
                </a:lnTo>
                <a:lnTo>
                  <a:pt x="2110" y="2599"/>
                </a:lnTo>
                <a:lnTo>
                  <a:pt x="2082" y="2610"/>
                </a:lnTo>
                <a:lnTo>
                  <a:pt x="2051" y="2617"/>
                </a:lnTo>
                <a:lnTo>
                  <a:pt x="2014" y="2623"/>
                </a:lnTo>
                <a:lnTo>
                  <a:pt x="1974" y="2624"/>
                </a:lnTo>
                <a:lnTo>
                  <a:pt x="1920" y="2624"/>
                </a:lnTo>
                <a:lnTo>
                  <a:pt x="2458" y="3456"/>
                </a:lnTo>
                <a:lnTo>
                  <a:pt x="2133" y="3456"/>
                </a:lnTo>
                <a:lnTo>
                  <a:pt x="1754" y="2876"/>
                </a:lnTo>
                <a:lnTo>
                  <a:pt x="681" y="2859"/>
                </a:lnTo>
                <a:lnTo>
                  <a:pt x="289" y="3456"/>
                </a:lnTo>
                <a:lnTo>
                  <a:pt x="0" y="3456"/>
                </a:lnTo>
                <a:lnTo>
                  <a:pt x="545" y="2624"/>
                </a:lnTo>
                <a:lnTo>
                  <a:pt x="450" y="2624"/>
                </a:lnTo>
                <a:lnTo>
                  <a:pt x="420" y="2623"/>
                </a:lnTo>
                <a:lnTo>
                  <a:pt x="390" y="2623"/>
                </a:lnTo>
                <a:lnTo>
                  <a:pt x="361" y="2621"/>
                </a:lnTo>
                <a:lnTo>
                  <a:pt x="333" y="2619"/>
                </a:lnTo>
                <a:lnTo>
                  <a:pt x="305" y="2615"/>
                </a:lnTo>
                <a:lnTo>
                  <a:pt x="279" y="2611"/>
                </a:lnTo>
                <a:lnTo>
                  <a:pt x="254" y="2604"/>
                </a:lnTo>
                <a:lnTo>
                  <a:pt x="230" y="2597"/>
                </a:lnTo>
                <a:lnTo>
                  <a:pt x="209" y="2586"/>
                </a:lnTo>
                <a:lnTo>
                  <a:pt x="187" y="2573"/>
                </a:lnTo>
                <a:lnTo>
                  <a:pt x="168" y="2557"/>
                </a:lnTo>
                <a:lnTo>
                  <a:pt x="150" y="2538"/>
                </a:lnTo>
                <a:lnTo>
                  <a:pt x="134" y="2516"/>
                </a:lnTo>
                <a:lnTo>
                  <a:pt x="120" y="2490"/>
                </a:lnTo>
                <a:lnTo>
                  <a:pt x="108" y="2459"/>
                </a:lnTo>
                <a:lnTo>
                  <a:pt x="97" y="2425"/>
                </a:lnTo>
                <a:lnTo>
                  <a:pt x="90" y="2386"/>
                </a:lnTo>
                <a:lnTo>
                  <a:pt x="83" y="2343"/>
                </a:lnTo>
                <a:lnTo>
                  <a:pt x="80" y="2295"/>
                </a:lnTo>
                <a:lnTo>
                  <a:pt x="79" y="2240"/>
                </a:lnTo>
                <a:lnTo>
                  <a:pt x="79" y="256"/>
                </a:lnTo>
                <a:lnTo>
                  <a:pt x="80" y="213"/>
                </a:lnTo>
                <a:lnTo>
                  <a:pt x="84" y="176"/>
                </a:lnTo>
                <a:lnTo>
                  <a:pt x="92" y="143"/>
                </a:lnTo>
                <a:lnTo>
                  <a:pt x="103" y="115"/>
                </a:lnTo>
                <a:lnTo>
                  <a:pt x="116" y="90"/>
                </a:lnTo>
                <a:lnTo>
                  <a:pt x="132" y="69"/>
                </a:lnTo>
                <a:lnTo>
                  <a:pt x="149" y="52"/>
                </a:lnTo>
                <a:lnTo>
                  <a:pt x="171" y="37"/>
                </a:lnTo>
                <a:lnTo>
                  <a:pt x="194" y="27"/>
                </a:lnTo>
                <a:lnTo>
                  <a:pt x="219" y="18"/>
                </a:lnTo>
                <a:lnTo>
                  <a:pt x="247" y="11"/>
                </a:lnTo>
                <a:lnTo>
                  <a:pt x="276" y="7"/>
                </a:lnTo>
                <a:lnTo>
                  <a:pt x="307" y="4"/>
                </a:lnTo>
                <a:lnTo>
                  <a:pt x="340" y="1"/>
                </a:lnTo>
                <a:lnTo>
                  <a:pt x="375" y="0"/>
                </a:lnTo>
                <a:lnTo>
                  <a:pt x="412" y="0"/>
                </a:lnTo>
                <a:lnTo>
                  <a:pt x="450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176" name="Freeform 93">
            <a:extLst>
              <a:ext uri="{FF2B5EF4-FFF2-40B4-BE49-F238E27FC236}">
                <a16:creationId xmlns:a16="http://schemas.microsoft.com/office/drawing/2014/main" id="{D259F853-3D39-48FD-A42D-D4FC0279CA82}"/>
              </a:ext>
            </a:extLst>
          </p:cNvPr>
          <p:cNvSpPr>
            <a:spLocks noEditPoints="1"/>
          </p:cNvSpPr>
          <p:nvPr/>
        </p:nvSpPr>
        <p:spPr bwMode="auto">
          <a:xfrm>
            <a:off x="4089933" y="2548134"/>
            <a:ext cx="402611" cy="213383"/>
          </a:xfrm>
          <a:custGeom>
            <a:avLst/>
            <a:gdLst>
              <a:gd name="T0" fmla="*/ 4513 w 5118"/>
              <a:gd name="T1" fmla="*/ 3375 h 3614"/>
              <a:gd name="T2" fmla="*/ 4400 w 5118"/>
              <a:gd name="T3" fmla="*/ 3515 h 3614"/>
              <a:gd name="T4" fmla="*/ 4242 w 5118"/>
              <a:gd name="T5" fmla="*/ 3597 h 3614"/>
              <a:gd name="T6" fmla="*/ 560 w 5118"/>
              <a:gd name="T7" fmla="*/ 3614 h 3614"/>
              <a:gd name="T8" fmla="*/ 492 w 5118"/>
              <a:gd name="T9" fmla="*/ 3582 h 3614"/>
              <a:gd name="T10" fmla="*/ 473 w 5118"/>
              <a:gd name="T11" fmla="*/ 3512 h 3614"/>
              <a:gd name="T12" fmla="*/ 498 w 5118"/>
              <a:gd name="T13" fmla="*/ 3447 h 3614"/>
              <a:gd name="T14" fmla="*/ 499 w 5118"/>
              <a:gd name="T15" fmla="*/ 3333 h 3614"/>
              <a:gd name="T16" fmla="*/ 445 w 5118"/>
              <a:gd name="T17" fmla="*/ 3234 h 3614"/>
              <a:gd name="T18" fmla="*/ 352 w 5118"/>
              <a:gd name="T19" fmla="*/ 3158 h 3614"/>
              <a:gd name="T20" fmla="*/ 209 w 5118"/>
              <a:gd name="T21" fmla="*/ 2993 h 3614"/>
              <a:gd name="T22" fmla="*/ 119 w 5118"/>
              <a:gd name="T23" fmla="*/ 2795 h 3614"/>
              <a:gd name="T24" fmla="*/ 88 w 5118"/>
              <a:gd name="T25" fmla="*/ 2577 h 3614"/>
              <a:gd name="T26" fmla="*/ 3260 w 5118"/>
              <a:gd name="T27" fmla="*/ 2290 h 3614"/>
              <a:gd name="T28" fmla="*/ 3297 w 5118"/>
              <a:gd name="T29" fmla="*/ 2180 h 3614"/>
              <a:gd name="T30" fmla="*/ 3393 w 5118"/>
              <a:gd name="T31" fmla="*/ 2120 h 3614"/>
              <a:gd name="T32" fmla="*/ 699 w 5118"/>
              <a:gd name="T33" fmla="*/ 1870 h 3614"/>
              <a:gd name="T34" fmla="*/ 699 w 5118"/>
              <a:gd name="T35" fmla="*/ 1606 h 3614"/>
              <a:gd name="T36" fmla="*/ 4169 w 5118"/>
              <a:gd name="T37" fmla="*/ 1415 h 3614"/>
              <a:gd name="T38" fmla="*/ 4225 w 5118"/>
              <a:gd name="T39" fmla="*/ 1471 h 3614"/>
              <a:gd name="T40" fmla="*/ 4225 w 5118"/>
              <a:gd name="T41" fmla="*/ 1879 h 3614"/>
              <a:gd name="T42" fmla="*/ 4169 w 5118"/>
              <a:gd name="T43" fmla="*/ 1935 h 3614"/>
              <a:gd name="T44" fmla="*/ 3407 w 5118"/>
              <a:gd name="T45" fmla="*/ 1935 h 3614"/>
              <a:gd name="T46" fmla="*/ 3352 w 5118"/>
              <a:gd name="T47" fmla="*/ 1879 h 3614"/>
              <a:gd name="T48" fmla="*/ 3352 w 5118"/>
              <a:gd name="T49" fmla="*/ 1471 h 3614"/>
              <a:gd name="T50" fmla="*/ 3407 w 5118"/>
              <a:gd name="T51" fmla="*/ 1415 h 3614"/>
              <a:gd name="T52" fmla="*/ 2114 w 5118"/>
              <a:gd name="T53" fmla="*/ 1322 h 3614"/>
              <a:gd name="T54" fmla="*/ 2185 w 5118"/>
              <a:gd name="T55" fmla="*/ 1358 h 3614"/>
              <a:gd name="T56" fmla="*/ 2202 w 5118"/>
              <a:gd name="T57" fmla="*/ 2115 h 3614"/>
              <a:gd name="T58" fmla="*/ 2167 w 5118"/>
              <a:gd name="T59" fmla="*/ 2186 h 3614"/>
              <a:gd name="T60" fmla="*/ 1410 w 5118"/>
              <a:gd name="T61" fmla="*/ 2203 h 3614"/>
              <a:gd name="T62" fmla="*/ 1338 w 5118"/>
              <a:gd name="T63" fmla="*/ 2168 h 3614"/>
              <a:gd name="T64" fmla="*/ 1321 w 5118"/>
              <a:gd name="T65" fmla="*/ 1410 h 3614"/>
              <a:gd name="T66" fmla="*/ 1357 w 5118"/>
              <a:gd name="T67" fmla="*/ 1339 h 3614"/>
              <a:gd name="T68" fmla="*/ 699 w 5118"/>
              <a:gd name="T69" fmla="*/ 1184 h 3614"/>
              <a:gd name="T70" fmla="*/ 986 w 5118"/>
              <a:gd name="T71" fmla="*/ 1184 h 3614"/>
              <a:gd name="T72" fmla="*/ 3083 w 5118"/>
              <a:gd name="T73" fmla="*/ 1056 h 3614"/>
              <a:gd name="T74" fmla="*/ 3155 w 5118"/>
              <a:gd name="T75" fmla="*/ 1094 h 3614"/>
              <a:gd name="T76" fmla="*/ 3172 w 5118"/>
              <a:gd name="T77" fmla="*/ 2115 h 3614"/>
              <a:gd name="T78" fmla="*/ 3136 w 5118"/>
              <a:gd name="T79" fmla="*/ 2186 h 3614"/>
              <a:gd name="T80" fmla="*/ 2466 w 5118"/>
              <a:gd name="T81" fmla="*/ 2203 h 3614"/>
              <a:gd name="T82" fmla="*/ 2396 w 5118"/>
              <a:gd name="T83" fmla="*/ 2168 h 3614"/>
              <a:gd name="T84" fmla="*/ 2379 w 5118"/>
              <a:gd name="T85" fmla="*/ 1145 h 3614"/>
              <a:gd name="T86" fmla="*/ 2415 w 5118"/>
              <a:gd name="T87" fmla="*/ 1074 h 3614"/>
              <a:gd name="T88" fmla="*/ 617 w 5118"/>
              <a:gd name="T89" fmla="*/ 0 h 3614"/>
              <a:gd name="T90" fmla="*/ 932 w 5118"/>
              <a:gd name="T91" fmla="*/ 523 h 3614"/>
              <a:gd name="T92" fmla="*/ 704 w 5118"/>
              <a:gd name="T93" fmla="*/ 881 h 3614"/>
              <a:gd name="T94" fmla="*/ 1145 w 5118"/>
              <a:gd name="T95" fmla="*/ 2203 h 3614"/>
              <a:gd name="T96" fmla="*/ 0 w 5118"/>
              <a:gd name="T97" fmla="*/ 1056 h 3614"/>
              <a:gd name="T98" fmla="*/ 617 w 5118"/>
              <a:gd name="T99" fmla="*/ 625 h 3614"/>
              <a:gd name="T100" fmla="*/ 617 w 5118"/>
              <a:gd name="T101" fmla="*/ 523 h 3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18" h="3614">
                <a:moveTo>
                  <a:pt x="3434" y="2115"/>
                </a:moveTo>
                <a:lnTo>
                  <a:pt x="5118" y="2115"/>
                </a:lnTo>
                <a:lnTo>
                  <a:pt x="4513" y="3375"/>
                </a:lnTo>
                <a:lnTo>
                  <a:pt x="4482" y="3428"/>
                </a:lnTo>
                <a:lnTo>
                  <a:pt x="4443" y="3475"/>
                </a:lnTo>
                <a:lnTo>
                  <a:pt x="4400" y="3515"/>
                </a:lnTo>
                <a:lnTo>
                  <a:pt x="4352" y="3549"/>
                </a:lnTo>
                <a:lnTo>
                  <a:pt x="4299" y="3577"/>
                </a:lnTo>
                <a:lnTo>
                  <a:pt x="4242" y="3597"/>
                </a:lnTo>
                <a:lnTo>
                  <a:pt x="4183" y="3610"/>
                </a:lnTo>
                <a:lnTo>
                  <a:pt x="4122" y="3614"/>
                </a:lnTo>
                <a:lnTo>
                  <a:pt x="560" y="3614"/>
                </a:lnTo>
                <a:lnTo>
                  <a:pt x="534" y="3610"/>
                </a:lnTo>
                <a:lnTo>
                  <a:pt x="510" y="3599"/>
                </a:lnTo>
                <a:lnTo>
                  <a:pt x="492" y="3582"/>
                </a:lnTo>
                <a:lnTo>
                  <a:pt x="479" y="3561"/>
                </a:lnTo>
                <a:lnTo>
                  <a:pt x="473" y="3537"/>
                </a:lnTo>
                <a:lnTo>
                  <a:pt x="473" y="3512"/>
                </a:lnTo>
                <a:lnTo>
                  <a:pt x="481" y="3485"/>
                </a:lnTo>
                <a:lnTo>
                  <a:pt x="482" y="3482"/>
                </a:lnTo>
                <a:lnTo>
                  <a:pt x="498" y="3447"/>
                </a:lnTo>
                <a:lnTo>
                  <a:pt x="506" y="3408"/>
                </a:lnTo>
                <a:lnTo>
                  <a:pt x="506" y="3371"/>
                </a:lnTo>
                <a:lnTo>
                  <a:pt x="499" y="3333"/>
                </a:lnTo>
                <a:lnTo>
                  <a:pt x="489" y="3298"/>
                </a:lnTo>
                <a:lnTo>
                  <a:pt x="470" y="3263"/>
                </a:lnTo>
                <a:lnTo>
                  <a:pt x="445" y="3234"/>
                </a:lnTo>
                <a:lnTo>
                  <a:pt x="416" y="3208"/>
                </a:lnTo>
                <a:lnTo>
                  <a:pt x="411" y="3205"/>
                </a:lnTo>
                <a:lnTo>
                  <a:pt x="352" y="3158"/>
                </a:lnTo>
                <a:lnTo>
                  <a:pt x="299" y="3108"/>
                </a:lnTo>
                <a:lnTo>
                  <a:pt x="251" y="3052"/>
                </a:lnTo>
                <a:lnTo>
                  <a:pt x="209" y="2993"/>
                </a:lnTo>
                <a:lnTo>
                  <a:pt x="174" y="2930"/>
                </a:lnTo>
                <a:lnTo>
                  <a:pt x="143" y="2865"/>
                </a:lnTo>
                <a:lnTo>
                  <a:pt x="119" y="2795"/>
                </a:lnTo>
                <a:lnTo>
                  <a:pt x="102" y="2723"/>
                </a:lnTo>
                <a:lnTo>
                  <a:pt x="92" y="2652"/>
                </a:lnTo>
                <a:lnTo>
                  <a:pt x="88" y="2577"/>
                </a:lnTo>
                <a:lnTo>
                  <a:pt x="88" y="2292"/>
                </a:lnTo>
                <a:lnTo>
                  <a:pt x="3260" y="2292"/>
                </a:lnTo>
                <a:lnTo>
                  <a:pt x="3260" y="2290"/>
                </a:lnTo>
                <a:lnTo>
                  <a:pt x="3265" y="2250"/>
                </a:lnTo>
                <a:lnTo>
                  <a:pt x="3277" y="2213"/>
                </a:lnTo>
                <a:lnTo>
                  <a:pt x="3297" y="2180"/>
                </a:lnTo>
                <a:lnTo>
                  <a:pt x="3325" y="2154"/>
                </a:lnTo>
                <a:lnTo>
                  <a:pt x="3358" y="2134"/>
                </a:lnTo>
                <a:lnTo>
                  <a:pt x="3393" y="2120"/>
                </a:lnTo>
                <a:lnTo>
                  <a:pt x="3434" y="2115"/>
                </a:lnTo>
                <a:close/>
                <a:moveTo>
                  <a:pt x="699" y="1606"/>
                </a:moveTo>
                <a:lnTo>
                  <a:pt x="699" y="1870"/>
                </a:lnTo>
                <a:lnTo>
                  <a:pt x="986" y="1870"/>
                </a:lnTo>
                <a:lnTo>
                  <a:pt x="986" y="1606"/>
                </a:lnTo>
                <a:lnTo>
                  <a:pt x="699" y="1606"/>
                </a:lnTo>
                <a:close/>
                <a:moveTo>
                  <a:pt x="3435" y="1410"/>
                </a:moveTo>
                <a:lnTo>
                  <a:pt x="4141" y="1410"/>
                </a:lnTo>
                <a:lnTo>
                  <a:pt x="4169" y="1415"/>
                </a:lnTo>
                <a:lnTo>
                  <a:pt x="4192" y="1427"/>
                </a:lnTo>
                <a:lnTo>
                  <a:pt x="4212" y="1446"/>
                </a:lnTo>
                <a:lnTo>
                  <a:pt x="4225" y="1471"/>
                </a:lnTo>
                <a:lnTo>
                  <a:pt x="4228" y="1499"/>
                </a:lnTo>
                <a:lnTo>
                  <a:pt x="4228" y="1851"/>
                </a:lnTo>
                <a:lnTo>
                  <a:pt x="4225" y="1879"/>
                </a:lnTo>
                <a:lnTo>
                  <a:pt x="4212" y="1902"/>
                </a:lnTo>
                <a:lnTo>
                  <a:pt x="4192" y="1923"/>
                </a:lnTo>
                <a:lnTo>
                  <a:pt x="4169" y="1935"/>
                </a:lnTo>
                <a:lnTo>
                  <a:pt x="4141" y="1940"/>
                </a:lnTo>
                <a:lnTo>
                  <a:pt x="3435" y="1940"/>
                </a:lnTo>
                <a:lnTo>
                  <a:pt x="3407" y="1935"/>
                </a:lnTo>
                <a:lnTo>
                  <a:pt x="3384" y="1923"/>
                </a:lnTo>
                <a:lnTo>
                  <a:pt x="3364" y="1902"/>
                </a:lnTo>
                <a:lnTo>
                  <a:pt x="3352" y="1879"/>
                </a:lnTo>
                <a:lnTo>
                  <a:pt x="3347" y="1851"/>
                </a:lnTo>
                <a:lnTo>
                  <a:pt x="3347" y="1499"/>
                </a:lnTo>
                <a:lnTo>
                  <a:pt x="3352" y="1471"/>
                </a:lnTo>
                <a:lnTo>
                  <a:pt x="3364" y="1446"/>
                </a:lnTo>
                <a:lnTo>
                  <a:pt x="3384" y="1427"/>
                </a:lnTo>
                <a:lnTo>
                  <a:pt x="3407" y="1415"/>
                </a:lnTo>
                <a:lnTo>
                  <a:pt x="3435" y="1410"/>
                </a:lnTo>
                <a:close/>
                <a:moveTo>
                  <a:pt x="1410" y="1322"/>
                </a:moveTo>
                <a:lnTo>
                  <a:pt x="2114" y="1322"/>
                </a:lnTo>
                <a:lnTo>
                  <a:pt x="2142" y="1327"/>
                </a:lnTo>
                <a:lnTo>
                  <a:pt x="2167" y="1339"/>
                </a:lnTo>
                <a:lnTo>
                  <a:pt x="2185" y="1358"/>
                </a:lnTo>
                <a:lnTo>
                  <a:pt x="2198" y="1382"/>
                </a:lnTo>
                <a:lnTo>
                  <a:pt x="2202" y="1410"/>
                </a:lnTo>
                <a:lnTo>
                  <a:pt x="2202" y="2115"/>
                </a:lnTo>
                <a:lnTo>
                  <a:pt x="2198" y="2143"/>
                </a:lnTo>
                <a:lnTo>
                  <a:pt x="2185" y="2168"/>
                </a:lnTo>
                <a:lnTo>
                  <a:pt x="2167" y="2186"/>
                </a:lnTo>
                <a:lnTo>
                  <a:pt x="2142" y="2199"/>
                </a:lnTo>
                <a:lnTo>
                  <a:pt x="2114" y="2203"/>
                </a:lnTo>
                <a:lnTo>
                  <a:pt x="1410" y="2203"/>
                </a:lnTo>
                <a:lnTo>
                  <a:pt x="1382" y="2199"/>
                </a:lnTo>
                <a:lnTo>
                  <a:pt x="1357" y="2186"/>
                </a:lnTo>
                <a:lnTo>
                  <a:pt x="1338" y="2168"/>
                </a:lnTo>
                <a:lnTo>
                  <a:pt x="1326" y="2143"/>
                </a:lnTo>
                <a:lnTo>
                  <a:pt x="1321" y="2115"/>
                </a:lnTo>
                <a:lnTo>
                  <a:pt x="1321" y="1410"/>
                </a:lnTo>
                <a:lnTo>
                  <a:pt x="1326" y="1382"/>
                </a:lnTo>
                <a:lnTo>
                  <a:pt x="1338" y="1358"/>
                </a:lnTo>
                <a:lnTo>
                  <a:pt x="1357" y="1339"/>
                </a:lnTo>
                <a:lnTo>
                  <a:pt x="1382" y="1327"/>
                </a:lnTo>
                <a:lnTo>
                  <a:pt x="1410" y="1322"/>
                </a:lnTo>
                <a:close/>
                <a:moveTo>
                  <a:pt x="699" y="1184"/>
                </a:moveTo>
                <a:lnTo>
                  <a:pt x="699" y="1448"/>
                </a:lnTo>
                <a:lnTo>
                  <a:pt x="986" y="1448"/>
                </a:lnTo>
                <a:lnTo>
                  <a:pt x="986" y="1184"/>
                </a:lnTo>
                <a:lnTo>
                  <a:pt x="699" y="1184"/>
                </a:lnTo>
                <a:close/>
                <a:moveTo>
                  <a:pt x="2466" y="1056"/>
                </a:moveTo>
                <a:lnTo>
                  <a:pt x="3083" y="1056"/>
                </a:lnTo>
                <a:lnTo>
                  <a:pt x="3111" y="1061"/>
                </a:lnTo>
                <a:lnTo>
                  <a:pt x="3136" y="1074"/>
                </a:lnTo>
                <a:lnTo>
                  <a:pt x="3155" y="1094"/>
                </a:lnTo>
                <a:lnTo>
                  <a:pt x="3167" y="1117"/>
                </a:lnTo>
                <a:lnTo>
                  <a:pt x="3172" y="1145"/>
                </a:lnTo>
                <a:lnTo>
                  <a:pt x="3172" y="2115"/>
                </a:lnTo>
                <a:lnTo>
                  <a:pt x="3167" y="2143"/>
                </a:lnTo>
                <a:lnTo>
                  <a:pt x="3155" y="2168"/>
                </a:lnTo>
                <a:lnTo>
                  <a:pt x="3136" y="2186"/>
                </a:lnTo>
                <a:lnTo>
                  <a:pt x="3111" y="2199"/>
                </a:lnTo>
                <a:lnTo>
                  <a:pt x="3083" y="2203"/>
                </a:lnTo>
                <a:lnTo>
                  <a:pt x="2466" y="2203"/>
                </a:lnTo>
                <a:lnTo>
                  <a:pt x="2438" y="2199"/>
                </a:lnTo>
                <a:lnTo>
                  <a:pt x="2415" y="2186"/>
                </a:lnTo>
                <a:lnTo>
                  <a:pt x="2396" y="2168"/>
                </a:lnTo>
                <a:lnTo>
                  <a:pt x="2384" y="2143"/>
                </a:lnTo>
                <a:lnTo>
                  <a:pt x="2379" y="2115"/>
                </a:lnTo>
                <a:lnTo>
                  <a:pt x="2379" y="1145"/>
                </a:lnTo>
                <a:lnTo>
                  <a:pt x="2384" y="1117"/>
                </a:lnTo>
                <a:lnTo>
                  <a:pt x="2396" y="1094"/>
                </a:lnTo>
                <a:lnTo>
                  <a:pt x="2415" y="1074"/>
                </a:lnTo>
                <a:lnTo>
                  <a:pt x="2438" y="1061"/>
                </a:lnTo>
                <a:lnTo>
                  <a:pt x="2466" y="1056"/>
                </a:lnTo>
                <a:close/>
                <a:moveTo>
                  <a:pt x="617" y="0"/>
                </a:moveTo>
                <a:lnTo>
                  <a:pt x="704" y="0"/>
                </a:lnTo>
                <a:lnTo>
                  <a:pt x="704" y="523"/>
                </a:lnTo>
                <a:lnTo>
                  <a:pt x="932" y="523"/>
                </a:lnTo>
                <a:lnTo>
                  <a:pt x="932" y="625"/>
                </a:lnTo>
                <a:lnTo>
                  <a:pt x="704" y="625"/>
                </a:lnTo>
                <a:lnTo>
                  <a:pt x="704" y="881"/>
                </a:lnTo>
                <a:lnTo>
                  <a:pt x="1365" y="881"/>
                </a:lnTo>
                <a:lnTo>
                  <a:pt x="1145" y="1056"/>
                </a:lnTo>
                <a:lnTo>
                  <a:pt x="1145" y="2203"/>
                </a:lnTo>
                <a:lnTo>
                  <a:pt x="264" y="2203"/>
                </a:lnTo>
                <a:lnTo>
                  <a:pt x="264" y="1056"/>
                </a:lnTo>
                <a:lnTo>
                  <a:pt x="0" y="1056"/>
                </a:lnTo>
                <a:lnTo>
                  <a:pt x="0" y="881"/>
                </a:lnTo>
                <a:lnTo>
                  <a:pt x="617" y="881"/>
                </a:lnTo>
                <a:lnTo>
                  <a:pt x="617" y="625"/>
                </a:lnTo>
                <a:lnTo>
                  <a:pt x="389" y="625"/>
                </a:lnTo>
                <a:lnTo>
                  <a:pt x="389" y="523"/>
                </a:lnTo>
                <a:lnTo>
                  <a:pt x="617" y="523"/>
                </a:lnTo>
                <a:lnTo>
                  <a:pt x="617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192" name="Freeform 163">
            <a:extLst>
              <a:ext uri="{FF2B5EF4-FFF2-40B4-BE49-F238E27FC236}">
                <a16:creationId xmlns:a16="http://schemas.microsoft.com/office/drawing/2014/main" id="{AD839593-0062-4090-B1C0-5802F54E1D5D}"/>
              </a:ext>
            </a:extLst>
          </p:cNvPr>
          <p:cNvSpPr>
            <a:spLocks noEditPoints="1"/>
          </p:cNvSpPr>
          <p:nvPr/>
        </p:nvSpPr>
        <p:spPr bwMode="auto">
          <a:xfrm>
            <a:off x="3738260" y="2568346"/>
            <a:ext cx="316262" cy="172958"/>
          </a:xfrm>
          <a:custGeom>
            <a:avLst/>
            <a:gdLst>
              <a:gd name="T0" fmla="*/ 4000 w 5118"/>
              <a:gd name="T1" fmla="*/ 1572 h 2799"/>
              <a:gd name="T2" fmla="*/ 4031 w 5118"/>
              <a:gd name="T3" fmla="*/ 1622 h 2799"/>
              <a:gd name="T4" fmla="*/ 4111 w 5118"/>
              <a:gd name="T5" fmla="*/ 2441 h 2799"/>
              <a:gd name="T6" fmla="*/ 4049 w 5118"/>
              <a:gd name="T7" fmla="*/ 2597 h 2799"/>
              <a:gd name="T8" fmla="*/ 3930 w 5118"/>
              <a:gd name="T9" fmla="*/ 2717 h 2799"/>
              <a:gd name="T10" fmla="*/ 3763 w 5118"/>
              <a:gd name="T11" fmla="*/ 2796 h 2799"/>
              <a:gd name="T12" fmla="*/ 3677 w 5118"/>
              <a:gd name="T13" fmla="*/ 2788 h 2799"/>
              <a:gd name="T14" fmla="*/ 2973 w 5118"/>
              <a:gd name="T15" fmla="*/ 2006 h 2799"/>
              <a:gd name="T16" fmla="*/ 2958 w 5118"/>
              <a:gd name="T17" fmla="*/ 1943 h 2799"/>
              <a:gd name="T18" fmla="*/ 3001 w 5118"/>
              <a:gd name="T19" fmla="*/ 1896 h 2799"/>
              <a:gd name="T20" fmla="*/ 1044 w 5118"/>
              <a:gd name="T21" fmla="*/ 0 h 2799"/>
              <a:gd name="T22" fmla="*/ 2950 w 5118"/>
              <a:gd name="T23" fmla="*/ 485 h 2799"/>
              <a:gd name="T24" fmla="*/ 3294 w 5118"/>
              <a:gd name="T25" fmla="*/ 357 h 2799"/>
              <a:gd name="T26" fmla="*/ 3617 w 5118"/>
              <a:gd name="T27" fmla="*/ 250 h 2799"/>
              <a:gd name="T28" fmla="*/ 3905 w 5118"/>
              <a:gd name="T29" fmla="*/ 172 h 2799"/>
              <a:gd name="T30" fmla="*/ 4153 w 5118"/>
              <a:gd name="T31" fmla="*/ 127 h 2799"/>
              <a:gd name="T32" fmla="*/ 4409 w 5118"/>
              <a:gd name="T33" fmla="*/ 121 h 2799"/>
              <a:gd name="T34" fmla="*/ 3980 w 5118"/>
              <a:gd name="T35" fmla="*/ 546 h 2799"/>
              <a:gd name="T36" fmla="*/ 4901 w 5118"/>
              <a:gd name="T37" fmla="*/ 199 h 2799"/>
              <a:gd name="T38" fmla="*/ 5017 w 5118"/>
              <a:gd name="T39" fmla="*/ 262 h 2799"/>
              <a:gd name="T40" fmla="*/ 5092 w 5118"/>
              <a:gd name="T41" fmla="*/ 354 h 2799"/>
              <a:gd name="T42" fmla="*/ 5118 w 5118"/>
              <a:gd name="T43" fmla="*/ 478 h 2799"/>
              <a:gd name="T44" fmla="*/ 5071 w 5118"/>
              <a:gd name="T45" fmla="*/ 642 h 2799"/>
              <a:gd name="T46" fmla="*/ 4941 w 5118"/>
              <a:gd name="T47" fmla="*/ 805 h 2799"/>
              <a:gd name="T48" fmla="*/ 4736 w 5118"/>
              <a:gd name="T49" fmla="*/ 968 h 2799"/>
              <a:gd name="T50" fmla="*/ 4471 w 5118"/>
              <a:gd name="T51" fmla="*/ 1129 h 2799"/>
              <a:gd name="T52" fmla="*/ 4153 w 5118"/>
              <a:gd name="T53" fmla="*/ 1285 h 2799"/>
              <a:gd name="T54" fmla="*/ 3797 w 5118"/>
              <a:gd name="T55" fmla="*/ 1437 h 2799"/>
              <a:gd name="T56" fmla="*/ 3412 w 5118"/>
              <a:gd name="T57" fmla="*/ 1583 h 2799"/>
              <a:gd name="T58" fmla="*/ 3012 w 5118"/>
              <a:gd name="T59" fmla="*/ 1720 h 2799"/>
              <a:gd name="T60" fmla="*/ 2604 w 5118"/>
              <a:gd name="T61" fmla="*/ 1847 h 2799"/>
              <a:gd name="T62" fmla="*/ 2204 w 5118"/>
              <a:gd name="T63" fmla="*/ 1961 h 2799"/>
              <a:gd name="T64" fmla="*/ 1819 w 5118"/>
              <a:gd name="T65" fmla="*/ 2065 h 2799"/>
              <a:gd name="T66" fmla="*/ 1464 w 5118"/>
              <a:gd name="T67" fmla="*/ 2154 h 2799"/>
              <a:gd name="T68" fmla="*/ 1148 w 5118"/>
              <a:gd name="T69" fmla="*/ 2227 h 2799"/>
              <a:gd name="T70" fmla="*/ 882 w 5118"/>
              <a:gd name="T71" fmla="*/ 2284 h 2799"/>
              <a:gd name="T72" fmla="*/ 681 w 5118"/>
              <a:gd name="T73" fmla="*/ 2321 h 2799"/>
              <a:gd name="T74" fmla="*/ 551 w 5118"/>
              <a:gd name="T75" fmla="*/ 2338 h 2799"/>
              <a:gd name="T76" fmla="*/ 442 w 5118"/>
              <a:gd name="T77" fmla="*/ 2337 h 2799"/>
              <a:gd name="T78" fmla="*/ 319 w 5118"/>
              <a:gd name="T79" fmla="*/ 2317 h 2799"/>
              <a:gd name="T80" fmla="*/ 219 w 5118"/>
              <a:gd name="T81" fmla="*/ 2273 h 2799"/>
              <a:gd name="T82" fmla="*/ 154 w 5118"/>
              <a:gd name="T83" fmla="*/ 2200 h 2799"/>
              <a:gd name="T84" fmla="*/ 144 w 5118"/>
              <a:gd name="T85" fmla="*/ 2106 h 2799"/>
              <a:gd name="T86" fmla="*/ 200 w 5118"/>
              <a:gd name="T87" fmla="*/ 2013 h 2799"/>
              <a:gd name="T88" fmla="*/ 318 w 5118"/>
              <a:gd name="T89" fmla="*/ 1898 h 2799"/>
              <a:gd name="T90" fmla="*/ 6 w 5118"/>
              <a:gd name="T91" fmla="*/ 1338 h 2799"/>
              <a:gd name="T92" fmla="*/ 8 w 5118"/>
              <a:gd name="T93" fmla="*/ 1253 h 2799"/>
              <a:gd name="T94" fmla="*/ 59 w 5118"/>
              <a:gd name="T95" fmla="*/ 1186 h 2799"/>
              <a:gd name="T96" fmla="*/ 185 w 5118"/>
              <a:gd name="T97" fmla="*/ 1135 h 2799"/>
              <a:gd name="T98" fmla="*/ 332 w 5118"/>
              <a:gd name="T99" fmla="*/ 1134 h 2799"/>
              <a:gd name="T100" fmla="*/ 969 w 5118"/>
              <a:gd name="T101" fmla="*/ 1454 h 2799"/>
              <a:gd name="T102" fmla="*/ 1377 w 5118"/>
              <a:gd name="T103" fmla="*/ 1223 h 2799"/>
              <a:gd name="T104" fmla="*/ 614 w 5118"/>
              <a:gd name="T105" fmla="*/ 380 h 2799"/>
              <a:gd name="T106" fmla="*/ 558 w 5118"/>
              <a:gd name="T107" fmla="*/ 307 h 2799"/>
              <a:gd name="T108" fmla="*/ 558 w 5118"/>
              <a:gd name="T109" fmla="*/ 220 h 2799"/>
              <a:gd name="T110" fmla="*/ 616 w 5118"/>
              <a:gd name="T111" fmla="*/ 149 h 2799"/>
              <a:gd name="T112" fmla="*/ 833 w 5118"/>
              <a:gd name="T113" fmla="*/ 33 h 2799"/>
              <a:gd name="T114" fmla="*/ 1044 w 5118"/>
              <a:gd name="T115" fmla="*/ 0 h 2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18" h="2799">
                <a:moveTo>
                  <a:pt x="3961" y="1561"/>
                </a:moveTo>
                <a:lnTo>
                  <a:pt x="3981" y="1565"/>
                </a:lnTo>
                <a:lnTo>
                  <a:pt x="4000" y="1572"/>
                </a:lnTo>
                <a:lnTo>
                  <a:pt x="4015" y="1585"/>
                </a:lnTo>
                <a:lnTo>
                  <a:pt x="4026" y="1602"/>
                </a:lnTo>
                <a:lnTo>
                  <a:pt x="4031" y="1622"/>
                </a:lnTo>
                <a:lnTo>
                  <a:pt x="4113" y="2326"/>
                </a:lnTo>
                <a:lnTo>
                  <a:pt x="4116" y="2385"/>
                </a:lnTo>
                <a:lnTo>
                  <a:pt x="4111" y="2441"/>
                </a:lnTo>
                <a:lnTo>
                  <a:pt x="4098" y="2496"/>
                </a:lnTo>
                <a:lnTo>
                  <a:pt x="4077" y="2549"/>
                </a:lnTo>
                <a:lnTo>
                  <a:pt x="4049" y="2597"/>
                </a:lnTo>
                <a:lnTo>
                  <a:pt x="4015" y="2642"/>
                </a:lnTo>
                <a:lnTo>
                  <a:pt x="3977" y="2682"/>
                </a:lnTo>
                <a:lnTo>
                  <a:pt x="3930" y="2717"/>
                </a:lnTo>
                <a:lnTo>
                  <a:pt x="3879" y="2746"/>
                </a:lnTo>
                <a:lnTo>
                  <a:pt x="3790" y="2786"/>
                </a:lnTo>
                <a:lnTo>
                  <a:pt x="3763" y="2796"/>
                </a:lnTo>
                <a:lnTo>
                  <a:pt x="3735" y="2799"/>
                </a:lnTo>
                <a:lnTo>
                  <a:pt x="3705" y="2796"/>
                </a:lnTo>
                <a:lnTo>
                  <a:pt x="3677" y="2788"/>
                </a:lnTo>
                <a:lnTo>
                  <a:pt x="3652" y="2772"/>
                </a:lnTo>
                <a:lnTo>
                  <a:pt x="3631" y="2752"/>
                </a:lnTo>
                <a:lnTo>
                  <a:pt x="2973" y="2006"/>
                </a:lnTo>
                <a:lnTo>
                  <a:pt x="2961" y="1986"/>
                </a:lnTo>
                <a:lnTo>
                  <a:pt x="2956" y="1965"/>
                </a:lnTo>
                <a:lnTo>
                  <a:pt x="2958" y="1943"/>
                </a:lnTo>
                <a:lnTo>
                  <a:pt x="2967" y="1924"/>
                </a:lnTo>
                <a:lnTo>
                  <a:pt x="2981" y="1907"/>
                </a:lnTo>
                <a:lnTo>
                  <a:pt x="3001" y="1896"/>
                </a:lnTo>
                <a:lnTo>
                  <a:pt x="3941" y="1566"/>
                </a:lnTo>
                <a:lnTo>
                  <a:pt x="3961" y="1561"/>
                </a:lnTo>
                <a:close/>
                <a:moveTo>
                  <a:pt x="1044" y="0"/>
                </a:moveTo>
                <a:lnTo>
                  <a:pt x="1115" y="6"/>
                </a:lnTo>
                <a:lnTo>
                  <a:pt x="1186" y="20"/>
                </a:lnTo>
                <a:lnTo>
                  <a:pt x="2950" y="485"/>
                </a:lnTo>
                <a:lnTo>
                  <a:pt x="3068" y="441"/>
                </a:lnTo>
                <a:lnTo>
                  <a:pt x="3182" y="397"/>
                </a:lnTo>
                <a:lnTo>
                  <a:pt x="3294" y="357"/>
                </a:lnTo>
                <a:lnTo>
                  <a:pt x="3404" y="318"/>
                </a:lnTo>
                <a:lnTo>
                  <a:pt x="3513" y="282"/>
                </a:lnTo>
                <a:lnTo>
                  <a:pt x="3617" y="250"/>
                </a:lnTo>
                <a:lnTo>
                  <a:pt x="3716" y="220"/>
                </a:lnTo>
                <a:lnTo>
                  <a:pt x="3812" y="196"/>
                </a:lnTo>
                <a:lnTo>
                  <a:pt x="3905" y="172"/>
                </a:lnTo>
                <a:lnTo>
                  <a:pt x="3992" y="154"/>
                </a:lnTo>
                <a:lnTo>
                  <a:pt x="4076" y="138"/>
                </a:lnTo>
                <a:lnTo>
                  <a:pt x="4153" y="127"/>
                </a:lnTo>
                <a:lnTo>
                  <a:pt x="4225" y="121"/>
                </a:lnTo>
                <a:lnTo>
                  <a:pt x="4291" y="120"/>
                </a:lnTo>
                <a:lnTo>
                  <a:pt x="4409" y="121"/>
                </a:lnTo>
                <a:lnTo>
                  <a:pt x="4524" y="126"/>
                </a:lnTo>
                <a:lnTo>
                  <a:pt x="3992" y="366"/>
                </a:lnTo>
                <a:lnTo>
                  <a:pt x="3980" y="546"/>
                </a:lnTo>
                <a:lnTo>
                  <a:pt x="4802" y="168"/>
                </a:lnTo>
                <a:lnTo>
                  <a:pt x="4853" y="182"/>
                </a:lnTo>
                <a:lnTo>
                  <a:pt x="4901" y="199"/>
                </a:lnTo>
                <a:lnTo>
                  <a:pt x="4944" y="217"/>
                </a:lnTo>
                <a:lnTo>
                  <a:pt x="4983" y="237"/>
                </a:lnTo>
                <a:lnTo>
                  <a:pt x="5017" y="262"/>
                </a:lnTo>
                <a:lnTo>
                  <a:pt x="5048" y="289"/>
                </a:lnTo>
                <a:lnTo>
                  <a:pt x="5073" y="320"/>
                </a:lnTo>
                <a:lnTo>
                  <a:pt x="5092" y="354"/>
                </a:lnTo>
                <a:lnTo>
                  <a:pt x="5106" y="391"/>
                </a:lnTo>
                <a:lnTo>
                  <a:pt x="5115" y="433"/>
                </a:lnTo>
                <a:lnTo>
                  <a:pt x="5118" y="478"/>
                </a:lnTo>
                <a:lnTo>
                  <a:pt x="5113" y="532"/>
                </a:lnTo>
                <a:lnTo>
                  <a:pt x="5098" y="586"/>
                </a:lnTo>
                <a:lnTo>
                  <a:pt x="5071" y="642"/>
                </a:lnTo>
                <a:lnTo>
                  <a:pt x="5037" y="696"/>
                </a:lnTo>
                <a:lnTo>
                  <a:pt x="4994" y="751"/>
                </a:lnTo>
                <a:lnTo>
                  <a:pt x="4941" y="805"/>
                </a:lnTo>
                <a:lnTo>
                  <a:pt x="4881" y="859"/>
                </a:lnTo>
                <a:lnTo>
                  <a:pt x="4812" y="915"/>
                </a:lnTo>
                <a:lnTo>
                  <a:pt x="4736" y="968"/>
                </a:lnTo>
                <a:lnTo>
                  <a:pt x="4654" y="1022"/>
                </a:lnTo>
                <a:lnTo>
                  <a:pt x="4566" y="1076"/>
                </a:lnTo>
                <a:lnTo>
                  <a:pt x="4471" y="1129"/>
                </a:lnTo>
                <a:lnTo>
                  <a:pt x="4370" y="1182"/>
                </a:lnTo>
                <a:lnTo>
                  <a:pt x="4265" y="1234"/>
                </a:lnTo>
                <a:lnTo>
                  <a:pt x="4153" y="1285"/>
                </a:lnTo>
                <a:lnTo>
                  <a:pt x="4039" y="1337"/>
                </a:lnTo>
                <a:lnTo>
                  <a:pt x="3919" y="1388"/>
                </a:lnTo>
                <a:lnTo>
                  <a:pt x="3797" y="1437"/>
                </a:lnTo>
                <a:lnTo>
                  <a:pt x="3671" y="1487"/>
                </a:lnTo>
                <a:lnTo>
                  <a:pt x="3544" y="1535"/>
                </a:lnTo>
                <a:lnTo>
                  <a:pt x="3412" y="1583"/>
                </a:lnTo>
                <a:lnTo>
                  <a:pt x="3280" y="1630"/>
                </a:lnTo>
                <a:lnTo>
                  <a:pt x="3147" y="1675"/>
                </a:lnTo>
                <a:lnTo>
                  <a:pt x="3012" y="1720"/>
                </a:lnTo>
                <a:lnTo>
                  <a:pt x="2875" y="1763"/>
                </a:lnTo>
                <a:lnTo>
                  <a:pt x="2740" y="1805"/>
                </a:lnTo>
                <a:lnTo>
                  <a:pt x="2604" y="1847"/>
                </a:lnTo>
                <a:lnTo>
                  <a:pt x="2469" y="1886"/>
                </a:lnTo>
                <a:lnTo>
                  <a:pt x="2336" y="1924"/>
                </a:lnTo>
                <a:lnTo>
                  <a:pt x="2204" y="1961"/>
                </a:lnTo>
                <a:lnTo>
                  <a:pt x="2072" y="1997"/>
                </a:lnTo>
                <a:lnTo>
                  <a:pt x="1945" y="2031"/>
                </a:lnTo>
                <a:lnTo>
                  <a:pt x="1819" y="2065"/>
                </a:lnTo>
                <a:lnTo>
                  <a:pt x="1697" y="2096"/>
                </a:lnTo>
                <a:lnTo>
                  <a:pt x="1579" y="2126"/>
                </a:lnTo>
                <a:lnTo>
                  <a:pt x="1464" y="2154"/>
                </a:lnTo>
                <a:lnTo>
                  <a:pt x="1354" y="2180"/>
                </a:lnTo>
                <a:lnTo>
                  <a:pt x="1248" y="2205"/>
                </a:lnTo>
                <a:lnTo>
                  <a:pt x="1148" y="2227"/>
                </a:lnTo>
                <a:lnTo>
                  <a:pt x="1053" y="2248"/>
                </a:lnTo>
                <a:lnTo>
                  <a:pt x="965" y="2267"/>
                </a:lnTo>
                <a:lnTo>
                  <a:pt x="882" y="2284"/>
                </a:lnTo>
                <a:lnTo>
                  <a:pt x="808" y="2298"/>
                </a:lnTo>
                <a:lnTo>
                  <a:pt x="740" y="2310"/>
                </a:lnTo>
                <a:lnTo>
                  <a:pt x="681" y="2321"/>
                </a:lnTo>
                <a:lnTo>
                  <a:pt x="628" y="2329"/>
                </a:lnTo>
                <a:lnTo>
                  <a:pt x="585" y="2335"/>
                </a:lnTo>
                <a:lnTo>
                  <a:pt x="551" y="2338"/>
                </a:lnTo>
                <a:lnTo>
                  <a:pt x="527" y="2340"/>
                </a:lnTo>
                <a:lnTo>
                  <a:pt x="484" y="2340"/>
                </a:lnTo>
                <a:lnTo>
                  <a:pt x="442" y="2337"/>
                </a:lnTo>
                <a:lnTo>
                  <a:pt x="400" y="2332"/>
                </a:lnTo>
                <a:lnTo>
                  <a:pt x="360" y="2326"/>
                </a:lnTo>
                <a:lnTo>
                  <a:pt x="319" y="2317"/>
                </a:lnTo>
                <a:lnTo>
                  <a:pt x="282" y="2306"/>
                </a:lnTo>
                <a:lnTo>
                  <a:pt x="248" y="2290"/>
                </a:lnTo>
                <a:lnTo>
                  <a:pt x="219" y="2273"/>
                </a:lnTo>
                <a:lnTo>
                  <a:pt x="192" y="2253"/>
                </a:lnTo>
                <a:lnTo>
                  <a:pt x="171" y="2228"/>
                </a:lnTo>
                <a:lnTo>
                  <a:pt x="154" y="2200"/>
                </a:lnTo>
                <a:lnTo>
                  <a:pt x="143" y="2168"/>
                </a:lnTo>
                <a:lnTo>
                  <a:pt x="140" y="2132"/>
                </a:lnTo>
                <a:lnTo>
                  <a:pt x="144" y="2106"/>
                </a:lnTo>
                <a:lnTo>
                  <a:pt x="155" y="2078"/>
                </a:lnTo>
                <a:lnTo>
                  <a:pt x="174" y="2047"/>
                </a:lnTo>
                <a:lnTo>
                  <a:pt x="200" y="2013"/>
                </a:lnTo>
                <a:lnTo>
                  <a:pt x="233" y="1977"/>
                </a:lnTo>
                <a:lnTo>
                  <a:pt x="271" y="1938"/>
                </a:lnTo>
                <a:lnTo>
                  <a:pt x="318" y="1898"/>
                </a:lnTo>
                <a:lnTo>
                  <a:pt x="318" y="1898"/>
                </a:lnTo>
                <a:lnTo>
                  <a:pt x="17" y="1366"/>
                </a:lnTo>
                <a:lnTo>
                  <a:pt x="6" y="1338"/>
                </a:lnTo>
                <a:lnTo>
                  <a:pt x="0" y="1309"/>
                </a:lnTo>
                <a:lnTo>
                  <a:pt x="2" y="1281"/>
                </a:lnTo>
                <a:lnTo>
                  <a:pt x="8" y="1253"/>
                </a:lnTo>
                <a:lnTo>
                  <a:pt x="20" y="1228"/>
                </a:lnTo>
                <a:lnTo>
                  <a:pt x="37" y="1205"/>
                </a:lnTo>
                <a:lnTo>
                  <a:pt x="59" y="1186"/>
                </a:lnTo>
                <a:lnTo>
                  <a:pt x="85" y="1171"/>
                </a:lnTo>
                <a:lnTo>
                  <a:pt x="138" y="1151"/>
                </a:lnTo>
                <a:lnTo>
                  <a:pt x="185" y="1135"/>
                </a:lnTo>
                <a:lnTo>
                  <a:pt x="234" y="1127"/>
                </a:lnTo>
                <a:lnTo>
                  <a:pt x="282" y="1127"/>
                </a:lnTo>
                <a:lnTo>
                  <a:pt x="332" y="1134"/>
                </a:lnTo>
                <a:lnTo>
                  <a:pt x="378" y="1146"/>
                </a:lnTo>
                <a:lnTo>
                  <a:pt x="425" y="1166"/>
                </a:lnTo>
                <a:lnTo>
                  <a:pt x="969" y="1454"/>
                </a:lnTo>
                <a:lnTo>
                  <a:pt x="1100" y="1379"/>
                </a:lnTo>
                <a:lnTo>
                  <a:pt x="1236" y="1301"/>
                </a:lnTo>
                <a:lnTo>
                  <a:pt x="1377" y="1223"/>
                </a:lnTo>
                <a:lnTo>
                  <a:pt x="1523" y="1146"/>
                </a:lnTo>
                <a:lnTo>
                  <a:pt x="1673" y="1067"/>
                </a:lnTo>
                <a:lnTo>
                  <a:pt x="614" y="380"/>
                </a:lnTo>
                <a:lnTo>
                  <a:pt x="589" y="360"/>
                </a:lnTo>
                <a:lnTo>
                  <a:pt x="571" y="335"/>
                </a:lnTo>
                <a:lnTo>
                  <a:pt x="558" y="307"/>
                </a:lnTo>
                <a:lnTo>
                  <a:pt x="552" y="279"/>
                </a:lnTo>
                <a:lnTo>
                  <a:pt x="552" y="250"/>
                </a:lnTo>
                <a:lnTo>
                  <a:pt x="558" y="220"/>
                </a:lnTo>
                <a:lnTo>
                  <a:pt x="572" y="194"/>
                </a:lnTo>
                <a:lnTo>
                  <a:pt x="591" y="169"/>
                </a:lnTo>
                <a:lnTo>
                  <a:pt x="616" y="149"/>
                </a:lnTo>
                <a:lnTo>
                  <a:pt x="703" y="95"/>
                </a:lnTo>
                <a:lnTo>
                  <a:pt x="766" y="61"/>
                </a:lnTo>
                <a:lnTo>
                  <a:pt x="833" y="33"/>
                </a:lnTo>
                <a:lnTo>
                  <a:pt x="901" y="14"/>
                </a:lnTo>
                <a:lnTo>
                  <a:pt x="972" y="3"/>
                </a:lnTo>
                <a:lnTo>
                  <a:pt x="1044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195" name="Freeform 93">
            <a:extLst>
              <a:ext uri="{FF2B5EF4-FFF2-40B4-BE49-F238E27FC236}">
                <a16:creationId xmlns:a16="http://schemas.microsoft.com/office/drawing/2014/main" id="{D259F853-3D39-48FD-A42D-D4FC0279CA82}"/>
              </a:ext>
            </a:extLst>
          </p:cNvPr>
          <p:cNvSpPr>
            <a:spLocks noEditPoints="1"/>
          </p:cNvSpPr>
          <p:nvPr/>
        </p:nvSpPr>
        <p:spPr bwMode="auto">
          <a:xfrm>
            <a:off x="7045136" y="1691790"/>
            <a:ext cx="322089" cy="187025"/>
          </a:xfrm>
          <a:custGeom>
            <a:avLst/>
            <a:gdLst>
              <a:gd name="T0" fmla="*/ 4513 w 5118"/>
              <a:gd name="T1" fmla="*/ 3375 h 3614"/>
              <a:gd name="T2" fmla="*/ 4400 w 5118"/>
              <a:gd name="T3" fmla="*/ 3515 h 3614"/>
              <a:gd name="T4" fmla="*/ 4242 w 5118"/>
              <a:gd name="T5" fmla="*/ 3597 h 3614"/>
              <a:gd name="T6" fmla="*/ 560 w 5118"/>
              <a:gd name="T7" fmla="*/ 3614 h 3614"/>
              <a:gd name="T8" fmla="*/ 492 w 5118"/>
              <a:gd name="T9" fmla="*/ 3582 h 3614"/>
              <a:gd name="T10" fmla="*/ 473 w 5118"/>
              <a:gd name="T11" fmla="*/ 3512 h 3614"/>
              <a:gd name="T12" fmla="*/ 498 w 5118"/>
              <a:gd name="T13" fmla="*/ 3447 h 3614"/>
              <a:gd name="T14" fmla="*/ 499 w 5118"/>
              <a:gd name="T15" fmla="*/ 3333 h 3614"/>
              <a:gd name="T16" fmla="*/ 445 w 5118"/>
              <a:gd name="T17" fmla="*/ 3234 h 3614"/>
              <a:gd name="T18" fmla="*/ 352 w 5118"/>
              <a:gd name="T19" fmla="*/ 3158 h 3614"/>
              <a:gd name="T20" fmla="*/ 209 w 5118"/>
              <a:gd name="T21" fmla="*/ 2993 h 3614"/>
              <a:gd name="T22" fmla="*/ 119 w 5118"/>
              <a:gd name="T23" fmla="*/ 2795 h 3614"/>
              <a:gd name="T24" fmla="*/ 88 w 5118"/>
              <a:gd name="T25" fmla="*/ 2577 h 3614"/>
              <a:gd name="T26" fmla="*/ 3260 w 5118"/>
              <a:gd name="T27" fmla="*/ 2290 h 3614"/>
              <a:gd name="T28" fmla="*/ 3297 w 5118"/>
              <a:gd name="T29" fmla="*/ 2180 h 3614"/>
              <a:gd name="T30" fmla="*/ 3393 w 5118"/>
              <a:gd name="T31" fmla="*/ 2120 h 3614"/>
              <a:gd name="T32" fmla="*/ 699 w 5118"/>
              <a:gd name="T33" fmla="*/ 1870 h 3614"/>
              <a:gd name="T34" fmla="*/ 699 w 5118"/>
              <a:gd name="T35" fmla="*/ 1606 h 3614"/>
              <a:gd name="T36" fmla="*/ 4169 w 5118"/>
              <a:gd name="T37" fmla="*/ 1415 h 3614"/>
              <a:gd name="T38" fmla="*/ 4225 w 5118"/>
              <a:gd name="T39" fmla="*/ 1471 h 3614"/>
              <a:gd name="T40" fmla="*/ 4225 w 5118"/>
              <a:gd name="T41" fmla="*/ 1879 h 3614"/>
              <a:gd name="T42" fmla="*/ 4169 w 5118"/>
              <a:gd name="T43" fmla="*/ 1935 h 3614"/>
              <a:gd name="T44" fmla="*/ 3407 w 5118"/>
              <a:gd name="T45" fmla="*/ 1935 h 3614"/>
              <a:gd name="T46" fmla="*/ 3352 w 5118"/>
              <a:gd name="T47" fmla="*/ 1879 h 3614"/>
              <a:gd name="T48" fmla="*/ 3352 w 5118"/>
              <a:gd name="T49" fmla="*/ 1471 h 3614"/>
              <a:gd name="T50" fmla="*/ 3407 w 5118"/>
              <a:gd name="T51" fmla="*/ 1415 h 3614"/>
              <a:gd name="T52" fmla="*/ 2114 w 5118"/>
              <a:gd name="T53" fmla="*/ 1322 h 3614"/>
              <a:gd name="T54" fmla="*/ 2185 w 5118"/>
              <a:gd name="T55" fmla="*/ 1358 h 3614"/>
              <a:gd name="T56" fmla="*/ 2202 w 5118"/>
              <a:gd name="T57" fmla="*/ 2115 h 3614"/>
              <a:gd name="T58" fmla="*/ 2167 w 5118"/>
              <a:gd name="T59" fmla="*/ 2186 h 3614"/>
              <a:gd name="T60" fmla="*/ 1410 w 5118"/>
              <a:gd name="T61" fmla="*/ 2203 h 3614"/>
              <a:gd name="T62" fmla="*/ 1338 w 5118"/>
              <a:gd name="T63" fmla="*/ 2168 h 3614"/>
              <a:gd name="T64" fmla="*/ 1321 w 5118"/>
              <a:gd name="T65" fmla="*/ 1410 h 3614"/>
              <a:gd name="T66" fmla="*/ 1357 w 5118"/>
              <a:gd name="T67" fmla="*/ 1339 h 3614"/>
              <a:gd name="T68" fmla="*/ 699 w 5118"/>
              <a:gd name="T69" fmla="*/ 1184 h 3614"/>
              <a:gd name="T70" fmla="*/ 986 w 5118"/>
              <a:gd name="T71" fmla="*/ 1184 h 3614"/>
              <a:gd name="T72" fmla="*/ 3083 w 5118"/>
              <a:gd name="T73" fmla="*/ 1056 h 3614"/>
              <a:gd name="T74" fmla="*/ 3155 w 5118"/>
              <a:gd name="T75" fmla="*/ 1094 h 3614"/>
              <a:gd name="T76" fmla="*/ 3172 w 5118"/>
              <a:gd name="T77" fmla="*/ 2115 h 3614"/>
              <a:gd name="T78" fmla="*/ 3136 w 5118"/>
              <a:gd name="T79" fmla="*/ 2186 h 3614"/>
              <a:gd name="T80" fmla="*/ 2466 w 5118"/>
              <a:gd name="T81" fmla="*/ 2203 h 3614"/>
              <a:gd name="T82" fmla="*/ 2396 w 5118"/>
              <a:gd name="T83" fmla="*/ 2168 h 3614"/>
              <a:gd name="T84" fmla="*/ 2379 w 5118"/>
              <a:gd name="T85" fmla="*/ 1145 h 3614"/>
              <a:gd name="T86" fmla="*/ 2415 w 5118"/>
              <a:gd name="T87" fmla="*/ 1074 h 3614"/>
              <a:gd name="T88" fmla="*/ 617 w 5118"/>
              <a:gd name="T89" fmla="*/ 0 h 3614"/>
              <a:gd name="T90" fmla="*/ 932 w 5118"/>
              <a:gd name="T91" fmla="*/ 523 h 3614"/>
              <a:gd name="T92" fmla="*/ 704 w 5118"/>
              <a:gd name="T93" fmla="*/ 881 h 3614"/>
              <a:gd name="T94" fmla="*/ 1145 w 5118"/>
              <a:gd name="T95" fmla="*/ 2203 h 3614"/>
              <a:gd name="T96" fmla="*/ 0 w 5118"/>
              <a:gd name="T97" fmla="*/ 1056 h 3614"/>
              <a:gd name="T98" fmla="*/ 617 w 5118"/>
              <a:gd name="T99" fmla="*/ 625 h 3614"/>
              <a:gd name="T100" fmla="*/ 617 w 5118"/>
              <a:gd name="T101" fmla="*/ 523 h 3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118" h="3614">
                <a:moveTo>
                  <a:pt x="3434" y="2115"/>
                </a:moveTo>
                <a:lnTo>
                  <a:pt x="5118" y="2115"/>
                </a:lnTo>
                <a:lnTo>
                  <a:pt x="4513" y="3375"/>
                </a:lnTo>
                <a:lnTo>
                  <a:pt x="4482" y="3428"/>
                </a:lnTo>
                <a:lnTo>
                  <a:pt x="4443" y="3475"/>
                </a:lnTo>
                <a:lnTo>
                  <a:pt x="4400" y="3515"/>
                </a:lnTo>
                <a:lnTo>
                  <a:pt x="4352" y="3549"/>
                </a:lnTo>
                <a:lnTo>
                  <a:pt x="4299" y="3577"/>
                </a:lnTo>
                <a:lnTo>
                  <a:pt x="4242" y="3597"/>
                </a:lnTo>
                <a:lnTo>
                  <a:pt x="4183" y="3610"/>
                </a:lnTo>
                <a:lnTo>
                  <a:pt x="4122" y="3614"/>
                </a:lnTo>
                <a:lnTo>
                  <a:pt x="560" y="3614"/>
                </a:lnTo>
                <a:lnTo>
                  <a:pt x="534" y="3610"/>
                </a:lnTo>
                <a:lnTo>
                  <a:pt x="510" y="3599"/>
                </a:lnTo>
                <a:lnTo>
                  <a:pt x="492" y="3582"/>
                </a:lnTo>
                <a:lnTo>
                  <a:pt x="479" y="3561"/>
                </a:lnTo>
                <a:lnTo>
                  <a:pt x="473" y="3537"/>
                </a:lnTo>
                <a:lnTo>
                  <a:pt x="473" y="3512"/>
                </a:lnTo>
                <a:lnTo>
                  <a:pt x="481" y="3485"/>
                </a:lnTo>
                <a:lnTo>
                  <a:pt x="482" y="3482"/>
                </a:lnTo>
                <a:lnTo>
                  <a:pt x="498" y="3447"/>
                </a:lnTo>
                <a:lnTo>
                  <a:pt x="506" y="3408"/>
                </a:lnTo>
                <a:lnTo>
                  <a:pt x="506" y="3371"/>
                </a:lnTo>
                <a:lnTo>
                  <a:pt x="499" y="3333"/>
                </a:lnTo>
                <a:lnTo>
                  <a:pt x="489" y="3298"/>
                </a:lnTo>
                <a:lnTo>
                  <a:pt x="470" y="3263"/>
                </a:lnTo>
                <a:lnTo>
                  <a:pt x="445" y="3234"/>
                </a:lnTo>
                <a:lnTo>
                  <a:pt x="416" y="3208"/>
                </a:lnTo>
                <a:lnTo>
                  <a:pt x="411" y="3205"/>
                </a:lnTo>
                <a:lnTo>
                  <a:pt x="352" y="3158"/>
                </a:lnTo>
                <a:lnTo>
                  <a:pt x="299" y="3108"/>
                </a:lnTo>
                <a:lnTo>
                  <a:pt x="251" y="3052"/>
                </a:lnTo>
                <a:lnTo>
                  <a:pt x="209" y="2993"/>
                </a:lnTo>
                <a:lnTo>
                  <a:pt x="174" y="2930"/>
                </a:lnTo>
                <a:lnTo>
                  <a:pt x="143" y="2865"/>
                </a:lnTo>
                <a:lnTo>
                  <a:pt x="119" y="2795"/>
                </a:lnTo>
                <a:lnTo>
                  <a:pt x="102" y="2723"/>
                </a:lnTo>
                <a:lnTo>
                  <a:pt x="92" y="2652"/>
                </a:lnTo>
                <a:lnTo>
                  <a:pt x="88" y="2577"/>
                </a:lnTo>
                <a:lnTo>
                  <a:pt x="88" y="2292"/>
                </a:lnTo>
                <a:lnTo>
                  <a:pt x="3260" y="2292"/>
                </a:lnTo>
                <a:lnTo>
                  <a:pt x="3260" y="2290"/>
                </a:lnTo>
                <a:lnTo>
                  <a:pt x="3265" y="2250"/>
                </a:lnTo>
                <a:lnTo>
                  <a:pt x="3277" y="2213"/>
                </a:lnTo>
                <a:lnTo>
                  <a:pt x="3297" y="2180"/>
                </a:lnTo>
                <a:lnTo>
                  <a:pt x="3325" y="2154"/>
                </a:lnTo>
                <a:lnTo>
                  <a:pt x="3358" y="2134"/>
                </a:lnTo>
                <a:lnTo>
                  <a:pt x="3393" y="2120"/>
                </a:lnTo>
                <a:lnTo>
                  <a:pt x="3434" y="2115"/>
                </a:lnTo>
                <a:close/>
                <a:moveTo>
                  <a:pt x="699" y="1606"/>
                </a:moveTo>
                <a:lnTo>
                  <a:pt x="699" y="1870"/>
                </a:lnTo>
                <a:lnTo>
                  <a:pt x="986" y="1870"/>
                </a:lnTo>
                <a:lnTo>
                  <a:pt x="986" y="1606"/>
                </a:lnTo>
                <a:lnTo>
                  <a:pt x="699" y="1606"/>
                </a:lnTo>
                <a:close/>
                <a:moveTo>
                  <a:pt x="3435" y="1410"/>
                </a:moveTo>
                <a:lnTo>
                  <a:pt x="4141" y="1410"/>
                </a:lnTo>
                <a:lnTo>
                  <a:pt x="4169" y="1415"/>
                </a:lnTo>
                <a:lnTo>
                  <a:pt x="4192" y="1427"/>
                </a:lnTo>
                <a:lnTo>
                  <a:pt x="4212" y="1446"/>
                </a:lnTo>
                <a:lnTo>
                  <a:pt x="4225" y="1471"/>
                </a:lnTo>
                <a:lnTo>
                  <a:pt x="4228" y="1499"/>
                </a:lnTo>
                <a:lnTo>
                  <a:pt x="4228" y="1851"/>
                </a:lnTo>
                <a:lnTo>
                  <a:pt x="4225" y="1879"/>
                </a:lnTo>
                <a:lnTo>
                  <a:pt x="4212" y="1902"/>
                </a:lnTo>
                <a:lnTo>
                  <a:pt x="4192" y="1923"/>
                </a:lnTo>
                <a:lnTo>
                  <a:pt x="4169" y="1935"/>
                </a:lnTo>
                <a:lnTo>
                  <a:pt x="4141" y="1940"/>
                </a:lnTo>
                <a:lnTo>
                  <a:pt x="3435" y="1940"/>
                </a:lnTo>
                <a:lnTo>
                  <a:pt x="3407" y="1935"/>
                </a:lnTo>
                <a:lnTo>
                  <a:pt x="3384" y="1923"/>
                </a:lnTo>
                <a:lnTo>
                  <a:pt x="3364" y="1902"/>
                </a:lnTo>
                <a:lnTo>
                  <a:pt x="3352" y="1879"/>
                </a:lnTo>
                <a:lnTo>
                  <a:pt x="3347" y="1851"/>
                </a:lnTo>
                <a:lnTo>
                  <a:pt x="3347" y="1499"/>
                </a:lnTo>
                <a:lnTo>
                  <a:pt x="3352" y="1471"/>
                </a:lnTo>
                <a:lnTo>
                  <a:pt x="3364" y="1446"/>
                </a:lnTo>
                <a:lnTo>
                  <a:pt x="3384" y="1427"/>
                </a:lnTo>
                <a:lnTo>
                  <a:pt x="3407" y="1415"/>
                </a:lnTo>
                <a:lnTo>
                  <a:pt x="3435" y="1410"/>
                </a:lnTo>
                <a:close/>
                <a:moveTo>
                  <a:pt x="1410" y="1322"/>
                </a:moveTo>
                <a:lnTo>
                  <a:pt x="2114" y="1322"/>
                </a:lnTo>
                <a:lnTo>
                  <a:pt x="2142" y="1327"/>
                </a:lnTo>
                <a:lnTo>
                  <a:pt x="2167" y="1339"/>
                </a:lnTo>
                <a:lnTo>
                  <a:pt x="2185" y="1358"/>
                </a:lnTo>
                <a:lnTo>
                  <a:pt x="2198" y="1382"/>
                </a:lnTo>
                <a:lnTo>
                  <a:pt x="2202" y="1410"/>
                </a:lnTo>
                <a:lnTo>
                  <a:pt x="2202" y="2115"/>
                </a:lnTo>
                <a:lnTo>
                  <a:pt x="2198" y="2143"/>
                </a:lnTo>
                <a:lnTo>
                  <a:pt x="2185" y="2168"/>
                </a:lnTo>
                <a:lnTo>
                  <a:pt x="2167" y="2186"/>
                </a:lnTo>
                <a:lnTo>
                  <a:pt x="2142" y="2199"/>
                </a:lnTo>
                <a:lnTo>
                  <a:pt x="2114" y="2203"/>
                </a:lnTo>
                <a:lnTo>
                  <a:pt x="1410" y="2203"/>
                </a:lnTo>
                <a:lnTo>
                  <a:pt x="1382" y="2199"/>
                </a:lnTo>
                <a:lnTo>
                  <a:pt x="1357" y="2186"/>
                </a:lnTo>
                <a:lnTo>
                  <a:pt x="1338" y="2168"/>
                </a:lnTo>
                <a:lnTo>
                  <a:pt x="1326" y="2143"/>
                </a:lnTo>
                <a:lnTo>
                  <a:pt x="1321" y="2115"/>
                </a:lnTo>
                <a:lnTo>
                  <a:pt x="1321" y="1410"/>
                </a:lnTo>
                <a:lnTo>
                  <a:pt x="1326" y="1382"/>
                </a:lnTo>
                <a:lnTo>
                  <a:pt x="1338" y="1358"/>
                </a:lnTo>
                <a:lnTo>
                  <a:pt x="1357" y="1339"/>
                </a:lnTo>
                <a:lnTo>
                  <a:pt x="1382" y="1327"/>
                </a:lnTo>
                <a:lnTo>
                  <a:pt x="1410" y="1322"/>
                </a:lnTo>
                <a:close/>
                <a:moveTo>
                  <a:pt x="699" y="1184"/>
                </a:moveTo>
                <a:lnTo>
                  <a:pt x="699" y="1448"/>
                </a:lnTo>
                <a:lnTo>
                  <a:pt x="986" y="1448"/>
                </a:lnTo>
                <a:lnTo>
                  <a:pt x="986" y="1184"/>
                </a:lnTo>
                <a:lnTo>
                  <a:pt x="699" y="1184"/>
                </a:lnTo>
                <a:close/>
                <a:moveTo>
                  <a:pt x="2466" y="1056"/>
                </a:moveTo>
                <a:lnTo>
                  <a:pt x="3083" y="1056"/>
                </a:lnTo>
                <a:lnTo>
                  <a:pt x="3111" y="1061"/>
                </a:lnTo>
                <a:lnTo>
                  <a:pt x="3136" y="1074"/>
                </a:lnTo>
                <a:lnTo>
                  <a:pt x="3155" y="1094"/>
                </a:lnTo>
                <a:lnTo>
                  <a:pt x="3167" y="1117"/>
                </a:lnTo>
                <a:lnTo>
                  <a:pt x="3172" y="1145"/>
                </a:lnTo>
                <a:lnTo>
                  <a:pt x="3172" y="2115"/>
                </a:lnTo>
                <a:lnTo>
                  <a:pt x="3167" y="2143"/>
                </a:lnTo>
                <a:lnTo>
                  <a:pt x="3155" y="2168"/>
                </a:lnTo>
                <a:lnTo>
                  <a:pt x="3136" y="2186"/>
                </a:lnTo>
                <a:lnTo>
                  <a:pt x="3111" y="2199"/>
                </a:lnTo>
                <a:lnTo>
                  <a:pt x="3083" y="2203"/>
                </a:lnTo>
                <a:lnTo>
                  <a:pt x="2466" y="2203"/>
                </a:lnTo>
                <a:lnTo>
                  <a:pt x="2438" y="2199"/>
                </a:lnTo>
                <a:lnTo>
                  <a:pt x="2415" y="2186"/>
                </a:lnTo>
                <a:lnTo>
                  <a:pt x="2396" y="2168"/>
                </a:lnTo>
                <a:lnTo>
                  <a:pt x="2384" y="2143"/>
                </a:lnTo>
                <a:lnTo>
                  <a:pt x="2379" y="2115"/>
                </a:lnTo>
                <a:lnTo>
                  <a:pt x="2379" y="1145"/>
                </a:lnTo>
                <a:lnTo>
                  <a:pt x="2384" y="1117"/>
                </a:lnTo>
                <a:lnTo>
                  <a:pt x="2396" y="1094"/>
                </a:lnTo>
                <a:lnTo>
                  <a:pt x="2415" y="1074"/>
                </a:lnTo>
                <a:lnTo>
                  <a:pt x="2438" y="1061"/>
                </a:lnTo>
                <a:lnTo>
                  <a:pt x="2466" y="1056"/>
                </a:lnTo>
                <a:close/>
                <a:moveTo>
                  <a:pt x="617" y="0"/>
                </a:moveTo>
                <a:lnTo>
                  <a:pt x="704" y="0"/>
                </a:lnTo>
                <a:lnTo>
                  <a:pt x="704" y="523"/>
                </a:lnTo>
                <a:lnTo>
                  <a:pt x="932" y="523"/>
                </a:lnTo>
                <a:lnTo>
                  <a:pt x="932" y="625"/>
                </a:lnTo>
                <a:lnTo>
                  <a:pt x="704" y="625"/>
                </a:lnTo>
                <a:lnTo>
                  <a:pt x="704" y="881"/>
                </a:lnTo>
                <a:lnTo>
                  <a:pt x="1365" y="881"/>
                </a:lnTo>
                <a:lnTo>
                  <a:pt x="1145" y="1056"/>
                </a:lnTo>
                <a:lnTo>
                  <a:pt x="1145" y="2203"/>
                </a:lnTo>
                <a:lnTo>
                  <a:pt x="264" y="2203"/>
                </a:lnTo>
                <a:lnTo>
                  <a:pt x="264" y="1056"/>
                </a:lnTo>
                <a:lnTo>
                  <a:pt x="0" y="1056"/>
                </a:lnTo>
                <a:lnTo>
                  <a:pt x="0" y="881"/>
                </a:lnTo>
                <a:lnTo>
                  <a:pt x="617" y="881"/>
                </a:lnTo>
                <a:lnTo>
                  <a:pt x="617" y="625"/>
                </a:lnTo>
                <a:lnTo>
                  <a:pt x="389" y="625"/>
                </a:lnTo>
                <a:lnTo>
                  <a:pt x="389" y="523"/>
                </a:lnTo>
                <a:lnTo>
                  <a:pt x="617" y="523"/>
                </a:lnTo>
                <a:lnTo>
                  <a:pt x="617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204" name="Freeform 116">
            <a:extLst>
              <a:ext uri="{FF2B5EF4-FFF2-40B4-BE49-F238E27FC236}">
                <a16:creationId xmlns:a16="http://schemas.microsoft.com/office/drawing/2014/main" id="{88EDBF9E-F7B2-484D-919B-AF9FB2BC7B68}"/>
              </a:ext>
            </a:extLst>
          </p:cNvPr>
          <p:cNvSpPr>
            <a:spLocks noEditPoints="1"/>
          </p:cNvSpPr>
          <p:nvPr/>
        </p:nvSpPr>
        <p:spPr bwMode="auto">
          <a:xfrm>
            <a:off x="4276325" y="3160166"/>
            <a:ext cx="291887" cy="222682"/>
          </a:xfrm>
          <a:custGeom>
            <a:avLst/>
            <a:gdLst>
              <a:gd name="T0" fmla="*/ 1808 w 3295"/>
              <a:gd name="T1" fmla="*/ 1840 h 2577"/>
              <a:gd name="T2" fmla="*/ 1736 w 3295"/>
              <a:gd name="T3" fmla="*/ 1890 h 2577"/>
              <a:gd name="T4" fmla="*/ 1698 w 3295"/>
              <a:gd name="T5" fmla="*/ 1972 h 2577"/>
              <a:gd name="T6" fmla="*/ 1698 w 3295"/>
              <a:gd name="T7" fmla="*/ 2226 h 2577"/>
              <a:gd name="T8" fmla="*/ 1736 w 3295"/>
              <a:gd name="T9" fmla="*/ 2308 h 2577"/>
              <a:gd name="T10" fmla="*/ 1808 w 3295"/>
              <a:gd name="T11" fmla="*/ 2358 h 2577"/>
              <a:gd name="T12" fmla="*/ 2059 w 3295"/>
              <a:gd name="T13" fmla="*/ 2369 h 2577"/>
              <a:gd name="T14" fmla="*/ 2145 w 3295"/>
              <a:gd name="T15" fmla="*/ 2345 h 2577"/>
              <a:gd name="T16" fmla="*/ 2207 w 3295"/>
              <a:gd name="T17" fmla="*/ 2283 h 2577"/>
              <a:gd name="T18" fmla="*/ 2230 w 3295"/>
              <a:gd name="T19" fmla="*/ 2195 h 2577"/>
              <a:gd name="T20" fmla="*/ 2220 w 3295"/>
              <a:gd name="T21" fmla="*/ 1942 h 2577"/>
              <a:gd name="T22" fmla="*/ 2169 w 3295"/>
              <a:gd name="T23" fmla="*/ 1870 h 2577"/>
              <a:gd name="T24" fmla="*/ 2089 w 3295"/>
              <a:gd name="T25" fmla="*/ 1831 h 2577"/>
              <a:gd name="T26" fmla="*/ 1122 w 3295"/>
              <a:gd name="T27" fmla="*/ 1828 h 2577"/>
              <a:gd name="T28" fmla="*/ 1035 w 3295"/>
              <a:gd name="T29" fmla="*/ 1852 h 2577"/>
              <a:gd name="T30" fmla="*/ 974 w 3295"/>
              <a:gd name="T31" fmla="*/ 1915 h 2577"/>
              <a:gd name="T32" fmla="*/ 951 w 3295"/>
              <a:gd name="T33" fmla="*/ 2003 h 2577"/>
              <a:gd name="T34" fmla="*/ 961 w 3295"/>
              <a:gd name="T35" fmla="*/ 2256 h 2577"/>
              <a:gd name="T36" fmla="*/ 1011 w 3295"/>
              <a:gd name="T37" fmla="*/ 2328 h 2577"/>
              <a:gd name="T38" fmla="*/ 1092 w 3295"/>
              <a:gd name="T39" fmla="*/ 2367 h 2577"/>
              <a:gd name="T40" fmla="*/ 1345 w 3295"/>
              <a:gd name="T41" fmla="*/ 2367 h 2577"/>
              <a:gd name="T42" fmla="*/ 1424 w 3295"/>
              <a:gd name="T43" fmla="*/ 2328 h 2577"/>
              <a:gd name="T44" fmla="*/ 1474 w 3295"/>
              <a:gd name="T45" fmla="*/ 2256 h 2577"/>
              <a:gd name="T46" fmla="*/ 1485 w 3295"/>
              <a:gd name="T47" fmla="*/ 2003 h 2577"/>
              <a:gd name="T48" fmla="*/ 1462 w 3295"/>
              <a:gd name="T49" fmla="*/ 1915 h 2577"/>
              <a:gd name="T50" fmla="*/ 1400 w 3295"/>
              <a:gd name="T51" fmla="*/ 1852 h 2577"/>
              <a:gd name="T52" fmla="*/ 1313 w 3295"/>
              <a:gd name="T53" fmla="*/ 1828 h 2577"/>
              <a:gd name="T54" fmla="*/ 347 w 3295"/>
              <a:gd name="T55" fmla="*/ 1831 h 2577"/>
              <a:gd name="T56" fmla="*/ 266 w 3295"/>
              <a:gd name="T57" fmla="*/ 1870 h 2577"/>
              <a:gd name="T58" fmla="*/ 216 w 3295"/>
              <a:gd name="T59" fmla="*/ 1942 h 2577"/>
              <a:gd name="T60" fmla="*/ 205 w 3295"/>
              <a:gd name="T61" fmla="*/ 2195 h 2577"/>
              <a:gd name="T62" fmla="*/ 228 w 3295"/>
              <a:gd name="T63" fmla="*/ 2283 h 2577"/>
              <a:gd name="T64" fmla="*/ 291 w 3295"/>
              <a:gd name="T65" fmla="*/ 2345 h 2577"/>
              <a:gd name="T66" fmla="*/ 377 w 3295"/>
              <a:gd name="T67" fmla="*/ 2369 h 2577"/>
              <a:gd name="T68" fmla="*/ 628 w 3295"/>
              <a:gd name="T69" fmla="*/ 2358 h 2577"/>
              <a:gd name="T70" fmla="*/ 700 w 3295"/>
              <a:gd name="T71" fmla="*/ 2308 h 2577"/>
              <a:gd name="T72" fmla="*/ 738 w 3295"/>
              <a:gd name="T73" fmla="*/ 2226 h 2577"/>
              <a:gd name="T74" fmla="*/ 738 w 3295"/>
              <a:gd name="T75" fmla="*/ 1972 h 2577"/>
              <a:gd name="T76" fmla="*/ 700 w 3295"/>
              <a:gd name="T77" fmla="*/ 1890 h 2577"/>
              <a:gd name="T78" fmla="*/ 628 w 3295"/>
              <a:gd name="T79" fmla="*/ 1840 h 2577"/>
              <a:gd name="T80" fmla="*/ 377 w 3295"/>
              <a:gd name="T81" fmla="*/ 1828 h 2577"/>
              <a:gd name="T82" fmla="*/ 3295 w 3295"/>
              <a:gd name="T83" fmla="*/ 1840 h 2577"/>
              <a:gd name="T84" fmla="*/ 0 w 3295"/>
              <a:gd name="T85" fmla="*/ 1187 h 2577"/>
              <a:gd name="T86" fmla="*/ 1614 w 3295"/>
              <a:gd name="T87" fmla="*/ 772 h 2577"/>
              <a:gd name="T88" fmla="*/ 2417 w 3295"/>
              <a:gd name="T89" fmla="*/ 1840 h 25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295" h="2577">
                <a:moveTo>
                  <a:pt x="1867" y="1828"/>
                </a:moveTo>
                <a:lnTo>
                  <a:pt x="1836" y="1831"/>
                </a:lnTo>
                <a:lnTo>
                  <a:pt x="1808" y="1840"/>
                </a:lnTo>
                <a:lnTo>
                  <a:pt x="1780" y="1852"/>
                </a:lnTo>
                <a:lnTo>
                  <a:pt x="1757" y="1870"/>
                </a:lnTo>
                <a:lnTo>
                  <a:pt x="1736" y="1890"/>
                </a:lnTo>
                <a:lnTo>
                  <a:pt x="1719" y="1915"/>
                </a:lnTo>
                <a:lnTo>
                  <a:pt x="1706" y="1942"/>
                </a:lnTo>
                <a:lnTo>
                  <a:pt x="1698" y="1972"/>
                </a:lnTo>
                <a:lnTo>
                  <a:pt x="1695" y="2003"/>
                </a:lnTo>
                <a:lnTo>
                  <a:pt x="1695" y="2195"/>
                </a:lnTo>
                <a:lnTo>
                  <a:pt x="1698" y="2226"/>
                </a:lnTo>
                <a:lnTo>
                  <a:pt x="1706" y="2256"/>
                </a:lnTo>
                <a:lnTo>
                  <a:pt x="1719" y="2283"/>
                </a:lnTo>
                <a:lnTo>
                  <a:pt x="1736" y="2308"/>
                </a:lnTo>
                <a:lnTo>
                  <a:pt x="1757" y="2328"/>
                </a:lnTo>
                <a:lnTo>
                  <a:pt x="1780" y="2345"/>
                </a:lnTo>
                <a:lnTo>
                  <a:pt x="1808" y="2358"/>
                </a:lnTo>
                <a:lnTo>
                  <a:pt x="1836" y="2367"/>
                </a:lnTo>
                <a:lnTo>
                  <a:pt x="1867" y="2369"/>
                </a:lnTo>
                <a:lnTo>
                  <a:pt x="2059" y="2369"/>
                </a:lnTo>
                <a:lnTo>
                  <a:pt x="2089" y="2367"/>
                </a:lnTo>
                <a:lnTo>
                  <a:pt x="2118" y="2358"/>
                </a:lnTo>
                <a:lnTo>
                  <a:pt x="2145" y="2345"/>
                </a:lnTo>
                <a:lnTo>
                  <a:pt x="2169" y="2328"/>
                </a:lnTo>
                <a:lnTo>
                  <a:pt x="2189" y="2308"/>
                </a:lnTo>
                <a:lnTo>
                  <a:pt x="2207" y="2283"/>
                </a:lnTo>
                <a:lnTo>
                  <a:pt x="2220" y="2256"/>
                </a:lnTo>
                <a:lnTo>
                  <a:pt x="2227" y="2226"/>
                </a:lnTo>
                <a:lnTo>
                  <a:pt x="2230" y="2195"/>
                </a:lnTo>
                <a:lnTo>
                  <a:pt x="2230" y="2003"/>
                </a:lnTo>
                <a:lnTo>
                  <a:pt x="2227" y="1972"/>
                </a:lnTo>
                <a:lnTo>
                  <a:pt x="2220" y="1942"/>
                </a:lnTo>
                <a:lnTo>
                  <a:pt x="2207" y="1915"/>
                </a:lnTo>
                <a:lnTo>
                  <a:pt x="2189" y="1890"/>
                </a:lnTo>
                <a:lnTo>
                  <a:pt x="2169" y="1870"/>
                </a:lnTo>
                <a:lnTo>
                  <a:pt x="2145" y="1852"/>
                </a:lnTo>
                <a:lnTo>
                  <a:pt x="2118" y="1840"/>
                </a:lnTo>
                <a:lnTo>
                  <a:pt x="2089" y="1831"/>
                </a:lnTo>
                <a:lnTo>
                  <a:pt x="2059" y="1828"/>
                </a:lnTo>
                <a:lnTo>
                  <a:pt x="1867" y="1828"/>
                </a:lnTo>
                <a:close/>
                <a:moveTo>
                  <a:pt x="1122" y="1828"/>
                </a:moveTo>
                <a:lnTo>
                  <a:pt x="1092" y="1831"/>
                </a:lnTo>
                <a:lnTo>
                  <a:pt x="1062" y="1840"/>
                </a:lnTo>
                <a:lnTo>
                  <a:pt x="1035" y="1852"/>
                </a:lnTo>
                <a:lnTo>
                  <a:pt x="1011" y="1870"/>
                </a:lnTo>
                <a:lnTo>
                  <a:pt x="991" y="1890"/>
                </a:lnTo>
                <a:lnTo>
                  <a:pt x="974" y="1915"/>
                </a:lnTo>
                <a:lnTo>
                  <a:pt x="961" y="1942"/>
                </a:lnTo>
                <a:lnTo>
                  <a:pt x="953" y="1972"/>
                </a:lnTo>
                <a:lnTo>
                  <a:pt x="951" y="2003"/>
                </a:lnTo>
                <a:lnTo>
                  <a:pt x="951" y="2195"/>
                </a:lnTo>
                <a:lnTo>
                  <a:pt x="953" y="2226"/>
                </a:lnTo>
                <a:lnTo>
                  <a:pt x="961" y="2256"/>
                </a:lnTo>
                <a:lnTo>
                  <a:pt x="974" y="2283"/>
                </a:lnTo>
                <a:lnTo>
                  <a:pt x="991" y="2308"/>
                </a:lnTo>
                <a:lnTo>
                  <a:pt x="1011" y="2328"/>
                </a:lnTo>
                <a:lnTo>
                  <a:pt x="1035" y="2345"/>
                </a:lnTo>
                <a:lnTo>
                  <a:pt x="1062" y="2358"/>
                </a:lnTo>
                <a:lnTo>
                  <a:pt x="1092" y="2367"/>
                </a:lnTo>
                <a:lnTo>
                  <a:pt x="1122" y="2369"/>
                </a:lnTo>
                <a:lnTo>
                  <a:pt x="1313" y="2369"/>
                </a:lnTo>
                <a:lnTo>
                  <a:pt x="1345" y="2367"/>
                </a:lnTo>
                <a:lnTo>
                  <a:pt x="1373" y="2358"/>
                </a:lnTo>
                <a:lnTo>
                  <a:pt x="1400" y="2345"/>
                </a:lnTo>
                <a:lnTo>
                  <a:pt x="1424" y="2328"/>
                </a:lnTo>
                <a:lnTo>
                  <a:pt x="1444" y="2308"/>
                </a:lnTo>
                <a:lnTo>
                  <a:pt x="1462" y="2283"/>
                </a:lnTo>
                <a:lnTo>
                  <a:pt x="1474" y="2256"/>
                </a:lnTo>
                <a:lnTo>
                  <a:pt x="1482" y="2226"/>
                </a:lnTo>
                <a:lnTo>
                  <a:pt x="1485" y="2195"/>
                </a:lnTo>
                <a:lnTo>
                  <a:pt x="1485" y="2003"/>
                </a:lnTo>
                <a:lnTo>
                  <a:pt x="1482" y="1972"/>
                </a:lnTo>
                <a:lnTo>
                  <a:pt x="1474" y="1942"/>
                </a:lnTo>
                <a:lnTo>
                  <a:pt x="1462" y="1915"/>
                </a:lnTo>
                <a:lnTo>
                  <a:pt x="1444" y="1890"/>
                </a:lnTo>
                <a:lnTo>
                  <a:pt x="1424" y="1870"/>
                </a:lnTo>
                <a:lnTo>
                  <a:pt x="1400" y="1852"/>
                </a:lnTo>
                <a:lnTo>
                  <a:pt x="1373" y="1840"/>
                </a:lnTo>
                <a:lnTo>
                  <a:pt x="1345" y="1831"/>
                </a:lnTo>
                <a:lnTo>
                  <a:pt x="1313" y="1828"/>
                </a:lnTo>
                <a:lnTo>
                  <a:pt x="1122" y="1828"/>
                </a:lnTo>
                <a:close/>
                <a:moveTo>
                  <a:pt x="377" y="1828"/>
                </a:moveTo>
                <a:lnTo>
                  <a:pt x="347" y="1831"/>
                </a:lnTo>
                <a:lnTo>
                  <a:pt x="317" y="1840"/>
                </a:lnTo>
                <a:lnTo>
                  <a:pt x="291" y="1852"/>
                </a:lnTo>
                <a:lnTo>
                  <a:pt x="266" y="1870"/>
                </a:lnTo>
                <a:lnTo>
                  <a:pt x="246" y="1890"/>
                </a:lnTo>
                <a:lnTo>
                  <a:pt x="228" y="1915"/>
                </a:lnTo>
                <a:lnTo>
                  <a:pt x="216" y="1942"/>
                </a:lnTo>
                <a:lnTo>
                  <a:pt x="208" y="1972"/>
                </a:lnTo>
                <a:lnTo>
                  <a:pt x="205" y="2003"/>
                </a:lnTo>
                <a:lnTo>
                  <a:pt x="205" y="2195"/>
                </a:lnTo>
                <a:lnTo>
                  <a:pt x="208" y="2226"/>
                </a:lnTo>
                <a:lnTo>
                  <a:pt x="216" y="2256"/>
                </a:lnTo>
                <a:lnTo>
                  <a:pt x="228" y="2283"/>
                </a:lnTo>
                <a:lnTo>
                  <a:pt x="246" y="2308"/>
                </a:lnTo>
                <a:lnTo>
                  <a:pt x="266" y="2328"/>
                </a:lnTo>
                <a:lnTo>
                  <a:pt x="291" y="2345"/>
                </a:lnTo>
                <a:lnTo>
                  <a:pt x="317" y="2358"/>
                </a:lnTo>
                <a:lnTo>
                  <a:pt x="347" y="2367"/>
                </a:lnTo>
                <a:lnTo>
                  <a:pt x="377" y="2369"/>
                </a:lnTo>
                <a:lnTo>
                  <a:pt x="568" y="2369"/>
                </a:lnTo>
                <a:lnTo>
                  <a:pt x="599" y="2367"/>
                </a:lnTo>
                <a:lnTo>
                  <a:pt x="628" y="2358"/>
                </a:lnTo>
                <a:lnTo>
                  <a:pt x="655" y="2345"/>
                </a:lnTo>
                <a:lnTo>
                  <a:pt x="679" y="2328"/>
                </a:lnTo>
                <a:lnTo>
                  <a:pt x="700" y="2308"/>
                </a:lnTo>
                <a:lnTo>
                  <a:pt x="717" y="2283"/>
                </a:lnTo>
                <a:lnTo>
                  <a:pt x="729" y="2256"/>
                </a:lnTo>
                <a:lnTo>
                  <a:pt x="738" y="2226"/>
                </a:lnTo>
                <a:lnTo>
                  <a:pt x="741" y="2195"/>
                </a:lnTo>
                <a:lnTo>
                  <a:pt x="741" y="2003"/>
                </a:lnTo>
                <a:lnTo>
                  <a:pt x="738" y="1972"/>
                </a:lnTo>
                <a:lnTo>
                  <a:pt x="729" y="1942"/>
                </a:lnTo>
                <a:lnTo>
                  <a:pt x="717" y="1915"/>
                </a:lnTo>
                <a:lnTo>
                  <a:pt x="700" y="1890"/>
                </a:lnTo>
                <a:lnTo>
                  <a:pt x="679" y="1870"/>
                </a:lnTo>
                <a:lnTo>
                  <a:pt x="655" y="1852"/>
                </a:lnTo>
                <a:lnTo>
                  <a:pt x="628" y="1840"/>
                </a:lnTo>
                <a:lnTo>
                  <a:pt x="599" y="1831"/>
                </a:lnTo>
                <a:lnTo>
                  <a:pt x="568" y="1828"/>
                </a:lnTo>
                <a:lnTo>
                  <a:pt x="377" y="1828"/>
                </a:lnTo>
                <a:close/>
                <a:moveTo>
                  <a:pt x="2588" y="0"/>
                </a:moveTo>
                <a:lnTo>
                  <a:pt x="3123" y="0"/>
                </a:lnTo>
                <a:lnTo>
                  <a:pt x="3295" y="1840"/>
                </a:lnTo>
                <a:lnTo>
                  <a:pt x="3295" y="2577"/>
                </a:lnTo>
                <a:lnTo>
                  <a:pt x="0" y="2577"/>
                </a:lnTo>
                <a:lnTo>
                  <a:pt x="0" y="1187"/>
                </a:lnTo>
                <a:lnTo>
                  <a:pt x="812" y="772"/>
                </a:lnTo>
                <a:lnTo>
                  <a:pt x="812" y="1182"/>
                </a:lnTo>
                <a:lnTo>
                  <a:pt x="1614" y="772"/>
                </a:lnTo>
                <a:lnTo>
                  <a:pt x="1614" y="1182"/>
                </a:lnTo>
                <a:lnTo>
                  <a:pt x="2417" y="772"/>
                </a:lnTo>
                <a:lnTo>
                  <a:pt x="2417" y="1840"/>
                </a:lnTo>
                <a:lnTo>
                  <a:pt x="2588" y="0"/>
                </a:lnTo>
                <a:close/>
              </a:path>
            </a:pathLst>
          </a:custGeom>
          <a:solidFill>
            <a:schemeClr val="accent6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757D2527-38F6-4A43-97E6-21E3839E37CC}"/>
              </a:ext>
            </a:extLst>
          </p:cNvPr>
          <p:cNvGrpSpPr>
            <a:grpSpLocks/>
          </p:cNvGrpSpPr>
          <p:nvPr/>
        </p:nvGrpSpPr>
        <p:grpSpPr>
          <a:xfrm>
            <a:off x="6759035" y="3121677"/>
            <a:ext cx="335694" cy="281628"/>
            <a:chOff x="13512800" y="3652838"/>
            <a:chExt cx="841375" cy="871538"/>
          </a:xfrm>
          <a:solidFill>
            <a:schemeClr val="accent6"/>
          </a:solidFill>
        </p:grpSpPr>
        <p:sp>
          <p:nvSpPr>
            <p:cNvPr id="206" name="Freeform 124">
              <a:extLst>
                <a:ext uri="{FF2B5EF4-FFF2-40B4-BE49-F238E27FC236}">
                  <a16:creationId xmlns:a16="http://schemas.microsoft.com/office/drawing/2014/main" id="{89FC2C6D-AEA3-47CA-B72A-55031CC6A9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12825" y="3652838"/>
              <a:ext cx="641350" cy="257175"/>
            </a:xfrm>
            <a:custGeom>
              <a:avLst/>
              <a:gdLst>
                <a:gd name="T0" fmla="*/ 1536 w 2425"/>
                <a:gd name="T1" fmla="*/ 16 h 975"/>
                <a:gd name="T2" fmla="*/ 1675 w 2425"/>
                <a:gd name="T3" fmla="*/ 87 h 975"/>
                <a:gd name="T4" fmla="*/ 1747 w 2425"/>
                <a:gd name="T5" fmla="*/ 173 h 975"/>
                <a:gd name="T6" fmla="*/ 1769 w 2425"/>
                <a:gd name="T7" fmla="*/ 225 h 975"/>
                <a:gd name="T8" fmla="*/ 1784 w 2425"/>
                <a:gd name="T9" fmla="*/ 206 h 975"/>
                <a:gd name="T10" fmla="*/ 1851 w 2425"/>
                <a:gd name="T11" fmla="*/ 151 h 975"/>
                <a:gd name="T12" fmla="*/ 1990 w 2425"/>
                <a:gd name="T13" fmla="*/ 122 h 975"/>
                <a:gd name="T14" fmla="*/ 2139 w 2425"/>
                <a:gd name="T15" fmla="*/ 161 h 975"/>
                <a:gd name="T16" fmla="*/ 2200 w 2425"/>
                <a:gd name="T17" fmla="*/ 245 h 975"/>
                <a:gd name="T18" fmla="*/ 2210 w 2425"/>
                <a:gd name="T19" fmla="*/ 324 h 975"/>
                <a:gd name="T20" fmla="*/ 2210 w 2425"/>
                <a:gd name="T21" fmla="*/ 350 h 975"/>
                <a:gd name="T22" fmla="*/ 2264 w 2425"/>
                <a:gd name="T23" fmla="*/ 352 h 975"/>
                <a:gd name="T24" fmla="*/ 2353 w 2425"/>
                <a:gd name="T25" fmla="*/ 380 h 975"/>
                <a:gd name="T26" fmla="*/ 2418 w 2425"/>
                <a:gd name="T27" fmla="*/ 461 h 975"/>
                <a:gd name="T28" fmla="*/ 2408 w 2425"/>
                <a:gd name="T29" fmla="*/ 583 h 975"/>
                <a:gd name="T30" fmla="*/ 2326 w 2425"/>
                <a:gd name="T31" fmla="*/ 642 h 975"/>
                <a:gd name="T32" fmla="*/ 2245 w 2425"/>
                <a:gd name="T33" fmla="*/ 658 h 975"/>
                <a:gd name="T34" fmla="*/ 2230 w 2425"/>
                <a:gd name="T35" fmla="*/ 666 h 975"/>
                <a:gd name="T36" fmla="*/ 2241 w 2425"/>
                <a:gd name="T37" fmla="*/ 726 h 975"/>
                <a:gd name="T38" fmla="*/ 2202 w 2425"/>
                <a:gd name="T39" fmla="*/ 817 h 975"/>
                <a:gd name="T40" fmla="*/ 2045 w 2425"/>
                <a:gd name="T41" fmla="*/ 903 h 975"/>
                <a:gd name="T42" fmla="*/ 1874 w 2425"/>
                <a:gd name="T43" fmla="*/ 924 h 975"/>
                <a:gd name="T44" fmla="*/ 1771 w 2425"/>
                <a:gd name="T45" fmla="*/ 881 h 975"/>
                <a:gd name="T46" fmla="*/ 1722 w 2425"/>
                <a:gd name="T47" fmla="*/ 825 h 975"/>
                <a:gd name="T48" fmla="*/ 1710 w 2425"/>
                <a:gd name="T49" fmla="*/ 806 h 975"/>
                <a:gd name="T50" fmla="*/ 1672 w 2425"/>
                <a:gd name="T51" fmla="*/ 852 h 975"/>
                <a:gd name="T52" fmla="*/ 1571 w 2425"/>
                <a:gd name="T53" fmla="*/ 924 h 975"/>
                <a:gd name="T54" fmla="*/ 1397 w 2425"/>
                <a:gd name="T55" fmla="*/ 972 h 975"/>
                <a:gd name="T56" fmla="*/ 1168 w 2425"/>
                <a:gd name="T57" fmla="*/ 950 h 975"/>
                <a:gd name="T58" fmla="*/ 1018 w 2425"/>
                <a:gd name="T59" fmla="*/ 863 h 975"/>
                <a:gd name="T60" fmla="*/ 942 w 2425"/>
                <a:gd name="T61" fmla="*/ 759 h 975"/>
                <a:gd name="T62" fmla="*/ 917 w 2425"/>
                <a:gd name="T63" fmla="*/ 689 h 975"/>
                <a:gd name="T64" fmla="*/ 895 w 2425"/>
                <a:gd name="T65" fmla="*/ 691 h 975"/>
                <a:gd name="T66" fmla="*/ 786 w 2425"/>
                <a:gd name="T67" fmla="*/ 725 h 975"/>
                <a:gd name="T68" fmla="*/ 632 w 2425"/>
                <a:gd name="T69" fmla="*/ 715 h 975"/>
                <a:gd name="T70" fmla="*/ 447 w 2425"/>
                <a:gd name="T71" fmla="*/ 585 h 975"/>
                <a:gd name="T72" fmla="*/ 254 w 2425"/>
                <a:gd name="T73" fmla="*/ 476 h 975"/>
                <a:gd name="T74" fmla="*/ 109 w 2425"/>
                <a:gd name="T75" fmla="*/ 495 h 975"/>
                <a:gd name="T76" fmla="*/ 11 w 2425"/>
                <a:gd name="T77" fmla="*/ 530 h 975"/>
                <a:gd name="T78" fmla="*/ 16 w 2425"/>
                <a:gd name="T79" fmla="*/ 386 h 975"/>
                <a:gd name="T80" fmla="*/ 121 w 2425"/>
                <a:gd name="T81" fmla="*/ 268 h 975"/>
                <a:gd name="T82" fmla="*/ 252 w 2425"/>
                <a:gd name="T83" fmla="*/ 236 h 975"/>
                <a:gd name="T84" fmla="*/ 383 w 2425"/>
                <a:gd name="T85" fmla="*/ 260 h 975"/>
                <a:gd name="T86" fmla="*/ 456 w 2425"/>
                <a:gd name="T87" fmla="*/ 288 h 975"/>
                <a:gd name="T88" fmla="*/ 479 w 2425"/>
                <a:gd name="T89" fmla="*/ 260 h 975"/>
                <a:gd name="T90" fmla="*/ 563 w 2425"/>
                <a:gd name="T91" fmla="*/ 187 h 975"/>
                <a:gd name="T92" fmla="*/ 718 w 2425"/>
                <a:gd name="T93" fmla="*/ 145 h 975"/>
                <a:gd name="T94" fmla="*/ 905 w 2425"/>
                <a:gd name="T95" fmla="*/ 176 h 975"/>
                <a:gd name="T96" fmla="*/ 1005 w 2425"/>
                <a:gd name="T97" fmla="*/ 236 h 975"/>
                <a:gd name="T98" fmla="*/ 1035 w 2425"/>
                <a:gd name="T99" fmla="*/ 268 h 975"/>
                <a:gd name="T100" fmla="*/ 1059 w 2425"/>
                <a:gd name="T101" fmla="*/ 218 h 975"/>
                <a:gd name="T102" fmla="*/ 1140 w 2425"/>
                <a:gd name="T103" fmla="*/ 112 h 975"/>
                <a:gd name="T104" fmla="*/ 1288 w 2425"/>
                <a:gd name="T105" fmla="*/ 20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25" h="975">
                  <a:moveTo>
                    <a:pt x="1412" y="0"/>
                  </a:moveTo>
                  <a:lnTo>
                    <a:pt x="1412" y="0"/>
                  </a:lnTo>
                  <a:lnTo>
                    <a:pt x="1457" y="3"/>
                  </a:lnTo>
                  <a:lnTo>
                    <a:pt x="1498" y="8"/>
                  </a:lnTo>
                  <a:lnTo>
                    <a:pt x="1536" y="16"/>
                  </a:lnTo>
                  <a:lnTo>
                    <a:pt x="1570" y="27"/>
                  </a:lnTo>
                  <a:lnTo>
                    <a:pt x="1602" y="40"/>
                  </a:lnTo>
                  <a:lnTo>
                    <a:pt x="1629" y="54"/>
                  </a:lnTo>
                  <a:lnTo>
                    <a:pt x="1653" y="70"/>
                  </a:lnTo>
                  <a:lnTo>
                    <a:pt x="1675" y="87"/>
                  </a:lnTo>
                  <a:lnTo>
                    <a:pt x="1694" y="105"/>
                  </a:lnTo>
                  <a:lnTo>
                    <a:pt x="1711" y="123"/>
                  </a:lnTo>
                  <a:lnTo>
                    <a:pt x="1725" y="140"/>
                  </a:lnTo>
                  <a:lnTo>
                    <a:pt x="1736" y="158"/>
                  </a:lnTo>
                  <a:lnTo>
                    <a:pt x="1747" y="173"/>
                  </a:lnTo>
                  <a:lnTo>
                    <a:pt x="1754" y="188"/>
                  </a:lnTo>
                  <a:lnTo>
                    <a:pt x="1761" y="201"/>
                  </a:lnTo>
                  <a:lnTo>
                    <a:pt x="1765" y="211"/>
                  </a:lnTo>
                  <a:lnTo>
                    <a:pt x="1768" y="220"/>
                  </a:lnTo>
                  <a:lnTo>
                    <a:pt x="1769" y="225"/>
                  </a:lnTo>
                  <a:lnTo>
                    <a:pt x="1770" y="227"/>
                  </a:lnTo>
                  <a:lnTo>
                    <a:pt x="1770" y="225"/>
                  </a:lnTo>
                  <a:lnTo>
                    <a:pt x="1773" y="221"/>
                  </a:lnTo>
                  <a:lnTo>
                    <a:pt x="1778" y="215"/>
                  </a:lnTo>
                  <a:lnTo>
                    <a:pt x="1784" y="206"/>
                  </a:lnTo>
                  <a:lnTo>
                    <a:pt x="1792" y="196"/>
                  </a:lnTo>
                  <a:lnTo>
                    <a:pt x="1804" y="185"/>
                  </a:lnTo>
                  <a:lnTo>
                    <a:pt x="1817" y="173"/>
                  </a:lnTo>
                  <a:lnTo>
                    <a:pt x="1832" y="162"/>
                  </a:lnTo>
                  <a:lnTo>
                    <a:pt x="1851" y="151"/>
                  </a:lnTo>
                  <a:lnTo>
                    <a:pt x="1872" y="141"/>
                  </a:lnTo>
                  <a:lnTo>
                    <a:pt x="1897" y="133"/>
                  </a:lnTo>
                  <a:lnTo>
                    <a:pt x="1925" y="127"/>
                  </a:lnTo>
                  <a:lnTo>
                    <a:pt x="1956" y="123"/>
                  </a:lnTo>
                  <a:lnTo>
                    <a:pt x="1990" y="122"/>
                  </a:lnTo>
                  <a:lnTo>
                    <a:pt x="2028" y="124"/>
                  </a:lnTo>
                  <a:lnTo>
                    <a:pt x="2062" y="129"/>
                  </a:lnTo>
                  <a:lnTo>
                    <a:pt x="2092" y="137"/>
                  </a:lnTo>
                  <a:lnTo>
                    <a:pt x="2117" y="148"/>
                  </a:lnTo>
                  <a:lnTo>
                    <a:pt x="2139" y="161"/>
                  </a:lnTo>
                  <a:lnTo>
                    <a:pt x="2157" y="175"/>
                  </a:lnTo>
                  <a:lnTo>
                    <a:pt x="2172" y="192"/>
                  </a:lnTo>
                  <a:lnTo>
                    <a:pt x="2183" y="209"/>
                  </a:lnTo>
                  <a:lnTo>
                    <a:pt x="2193" y="227"/>
                  </a:lnTo>
                  <a:lnTo>
                    <a:pt x="2200" y="245"/>
                  </a:lnTo>
                  <a:lnTo>
                    <a:pt x="2204" y="263"/>
                  </a:lnTo>
                  <a:lnTo>
                    <a:pt x="2207" y="280"/>
                  </a:lnTo>
                  <a:lnTo>
                    <a:pt x="2210" y="296"/>
                  </a:lnTo>
                  <a:lnTo>
                    <a:pt x="2211" y="312"/>
                  </a:lnTo>
                  <a:lnTo>
                    <a:pt x="2210" y="324"/>
                  </a:lnTo>
                  <a:lnTo>
                    <a:pt x="2210" y="335"/>
                  </a:lnTo>
                  <a:lnTo>
                    <a:pt x="2208" y="343"/>
                  </a:lnTo>
                  <a:lnTo>
                    <a:pt x="2207" y="349"/>
                  </a:lnTo>
                  <a:lnTo>
                    <a:pt x="2207" y="350"/>
                  </a:lnTo>
                  <a:lnTo>
                    <a:pt x="2210" y="350"/>
                  </a:lnTo>
                  <a:lnTo>
                    <a:pt x="2215" y="350"/>
                  </a:lnTo>
                  <a:lnTo>
                    <a:pt x="2223" y="350"/>
                  </a:lnTo>
                  <a:lnTo>
                    <a:pt x="2235" y="350"/>
                  </a:lnTo>
                  <a:lnTo>
                    <a:pt x="2248" y="351"/>
                  </a:lnTo>
                  <a:lnTo>
                    <a:pt x="2264" y="352"/>
                  </a:lnTo>
                  <a:lnTo>
                    <a:pt x="2281" y="354"/>
                  </a:lnTo>
                  <a:lnTo>
                    <a:pt x="2298" y="359"/>
                  </a:lnTo>
                  <a:lnTo>
                    <a:pt x="2317" y="363"/>
                  </a:lnTo>
                  <a:lnTo>
                    <a:pt x="2335" y="371"/>
                  </a:lnTo>
                  <a:lnTo>
                    <a:pt x="2353" y="380"/>
                  </a:lnTo>
                  <a:lnTo>
                    <a:pt x="2370" y="390"/>
                  </a:lnTo>
                  <a:lnTo>
                    <a:pt x="2384" y="404"/>
                  </a:lnTo>
                  <a:lnTo>
                    <a:pt x="2398" y="420"/>
                  </a:lnTo>
                  <a:lnTo>
                    <a:pt x="2410" y="440"/>
                  </a:lnTo>
                  <a:lnTo>
                    <a:pt x="2418" y="461"/>
                  </a:lnTo>
                  <a:lnTo>
                    <a:pt x="2423" y="487"/>
                  </a:lnTo>
                  <a:lnTo>
                    <a:pt x="2425" y="516"/>
                  </a:lnTo>
                  <a:lnTo>
                    <a:pt x="2423" y="541"/>
                  </a:lnTo>
                  <a:lnTo>
                    <a:pt x="2417" y="563"/>
                  </a:lnTo>
                  <a:lnTo>
                    <a:pt x="2408" y="583"/>
                  </a:lnTo>
                  <a:lnTo>
                    <a:pt x="2395" y="599"/>
                  </a:lnTo>
                  <a:lnTo>
                    <a:pt x="2379" y="613"/>
                  </a:lnTo>
                  <a:lnTo>
                    <a:pt x="2362" y="624"/>
                  </a:lnTo>
                  <a:lnTo>
                    <a:pt x="2344" y="634"/>
                  </a:lnTo>
                  <a:lnTo>
                    <a:pt x="2326" y="642"/>
                  </a:lnTo>
                  <a:lnTo>
                    <a:pt x="2307" y="647"/>
                  </a:lnTo>
                  <a:lnTo>
                    <a:pt x="2290" y="652"/>
                  </a:lnTo>
                  <a:lnTo>
                    <a:pt x="2273" y="655"/>
                  </a:lnTo>
                  <a:lnTo>
                    <a:pt x="2258" y="657"/>
                  </a:lnTo>
                  <a:lnTo>
                    <a:pt x="2245" y="658"/>
                  </a:lnTo>
                  <a:lnTo>
                    <a:pt x="2236" y="659"/>
                  </a:lnTo>
                  <a:lnTo>
                    <a:pt x="2230" y="659"/>
                  </a:lnTo>
                  <a:lnTo>
                    <a:pt x="2226" y="659"/>
                  </a:lnTo>
                  <a:lnTo>
                    <a:pt x="2227" y="661"/>
                  </a:lnTo>
                  <a:lnTo>
                    <a:pt x="2230" y="666"/>
                  </a:lnTo>
                  <a:lnTo>
                    <a:pt x="2233" y="673"/>
                  </a:lnTo>
                  <a:lnTo>
                    <a:pt x="2236" y="683"/>
                  </a:lnTo>
                  <a:lnTo>
                    <a:pt x="2239" y="695"/>
                  </a:lnTo>
                  <a:lnTo>
                    <a:pt x="2240" y="710"/>
                  </a:lnTo>
                  <a:lnTo>
                    <a:pt x="2241" y="726"/>
                  </a:lnTo>
                  <a:lnTo>
                    <a:pt x="2239" y="742"/>
                  </a:lnTo>
                  <a:lnTo>
                    <a:pt x="2235" y="760"/>
                  </a:lnTo>
                  <a:lnTo>
                    <a:pt x="2227" y="778"/>
                  </a:lnTo>
                  <a:lnTo>
                    <a:pt x="2217" y="798"/>
                  </a:lnTo>
                  <a:lnTo>
                    <a:pt x="2202" y="817"/>
                  </a:lnTo>
                  <a:lnTo>
                    <a:pt x="2182" y="835"/>
                  </a:lnTo>
                  <a:lnTo>
                    <a:pt x="2157" y="854"/>
                  </a:lnTo>
                  <a:lnTo>
                    <a:pt x="2125" y="870"/>
                  </a:lnTo>
                  <a:lnTo>
                    <a:pt x="2088" y="887"/>
                  </a:lnTo>
                  <a:lnTo>
                    <a:pt x="2045" y="903"/>
                  </a:lnTo>
                  <a:lnTo>
                    <a:pt x="2005" y="915"/>
                  </a:lnTo>
                  <a:lnTo>
                    <a:pt x="1968" y="923"/>
                  </a:lnTo>
                  <a:lnTo>
                    <a:pt x="1935" y="926"/>
                  </a:lnTo>
                  <a:lnTo>
                    <a:pt x="1903" y="926"/>
                  </a:lnTo>
                  <a:lnTo>
                    <a:pt x="1874" y="924"/>
                  </a:lnTo>
                  <a:lnTo>
                    <a:pt x="1849" y="918"/>
                  </a:lnTo>
                  <a:lnTo>
                    <a:pt x="1826" y="912"/>
                  </a:lnTo>
                  <a:lnTo>
                    <a:pt x="1806" y="902"/>
                  </a:lnTo>
                  <a:lnTo>
                    <a:pt x="1787" y="892"/>
                  </a:lnTo>
                  <a:lnTo>
                    <a:pt x="1771" y="881"/>
                  </a:lnTo>
                  <a:lnTo>
                    <a:pt x="1758" y="869"/>
                  </a:lnTo>
                  <a:lnTo>
                    <a:pt x="1746" y="857"/>
                  </a:lnTo>
                  <a:lnTo>
                    <a:pt x="1735" y="846"/>
                  </a:lnTo>
                  <a:lnTo>
                    <a:pt x="1728" y="835"/>
                  </a:lnTo>
                  <a:lnTo>
                    <a:pt x="1722" y="825"/>
                  </a:lnTo>
                  <a:lnTo>
                    <a:pt x="1716" y="817"/>
                  </a:lnTo>
                  <a:lnTo>
                    <a:pt x="1713" y="810"/>
                  </a:lnTo>
                  <a:lnTo>
                    <a:pt x="1711" y="806"/>
                  </a:lnTo>
                  <a:lnTo>
                    <a:pt x="1711" y="805"/>
                  </a:lnTo>
                  <a:lnTo>
                    <a:pt x="1710" y="806"/>
                  </a:lnTo>
                  <a:lnTo>
                    <a:pt x="1707" y="811"/>
                  </a:lnTo>
                  <a:lnTo>
                    <a:pt x="1702" y="818"/>
                  </a:lnTo>
                  <a:lnTo>
                    <a:pt x="1694" y="828"/>
                  </a:lnTo>
                  <a:lnTo>
                    <a:pt x="1684" y="838"/>
                  </a:lnTo>
                  <a:lnTo>
                    <a:pt x="1672" y="852"/>
                  </a:lnTo>
                  <a:lnTo>
                    <a:pt x="1657" y="866"/>
                  </a:lnTo>
                  <a:lnTo>
                    <a:pt x="1640" y="880"/>
                  </a:lnTo>
                  <a:lnTo>
                    <a:pt x="1620" y="895"/>
                  </a:lnTo>
                  <a:lnTo>
                    <a:pt x="1597" y="910"/>
                  </a:lnTo>
                  <a:lnTo>
                    <a:pt x="1571" y="924"/>
                  </a:lnTo>
                  <a:lnTo>
                    <a:pt x="1543" y="937"/>
                  </a:lnTo>
                  <a:lnTo>
                    <a:pt x="1511" y="949"/>
                  </a:lnTo>
                  <a:lnTo>
                    <a:pt x="1476" y="959"/>
                  </a:lnTo>
                  <a:lnTo>
                    <a:pt x="1438" y="966"/>
                  </a:lnTo>
                  <a:lnTo>
                    <a:pt x="1397" y="972"/>
                  </a:lnTo>
                  <a:lnTo>
                    <a:pt x="1353" y="975"/>
                  </a:lnTo>
                  <a:lnTo>
                    <a:pt x="1305" y="974"/>
                  </a:lnTo>
                  <a:lnTo>
                    <a:pt x="1253" y="970"/>
                  </a:lnTo>
                  <a:lnTo>
                    <a:pt x="1208" y="961"/>
                  </a:lnTo>
                  <a:lnTo>
                    <a:pt x="1168" y="950"/>
                  </a:lnTo>
                  <a:lnTo>
                    <a:pt x="1131" y="937"/>
                  </a:lnTo>
                  <a:lnTo>
                    <a:pt x="1097" y="920"/>
                  </a:lnTo>
                  <a:lnTo>
                    <a:pt x="1067" y="902"/>
                  </a:lnTo>
                  <a:lnTo>
                    <a:pt x="1041" y="883"/>
                  </a:lnTo>
                  <a:lnTo>
                    <a:pt x="1018" y="863"/>
                  </a:lnTo>
                  <a:lnTo>
                    <a:pt x="998" y="842"/>
                  </a:lnTo>
                  <a:lnTo>
                    <a:pt x="980" y="820"/>
                  </a:lnTo>
                  <a:lnTo>
                    <a:pt x="965" y="799"/>
                  </a:lnTo>
                  <a:lnTo>
                    <a:pt x="953" y="778"/>
                  </a:lnTo>
                  <a:lnTo>
                    <a:pt x="942" y="759"/>
                  </a:lnTo>
                  <a:lnTo>
                    <a:pt x="934" y="740"/>
                  </a:lnTo>
                  <a:lnTo>
                    <a:pt x="927" y="724"/>
                  </a:lnTo>
                  <a:lnTo>
                    <a:pt x="923" y="710"/>
                  </a:lnTo>
                  <a:lnTo>
                    <a:pt x="919" y="698"/>
                  </a:lnTo>
                  <a:lnTo>
                    <a:pt x="917" y="689"/>
                  </a:lnTo>
                  <a:lnTo>
                    <a:pt x="916" y="682"/>
                  </a:lnTo>
                  <a:lnTo>
                    <a:pt x="916" y="681"/>
                  </a:lnTo>
                  <a:lnTo>
                    <a:pt x="913" y="682"/>
                  </a:lnTo>
                  <a:lnTo>
                    <a:pt x="905" y="685"/>
                  </a:lnTo>
                  <a:lnTo>
                    <a:pt x="895" y="691"/>
                  </a:lnTo>
                  <a:lnTo>
                    <a:pt x="879" y="698"/>
                  </a:lnTo>
                  <a:lnTo>
                    <a:pt x="860" y="705"/>
                  </a:lnTo>
                  <a:lnTo>
                    <a:pt x="838" y="712"/>
                  </a:lnTo>
                  <a:lnTo>
                    <a:pt x="814" y="719"/>
                  </a:lnTo>
                  <a:lnTo>
                    <a:pt x="786" y="725"/>
                  </a:lnTo>
                  <a:lnTo>
                    <a:pt x="758" y="728"/>
                  </a:lnTo>
                  <a:lnTo>
                    <a:pt x="727" y="730"/>
                  </a:lnTo>
                  <a:lnTo>
                    <a:pt x="696" y="729"/>
                  </a:lnTo>
                  <a:lnTo>
                    <a:pt x="664" y="724"/>
                  </a:lnTo>
                  <a:lnTo>
                    <a:pt x="632" y="715"/>
                  </a:lnTo>
                  <a:lnTo>
                    <a:pt x="600" y="702"/>
                  </a:lnTo>
                  <a:lnTo>
                    <a:pt x="568" y="683"/>
                  </a:lnTo>
                  <a:lnTo>
                    <a:pt x="538" y="659"/>
                  </a:lnTo>
                  <a:lnTo>
                    <a:pt x="491" y="621"/>
                  </a:lnTo>
                  <a:lnTo>
                    <a:pt x="447" y="585"/>
                  </a:lnTo>
                  <a:lnTo>
                    <a:pt x="404" y="554"/>
                  </a:lnTo>
                  <a:lnTo>
                    <a:pt x="364" y="528"/>
                  </a:lnTo>
                  <a:lnTo>
                    <a:pt x="326" y="506"/>
                  </a:lnTo>
                  <a:lnTo>
                    <a:pt x="289" y="489"/>
                  </a:lnTo>
                  <a:lnTo>
                    <a:pt x="254" y="476"/>
                  </a:lnTo>
                  <a:lnTo>
                    <a:pt x="222" y="469"/>
                  </a:lnTo>
                  <a:lnTo>
                    <a:pt x="191" y="467"/>
                  </a:lnTo>
                  <a:lnTo>
                    <a:pt x="161" y="470"/>
                  </a:lnTo>
                  <a:lnTo>
                    <a:pt x="134" y="480"/>
                  </a:lnTo>
                  <a:lnTo>
                    <a:pt x="109" y="495"/>
                  </a:lnTo>
                  <a:lnTo>
                    <a:pt x="85" y="516"/>
                  </a:lnTo>
                  <a:lnTo>
                    <a:pt x="62" y="543"/>
                  </a:lnTo>
                  <a:lnTo>
                    <a:pt x="41" y="577"/>
                  </a:lnTo>
                  <a:lnTo>
                    <a:pt x="23" y="555"/>
                  </a:lnTo>
                  <a:lnTo>
                    <a:pt x="11" y="530"/>
                  </a:lnTo>
                  <a:lnTo>
                    <a:pt x="3" y="503"/>
                  </a:lnTo>
                  <a:lnTo>
                    <a:pt x="0" y="475"/>
                  </a:lnTo>
                  <a:lnTo>
                    <a:pt x="1" y="445"/>
                  </a:lnTo>
                  <a:lnTo>
                    <a:pt x="7" y="416"/>
                  </a:lnTo>
                  <a:lnTo>
                    <a:pt x="16" y="386"/>
                  </a:lnTo>
                  <a:lnTo>
                    <a:pt x="30" y="358"/>
                  </a:lnTo>
                  <a:lnTo>
                    <a:pt x="47" y="331"/>
                  </a:lnTo>
                  <a:lnTo>
                    <a:pt x="68" y="307"/>
                  </a:lnTo>
                  <a:lnTo>
                    <a:pt x="93" y="286"/>
                  </a:lnTo>
                  <a:lnTo>
                    <a:pt x="121" y="268"/>
                  </a:lnTo>
                  <a:lnTo>
                    <a:pt x="145" y="255"/>
                  </a:lnTo>
                  <a:lnTo>
                    <a:pt x="170" y="245"/>
                  </a:lnTo>
                  <a:lnTo>
                    <a:pt x="196" y="240"/>
                  </a:lnTo>
                  <a:lnTo>
                    <a:pt x="224" y="236"/>
                  </a:lnTo>
                  <a:lnTo>
                    <a:pt x="252" y="236"/>
                  </a:lnTo>
                  <a:lnTo>
                    <a:pt x="281" y="239"/>
                  </a:lnTo>
                  <a:lnTo>
                    <a:pt x="308" y="243"/>
                  </a:lnTo>
                  <a:lnTo>
                    <a:pt x="334" y="247"/>
                  </a:lnTo>
                  <a:lnTo>
                    <a:pt x="360" y="254"/>
                  </a:lnTo>
                  <a:lnTo>
                    <a:pt x="383" y="260"/>
                  </a:lnTo>
                  <a:lnTo>
                    <a:pt x="404" y="268"/>
                  </a:lnTo>
                  <a:lnTo>
                    <a:pt x="423" y="275"/>
                  </a:lnTo>
                  <a:lnTo>
                    <a:pt x="437" y="280"/>
                  </a:lnTo>
                  <a:lnTo>
                    <a:pt x="449" y="284"/>
                  </a:lnTo>
                  <a:lnTo>
                    <a:pt x="456" y="288"/>
                  </a:lnTo>
                  <a:lnTo>
                    <a:pt x="459" y="289"/>
                  </a:lnTo>
                  <a:lnTo>
                    <a:pt x="460" y="287"/>
                  </a:lnTo>
                  <a:lnTo>
                    <a:pt x="464" y="281"/>
                  </a:lnTo>
                  <a:lnTo>
                    <a:pt x="469" y="272"/>
                  </a:lnTo>
                  <a:lnTo>
                    <a:pt x="479" y="260"/>
                  </a:lnTo>
                  <a:lnTo>
                    <a:pt x="490" y="247"/>
                  </a:lnTo>
                  <a:lnTo>
                    <a:pt x="504" y="232"/>
                  </a:lnTo>
                  <a:lnTo>
                    <a:pt x="521" y="217"/>
                  </a:lnTo>
                  <a:lnTo>
                    <a:pt x="540" y="201"/>
                  </a:lnTo>
                  <a:lnTo>
                    <a:pt x="563" y="187"/>
                  </a:lnTo>
                  <a:lnTo>
                    <a:pt x="587" y="173"/>
                  </a:lnTo>
                  <a:lnTo>
                    <a:pt x="616" y="162"/>
                  </a:lnTo>
                  <a:lnTo>
                    <a:pt x="646" y="152"/>
                  </a:lnTo>
                  <a:lnTo>
                    <a:pt x="681" y="147"/>
                  </a:lnTo>
                  <a:lnTo>
                    <a:pt x="718" y="145"/>
                  </a:lnTo>
                  <a:lnTo>
                    <a:pt x="763" y="146"/>
                  </a:lnTo>
                  <a:lnTo>
                    <a:pt x="804" y="150"/>
                  </a:lnTo>
                  <a:lnTo>
                    <a:pt x="842" y="158"/>
                  </a:lnTo>
                  <a:lnTo>
                    <a:pt x="876" y="166"/>
                  </a:lnTo>
                  <a:lnTo>
                    <a:pt x="905" y="176"/>
                  </a:lnTo>
                  <a:lnTo>
                    <a:pt x="932" y="188"/>
                  </a:lnTo>
                  <a:lnTo>
                    <a:pt x="955" y="200"/>
                  </a:lnTo>
                  <a:lnTo>
                    <a:pt x="975" y="212"/>
                  </a:lnTo>
                  <a:lnTo>
                    <a:pt x="992" y="224"/>
                  </a:lnTo>
                  <a:lnTo>
                    <a:pt x="1005" y="236"/>
                  </a:lnTo>
                  <a:lnTo>
                    <a:pt x="1016" y="246"/>
                  </a:lnTo>
                  <a:lnTo>
                    <a:pt x="1024" y="255"/>
                  </a:lnTo>
                  <a:lnTo>
                    <a:pt x="1031" y="263"/>
                  </a:lnTo>
                  <a:lnTo>
                    <a:pt x="1034" y="267"/>
                  </a:lnTo>
                  <a:lnTo>
                    <a:pt x="1035" y="268"/>
                  </a:lnTo>
                  <a:lnTo>
                    <a:pt x="1036" y="266"/>
                  </a:lnTo>
                  <a:lnTo>
                    <a:pt x="1038" y="259"/>
                  </a:lnTo>
                  <a:lnTo>
                    <a:pt x="1043" y="248"/>
                  </a:lnTo>
                  <a:lnTo>
                    <a:pt x="1051" y="234"/>
                  </a:lnTo>
                  <a:lnTo>
                    <a:pt x="1059" y="218"/>
                  </a:lnTo>
                  <a:lnTo>
                    <a:pt x="1071" y="199"/>
                  </a:lnTo>
                  <a:lnTo>
                    <a:pt x="1084" y="178"/>
                  </a:lnTo>
                  <a:lnTo>
                    <a:pt x="1100" y="157"/>
                  </a:lnTo>
                  <a:lnTo>
                    <a:pt x="1119" y="135"/>
                  </a:lnTo>
                  <a:lnTo>
                    <a:pt x="1140" y="112"/>
                  </a:lnTo>
                  <a:lnTo>
                    <a:pt x="1164" y="90"/>
                  </a:lnTo>
                  <a:lnTo>
                    <a:pt x="1191" y="70"/>
                  </a:lnTo>
                  <a:lnTo>
                    <a:pt x="1220" y="51"/>
                  </a:lnTo>
                  <a:lnTo>
                    <a:pt x="1253" y="34"/>
                  </a:lnTo>
                  <a:lnTo>
                    <a:pt x="1288" y="20"/>
                  </a:lnTo>
                  <a:lnTo>
                    <a:pt x="1326" y="10"/>
                  </a:lnTo>
                  <a:lnTo>
                    <a:pt x="1368" y="3"/>
                  </a:lnTo>
                  <a:lnTo>
                    <a:pt x="1412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/>
            </a:p>
          </p:txBody>
        </p:sp>
        <p:sp>
          <p:nvSpPr>
            <p:cNvPr id="207" name="Freeform 125">
              <a:extLst>
                <a:ext uri="{FF2B5EF4-FFF2-40B4-BE49-F238E27FC236}">
                  <a16:creationId xmlns:a16="http://schemas.microsoft.com/office/drawing/2014/main" id="{C0ED9071-A77C-49D8-9BD6-E3D434D262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12800" y="3814763"/>
              <a:ext cx="841375" cy="709613"/>
            </a:xfrm>
            <a:custGeom>
              <a:avLst/>
              <a:gdLst>
                <a:gd name="T0" fmla="*/ 397 w 3178"/>
                <a:gd name="T1" fmla="*/ 1855 h 2680"/>
                <a:gd name="T2" fmla="*/ 397 w 3178"/>
                <a:gd name="T3" fmla="*/ 2267 h 2680"/>
                <a:gd name="T4" fmla="*/ 1193 w 3178"/>
                <a:gd name="T5" fmla="*/ 2267 h 2680"/>
                <a:gd name="T6" fmla="*/ 1193 w 3178"/>
                <a:gd name="T7" fmla="*/ 1855 h 2680"/>
                <a:gd name="T8" fmla="*/ 397 w 3178"/>
                <a:gd name="T9" fmla="*/ 1855 h 2680"/>
                <a:gd name="T10" fmla="*/ 595 w 3178"/>
                <a:gd name="T11" fmla="*/ 0 h 2680"/>
                <a:gd name="T12" fmla="*/ 993 w 3178"/>
                <a:gd name="T13" fmla="*/ 0 h 2680"/>
                <a:gd name="T14" fmla="*/ 1113 w 3178"/>
                <a:gd name="T15" fmla="*/ 1443 h 2680"/>
                <a:gd name="T16" fmla="*/ 1589 w 3178"/>
                <a:gd name="T17" fmla="*/ 1443 h 2680"/>
                <a:gd name="T18" fmla="*/ 1589 w 3178"/>
                <a:gd name="T19" fmla="*/ 1876 h 2680"/>
                <a:gd name="T20" fmla="*/ 2384 w 3178"/>
                <a:gd name="T21" fmla="*/ 1443 h 2680"/>
                <a:gd name="T22" fmla="*/ 2384 w 3178"/>
                <a:gd name="T23" fmla="*/ 1876 h 2680"/>
                <a:gd name="T24" fmla="*/ 3178 w 3178"/>
                <a:gd name="T25" fmla="*/ 1443 h 2680"/>
                <a:gd name="T26" fmla="*/ 3178 w 3178"/>
                <a:gd name="T27" fmla="*/ 2680 h 2680"/>
                <a:gd name="T28" fmla="*/ 0 w 3178"/>
                <a:gd name="T29" fmla="*/ 2680 h 2680"/>
                <a:gd name="T30" fmla="*/ 0 w 3178"/>
                <a:gd name="T31" fmla="*/ 1443 h 2680"/>
                <a:gd name="T32" fmla="*/ 477 w 3178"/>
                <a:gd name="T33" fmla="*/ 1443 h 2680"/>
                <a:gd name="T34" fmla="*/ 595 w 3178"/>
                <a:gd name="T35" fmla="*/ 0 h 2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78" h="2680">
                  <a:moveTo>
                    <a:pt x="397" y="1855"/>
                  </a:moveTo>
                  <a:lnTo>
                    <a:pt x="397" y="2267"/>
                  </a:lnTo>
                  <a:lnTo>
                    <a:pt x="1193" y="2267"/>
                  </a:lnTo>
                  <a:lnTo>
                    <a:pt x="1193" y="1855"/>
                  </a:lnTo>
                  <a:lnTo>
                    <a:pt x="397" y="1855"/>
                  </a:lnTo>
                  <a:close/>
                  <a:moveTo>
                    <a:pt x="595" y="0"/>
                  </a:moveTo>
                  <a:lnTo>
                    <a:pt x="993" y="0"/>
                  </a:lnTo>
                  <a:lnTo>
                    <a:pt x="1113" y="1443"/>
                  </a:lnTo>
                  <a:lnTo>
                    <a:pt x="1589" y="1443"/>
                  </a:lnTo>
                  <a:lnTo>
                    <a:pt x="1589" y="1876"/>
                  </a:lnTo>
                  <a:lnTo>
                    <a:pt x="2384" y="1443"/>
                  </a:lnTo>
                  <a:lnTo>
                    <a:pt x="2384" y="1876"/>
                  </a:lnTo>
                  <a:lnTo>
                    <a:pt x="3178" y="1443"/>
                  </a:lnTo>
                  <a:lnTo>
                    <a:pt x="3178" y="2680"/>
                  </a:lnTo>
                  <a:lnTo>
                    <a:pt x="0" y="2680"/>
                  </a:lnTo>
                  <a:lnTo>
                    <a:pt x="0" y="1443"/>
                  </a:lnTo>
                  <a:lnTo>
                    <a:pt x="477" y="1443"/>
                  </a:lnTo>
                  <a:lnTo>
                    <a:pt x="595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/>
            </a:p>
          </p:txBody>
        </p:sp>
      </p:grpSp>
      <p:sp>
        <p:nvSpPr>
          <p:cNvPr id="208" name="Freeform 15">
            <a:extLst>
              <a:ext uri="{FF2B5EF4-FFF2-40B4-BE49-F238E27FC236}">
                <a16:creationId xmlns:a16="http://schemas.microsoft.com/office/drawing/2014/main" id="{EAE15021-A034-4BAA-9248-E4D875521409}"/>
              </a:ext>
            </a:extLst>
          </p:cNvPr>
          <p:cNvSpPr>
            <a:spLocks noEditPoints="1"/>
          </p:cNvSpPr>
          <p:nvPr/>
        </p:nvSpPr>
        <p:spPr bwMode="auto">
          <a:xfrm>
            <a:off x="7030596" y="4053883"/>
            <a:ext cx="454884" cy="215479"/>
          </a:xfrm>
          <a:custGeom>
            <a:avLst/>
            <a:gdLst>
              <a:gd name="T0" fmla="*/ 1707 w 4250"/>
              <a:gd name="T1" fmla="*/ 2331 h 2387"/>
              <a:gd name="T2" fmla="*/ 1162 w 4250"/>
              <a:gd name="T3" fmla="*/ 2313 h 2387"/>
              <a:gd name="T4" fmla="*/ 1131 w 4250"/>
              <a:gd name="T5" fmla="*/ 2250 h 2387"/>
              <a:gd name="T6" fmla="*/ 1100 w 4250"/>
              <a:gd name="T7" fmla="*/ 2051 h 2387"/>
              <a:gd name="T8" fmla="*/ 1163 w 4250"/>
              <a:gd name="T9" fmla="*/ 1813 h 2387"/>
              <a:gd name="T10" fmla="*/ 1441 w 4250"/>
              <a:gd name="T11" fmla="*/ 1775 h 2387"/>
              <a:gd name="T12" fmla="*/ 1713 w 4250"/>
              <a:gd name="T13" fmla="*/ 1625 h 2387"/>
              <a:gd name="T14" fmla="*/ 1681 w 4250"/>
              <a:gd name="T15" fmla="*/ 1500 h 2387"/>
              <a:gd name="T16" fmla="*/ 1650 w 4250"/>
              <a:gd name="T17" fmla="*/ 1364 h 2387"/>
              <a:gd name="T18" fmla="*/ 1781 w 4250"/>
              <a:gd name="T19" fmla="*/ 1356 h 2387"/>
              <a:gd name="T20" fmla="*/ 1788 w 4250"/>
              <a:gd name="T21" fmla="*/ 1087 h 2387"/>
              <a:gd name="T22" fmla="*/ 2394 w 4250"/>
              <a:gd name="T23" fmla="*/ 1094 h 2387"/>
              <a:gd name="T24" fmla="*/ 2397 w 4250"/>
              <a:gd name="T25" fmla="*/ 1356 h 2387"/>
              <a:gd name="T26" fmla="*/ 2531 w 4250"/>
              <a:gd name="T27" fmla="*/ 1369 h 2387"/>
              <a:gd name="T28" fmla="*/ 2496 w 4250"/>
              <a:gd name="T29" fmla="*/ 1498 h 2387"/>
              <a:gd name="T30" fmla="*/ 2465 w 4250"/>
              <a:gd name="T31" fmla="*/ 1635 h 2387"/>
              <a:gd name="T32" fmla="*/ 2740 w 4250"/>
              <a:gd name="T33" fmla="*/ 1772 h 2387"/>
              <a:gd name="T34" fmla="*/ 3015 w 4250"/>
              <a:gd name="T35" fmla="*/ 1810 h 2387"/>
              <a:gd name="T36" fmla="*/ 3150 w 4250"/>
              <a:gd name="T37" fmla="*/ 1851 h 2387"/>
              <a:gd name="T38" fmla="*/ 3150 w 4250"/>
              <a:gd name="T39" fmla="*/ 2250 h 2387"/>
              <a:gd name="T40" fmla="*/ 3012 w 4250"/>
              <a:gd name="T41" fmla="*/ 2281 h 2387"/>
              <a:gd name="T42" fmla="*/ 2741 w 4250"/>
              <a:gd name="T43" fmla="*/ 2315 h 2387"/>
              <a:gd name="T44" fmla="*/ 2465 w 4250"/>
              <a:gd name="T45" fmla="*/ 2353 h 2387"/>
              <a:gd name="T46" fmla="*/ 2093 w 4250"/>
              <a:gd name="T47" fmla="*/ 2387 h 2387"/>
              <a:gd name="T48" fmla="*/ 0 w 4250"/>
              <a:gd name="T49" fmla="*/ 2044 h 2387"/>
              <a:gd name="T50" fmla="*/ 509 w 4250"/>
              <a:gd name="T51" fmla="*/ 1915 h 2387"/>
              <a:gd name="T52" fmla="*/ 1022 w 4250"/>
              <a:gd name="T53" fmla="*/ 2047 h 2387"/>
              <a:gd name="T54" fmla="*/ 513 w 4250"/>
              <a:gd name="T55" fmla="*/ 2175 h 2387"/>
              <a:gd name="T56" fmla="*/ 0 w 4250"/>
              <a:gd name="T57" fmla="*/ 2044 h 2387"/>
              <a:gd name="T58" fmla="*/ 3231 w 4250"/>
              <a:gd name="T59" fmla="*/ 1919 h 2387"/>
              <a:gd name="T60" fmla="*/ 4250 w 4250"/>
              <a:gd name="T61" fmla="*/ 1912 h 2387"/>
              <a:gd name="T62" fmla="*/ 4250 w 4250"/>
              <a:gd name="T63" fmla="*/ 2175 h 2387"/>
              <a:gd name="T64" fmla="*/ 3224 w 4250"/>
              <a:gd name="T65" fmla="*/ 2175 h 2387"/>
              <a:gd name="T66" fmla="*/ 1855 w 4250"/>
              <a:gd name="T67" fmla="*/ 995 h 2387"/>
              <a:gd name="T68" fmla="*/ 1856 w 4250"/>
              <a:gd name="T69" fmla="*/ 894 h 2387"/>
              <a:gd name="T70" fmla="*/ 2325 w 4250"/>
              <a:gd name="T71" fmla="*/ 887 h 2387"/>
              <a:gd name="T72" fmla="*/ 2325 w 4250"/>
              <a:gd name="T73" fmla="*/ 1012 h 2387"/>
              <a:gd name="T74" fmla="*/ 1855 w 4250"/>
              <a:gd name="T75" fmla="*/ 995 h 2387"/>
              <a:gd name="T76" fmla="*/ 1992 w 4250"/>
              <a:gd name="T77" fmla="*/ 631 h 2387"/>
              <a:gd name="T78" fmla="*/ 2091 w 4250"/>
              <a:gd name="T79" fmla="*/ 478 h 2387"/>
              <a:gd name="T80" fmla="*/ 2188 w 4250"/>
              <a:gd name="T81" fmla="*/ 643 h 2387"/>
              <a:gd name="T82" fmla="*/ 2093 w 4250"/>
              <a:gd name="T83" fmla="*/ 812 h 2387"/>
              <a:gd name="T84" fmla="*/ 1923 w 4250"/>
              <a:gd name="T85" fmla="*/ 328 h 2387"/>
              <a:gd name="T86" fmla="*/ 1769 w 4250"/>
              <a:gd name="T87" fmla="*/ 247 h 2387"/>
              <a:gd name="T88" fmla="*/ 1231 w 4250"/>
              <a:gd name="T89" fmla="*/ 206 h 2387"/>
              <a:gd name="T90" fmla="*/ 1425 w 4250"/>
              <a:gd name="T91" fmla="*/ 0 h 2387"/>
              <a:gd name="T92" fmla="*/ 1678 w 4250"/>
              <a:gd name="T93" fmla="*/ 63 h 2387"/>
              <a:gd name="T94" fmla="*/ 1915 w 4250"/>
              <a:gd name="T95" fmla="*/ 0 h 2387"/>
              <a:gd name="T96" fmla="*/ 2155 w 4250"/>
              <a:gd name="T97" fmla="*/ 63 h 2387"/>
              <a:gd name="T98" fmla="*/ 2398 w 4250"/>
              <a:gd name="T99" fmla="*/ 0 h 2387"/>
              <a:gd name="T100" fmla="*/ 2702 w 4250"/>
              <a:gd name="T101" fmla="*/ 31 h 2387"/>
              <a:gd name="T102" fmla="*/ 3060 w 4250"/>
              <a:gd name="T103" fmla="*/ 25 h 2387"/>
              <a:gd name="T104" fmla="*/ 3047 w 4250"/>
              <a:gd name="T105" fmla="*/ 180 h 2387"/>
              <a:gd name="T106" fmla="*/ 2313 w 4250"/>
              <a:gd name="T107" fmla="*/ 249 h 2387"/>
              <a:gd name="T108" fmla="*/ 2256 w 4250"/>
              <a:gd name="T109" fmla="*/ 325 h 2387"/>
              <a:gd name="T110" fmla="*/ 2091 w 4250"/>
              <a:gd name="T111" fmla="*/ 397 h 2387"/>
              <a:gd name="T112" fmla="*/ 1922 w 4250"/>
              <a:gd name="T113" fmla="*/ 328 h 2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250" h="2387">
                <a:moveTo>
                  <a:pt x="1718" y="2369"/>
                </a:moveTo>
                <a:cubicBezTo>
                  <a:pt x="1715" y="2358"/>
                  <a:pt x="1710" y="2342"/>
                  <a:pt x="1707" y="2331"/>
                </a:cubicBezTo>
                <a:cubicBezTo>
                  <a:pt x="1702" y="2315"/>
                  <a:pt x="1660" y="2313"/>
                  <a:pt x="1432" y="2313"/>
                </a:cubicBezTo>
                <a:lnTo>
                  <a:pt x="1162" y="2313"/>
                </a:lnTo>
                <a:lnTo>
                  <a:pt x="1162" y="2281"/>
                </a:lnTo>
                <a:cubicBezTo>
                  <a:pt x="1162" y="2256"/>
                  <a:pt x="1156" y="2250"/>
                  <a:pt x="1131" y="2250"/>
                </a:cubicBezTo>
                <a:lnTo>
                  <a:pt x="1100" y="2250"/>
                </a:lnTo>
                <a:lnTo>
                  <a:pt x="1100" y="2051"/>
                </a:lnTo>
                <a:cubicBezTo>
                  <a:pt x="1100" y="1855"/>
                  <a:pt x="1100" y="1852"/>
                  <a:pt x="1128" y="1848"/>
                </a:cubicBezTo>
                <a:cubicBezTo>
                  <a:pt x="1145" y="1845"/>
                  <a:pt x="1158" y="1832"/>
                  <a:pt x="1163" y="1813"/>
                </a:cubicBezTo>
                <a:lnTo>
                  <a:pt x="1170" y="1781"/>
                </a:lnTo>
                <a:lnTo>
                  <a:pt x="1441" y="1775"/>
                </a:lnTo>
                <a:cubicBezTo>
                  <a:pt x="1590" y="1772"/>
                  <a:pt x="1713" y="1765"/>
                  <a:pt x="1713" y="1759"/>
                </a:cubicBezTo>
                <a:cubicBezTo>
                  <a:pt x="1713" y="1754"/>
                  <a:pt x="1713" y="1694"/>
                  <a:pt x="1713" y="1625"/>
                </a:cubicBezTo>
                <a:lnTo>
                  <a:pt x="1713" y="1500"/>
                </a:lnTo>
                <a:lnTo>
                  <a:pt x="1681" y="1500"/>
                </a:lnTo>
                <a:cubicBezTo>
                  <a:pt x="1652" y="1500"/>
                  <a:pt x="1650" y="1496"/>
                  <a:pt x="1650" y="1432"/>
                </a:cubicBezTo>
                <a:lnTo>
                  <a:pt x="1650" y="1364"/>
                </a:lnTo>
                <a:lnTo>
                  <a:pt x="1716" y="1360"/>
                </a:lnTo>
                <a:lnTo>
                  <a:pt x="1781" y="1356"/>
                </a:lnTo>
                <a:lnTo>
                  <a:pt x="1785" y="1222"/>
                </a:lnTo>
                <a:lnTo>
                  <a:pt x="1788" y="1087"/>
                </a:lnTo>
                <a:lnTo>
                  <a:pt x="2091" y="1090"/>
                </a:lnTo>
                <a:lnTo>
                  <a:pt x="2394" y="1094"/>
                </a:lnTo>
                <a:lnTo>
                  <a:pt x="2396" y="1225"/>
                </a:lnTo>
                <a:lnTo>
                  <a:pt x="2397" y="1356"/>
                </a:lnTo>
                <a:lnTo>
                  <a:pt x="2464" y="1362"/>
                </a:lnTo>
                <a:lnTo>
                  <a:pt x="2531" y="1369"/>
                </a:lnTo>
                <a:lnTo>
                  <a:pt x="2531" y="1431"/>
                </a:lnTo>
                <a:cubicBezTo>
                  <a:pt x="2531" y="1490"/>
                  <a:pt x="2529" y="1494"/>
                  <a:pt x="2496" y="1498"/>
                </a:cubicBezTo>
                <a:lnTo>
                  <a:pt x="2462" y="1502"/>
                </a:lnTo>
                <a:lnTo>
                  <a:pt x="2465" y="1635"/>
                </a:lnTo>
                <a:lnTo>
                  <a:pt x="2469" y="1769"/>
                </a:lnTo>
                <a:lnTo>
                  <a:pt x="2740" y="1772"/>
                </a:lnTo>
                <a:lnTo>
                  <a:pt x="3011" y="1775"/>
                </a:lnTo>
                <a:lnTo>
                  <a:pt x="3015" y="1810"/>
                </a:lnTo>
                <a:cubicBezTo>
                  <a:pt x="3018" y="1841"/>
                  <a:pt x="3023" y="1844"/>
                  <a:pt x="3084" y="1848"/>
                </a:cubicBezTo>
                <a:lnTo>
                  <a:pt x="3150" y="1851"/>
                </a:lnTo>
                <a:lnTo>
                  <a:pt x="3150" y="2051"/>
                </a:lnTo>
                <a:lnTo>
                  <a:pt x="3150" y="2250"/>
                </a:lnTo>
                <a:lnTo>
                  <a:pt x="3081" y="2250"/>
                </a:lnTo>
                <a:cubicBezTo>
                  <a:pt x="3016" y="2250"/>
                  <a:pt x="3012" y="2252"/>
                  <a:pt x="3012" y="2281"/>
                </a:cubicBezTo>
                <a:lnTo>
                  <a:pt x="3012" y="2312"/>
                </a:lnTo>
                <a:lnTo>
                  <a:pt x="2741" y="2315"/>
                </a:lnTo>
                <a:lnTo>
                  <a:pt x="2469" y="2319"/>
                </a:lnTo>
                <a:lnTo>
                  <a:pt x="2465" y="2353"/>
                </a:lnTo>
                <a:lnTo>
                  <a:pt x="2461" y="2387"/>
                </a:lnTo>
                <a:lnTo>
                  <a:pt x="2093" y="2387"/>
                </a:lnTo>
                <a:cubicBezTo>
                  <a:pt x="1776" y="2387"/>
                  <a:pt x="1723" y="2385"/>
                  <a:pt x="1718" y="2369"/>
                </a:cubicBezTo>
                <a:close/>
                <a:moveTo>
                  <a:pt x="0" y="2044"/>
                </a:moveTo>
                <a:lnTo>
                  <a:pt x="0" y="1912"/>
                </a:lnTo>
                <a:lnTo>
                  <a:pt x="509" y="1915"/>
                </a:lnTo>
                <a:lnTo>
                  <a:pt x="1019" y="1919"/>
                </a:lnTo>
                <a:lnTo>
                  <a:pt x="1022" y="2047"/>
                </a:lnTo>
                <a:lnTo>
                  <a:pt x="1026" y="2175"/>
                </a:lnTo>
                <a:lnTo>
                  <a:pt x="513" y="2175"/>
                </a:lnTo>
                <a:lnTo>
                  <a:pt x="0" y="2175"/>
                </a:lnTo>
                <a:lnTo>
                  <a:pt x="0" y="2044"/>
                </a:lnTo>
                <a:close/>
                <a:moveTo>
                  <a:pt x="3228" y="2047"/>
                </a:moveTo>
                <a:lnTo>
                  <a:pt x="3231" y="1919"/>
                </a:lnTo>
                <a:lnTo>
                  <a:pt x="3741" y="1915"/>
                </a:lnTo>
                <a:lnTo>
                  <a:pt x="4250" y="1912"/>
                </a:lnTo>
                <a:lnTo>
                  <a:pt x="4250" y="2044"/>
                </a:lnTo>
                <a:lnTo>
                  <a:pt x="4250" y="2175"/>
                </a:lnTo>
                <a:lnTo>
                  <a:pt x="3737" y="2175"/>
                </a:lnTo>
                <a:lnTo>
                  <a:pt x="3224" y="2175"/>
                </a:lnTo>
                <a:lnTo>
                  <a:pt x="3228" y="2047"/>
                </a:lnTo>
                <a:close/>
                <a:moveTo>
                  <a:pt x="1855" y="995"/>
                </a:moveTo>
                <a:cubicBezTo>
                  <a:pt x="1851" y="985"/>
                  <a:pt x="1850" y="959"/>
                  <a:pt x="1852" y="936"/>
                </a:cubicBezTo>
                <a:lnTo>
                  <a:pt x="1856" y="894"/>
                </a:lnTo>
                <a:lnTo>
                  <a:pt x="2091" y="890"/>
                </a:lnTo>
                <a:lnTo>
                  <a:pt x="2325" y="887"/>
                </a:lnTo>
                <a:lnTo>
                  <a:pt x="2325" y="950"/>
                </a:lnTo>
                <a:lnTo>
                  <a:pt x="2325" y="1012"/>
                </a:lnTo>
                <a:lnTo>
                  <a:pt x="2093" y="1012"/>
                </a:lnTo>
                <a:cubicBezTo>
                  <a:pt x="1906" y="1012"/>
                  <a:pt x="1860" y="1009"/>
                  <a:pt x="1855" y="995"/>
                </a:cubicBezTo>
                <a:close/>
                <a:moveTo>
                  <a:pt x="1994" y="797"/>
                </a:moveTo>
                <a:cubicBezTo>
                  <a:pt x="1992" y="788"/>
                  <a:pt x="1990" y="714"/>
                  <a:pt x="1992" y="631"/>
                </a:cubicBezTo>
                <a:lnTo>
                  <a:pt x="1994" y="481"/>
                </a:lnTo>
                <a:lnTo>
                  <a:pt x="2091" y="478"/>
                </a:lnTo>
                <a:lnTo>
                  <a:pt x="2188" y="474"/>
                </a:lnTo>
                <a:lnTo>
                  <a:pt x="2188" y="643"/>
                </a:lnTo>
                <a:lnTo>
                  <a:pt x="2188" y="812"/>
                </a:lnTo>
                <a:lnTo>
                  <a:pt x="2093" y="812"/>
                </a:lnTo>
                <a:cubicBezTo>
                  <a:pt x="2029" y="812"/>
                  <a:pt x="1998" y="808"/>
                  <a:pt x="1994" y="797"/>
                </a:cubicBezTo>
                <a:close/>
                <a:moveTo>
                  <a:pt x="1923" y="328"/>
                </a:moveTo>
                <a:lnTo>
                  <a:pt x="1919" y="256"/>
                </a:lnTo>
                <a:lnTo>
                  <a:pt x="1769" y="247"/>
                </a:lnTo>
                <a:cubicBezTo>
                  <a:pt x="1686" y="242"/>
                  <a:pt x="1532" y="231"/>
                  <a:pt x="1425" y="222"/>
                </a:cubicBezTo>
                <a:lnTo>
                  <a:pt x="1231" y="206"/>
                </a:lnTo>
                <a:lnTo>
                  <a:pt x="1227" y="151"/>
                </a:lnTo>
                <a:cubicBezTo>
                  <a:pt x="1218" y="16"/>
                  <a:pt x="1238" y="0"/>
                  <a:pt x="1425" y="0"/>
                </a:cubicBezTo>
                <a:cubicBezTo>
                  <a:pt x="1565" y="0"/>
                  <a:pt x="1575" y="2"/>
                  <a:pt x="1610" y="31"/>
                </a:cubicBezTo>
                <a:cubicBezTo>
                  <a:pt x="1631" y="48"/>
                  <a:pt x="1661" y="63"/>
                  <a:pt x="1678" y="63"/>
                </a:cubicBezTo>
                <a:cubicBezTo>
                  <a:pt x="1694" y="63"/>
                  <a:pt x="1721" y="48"/>
                  <a:pt x="1737" y="31"/>
                </a:cubicBezTo>
                <a:cubicBezTo>
                  <a:pt x="1766" y="1"/>
                  <a:pt x="1773" y="0"/>
                  <a:pt x="1915" y="0"/>
                </a:cubicBezTo>
                <a:cubicBezTo>
                  <a:pt x="2057" y="0"/>
                  <a:pt x="2065" y="1"/>
                  <a:pt x="2095" y="31"/>
                </a:cubicBezTo>
                <a:cubicBezTo>
                  <a:pt x="2112" y="48"/>
                  <a:pt x="2139" y="63"/>
                  <a:pt x="2155" y="63"/>
                </a:cubicBezTo>
                <a:cubicBezTo>
                  <a:pt x="2171" y="63"/>
                  <a:pt x="2199" y="48"/>
                  <a:pt x="2218" y="31"/>
                </a:cubicBezTo>
                <a:cubicBezTo>
                  <a:pt x="2250" y="2"/>
                  <a:pt x="2259" y="0"/>
                  <a:pt x="2398" y="0"/>
                </a:cubicBezTo>
                <a:cubicBezTo>
                  <a:pt x="2539" y="0"/>
                  <a:pt x="2547" y="1"/>
                  <a:pt x="2575" y="31"/>
                </a:cubicBezTo>
                <a:cubicBezTo>
                  <a:pt x="2612" y="71"/>
                  <a:pt x="2655" y="71"/>
                  <a:pt x="2702" y="31"/>
                </a:cubicBezTo>
                <a:cubicBezTo>
                  <a:pt x="2737" y="2"/>
                  <a:pt x="2748" y="0"/>
                  <a:pt x="2886" y="0"/>
                </a:cubicBezTo>
                <a:cubicBezTo>
                  <a:pt x="3016" y="0"/>
                  <a:pt x="3036" y="3"/>
                  <a:pt x="3060" y="25"/>
                </a:cubicBezTo>
                <a:cubicBezTo>
                  <a:pt x="3081" y="45"/>
                  <a:pt x="3087" y="65"/>
                  <a:pt x="3087" y="112"/>
                </a:cubicBezTo>
                <a:cubicBezTo>
                  <a:pt x="3087" y="172"/>
                  <a:pt x="3086" y="174"/>
                  <a:pt x="3047" y="180"/>
                </a:cubicBezTo>
                <a:cubicBezTo>
                  <a:pt x="2944" y="197"/>
                  <a:pt x="2723" y="218"/>
                  <a:pt x="2494" y="232"/>
                </a:cubicBezTo>
                <a:cubicBezTo>
                  <a:pt x="2425" y="237"/>
                  <a:pt x="2343" y="244"/>
                  <a:pt x="2313" y="249"/>
                </a:cubicBezTo>
                <a:lnTo>
                  <a:pt x="2256" y="257"/>
                </a:lnTo>
                <a:lnTo>
                  <a:pt x="2256" y="325"/>
                </a:lnTo>
                <a:lnTo>
                  <a:pt x="2256" y="394"/>
                </a:lnTo>
                <a:lnTo>
                  <a:pt x="2091" y="397"/>
                </a:lnTo>
                <a:lnTo>
                  <a:pt x="1926" y="401"/>
                </a:lnTo>
                <a:lnTo>
                  <a:pt x="1922" y="328"/>
                </a:lnTo>
                <a:lnTo>
                  <a:pt x="1923" y="328"/>
                </a:lnTo>
                <a:close/>
              </a:path>
            </a:pathLst>
          </a:custGeom>
          <a:solidFill>
            <a:srgbClr val="EE9D44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209" name="Freeform 32">
            <a:extLst>
              <a:ext uri="{FF2B5EF4-FFF2-40B4-BE49-F238E27FC236}">
                <a16:creationId xmlns:a16="http://schemas.microsoft.com/office/drawing/2014/main" id="{9E2D94BA-856F-4578-8377-51A7CDDF7827}"/>
              </a:ext>
            </a:extLst>
          </p:cNvPr>
          <p:cNvSpPr>
            <a:spLocks noEditPoints="1"/>
          </p:cNvSpPr>
          <p:nvPr/>
        </p:nvSpPr>
        <p:spPr bwMode="auto">
          <a:xfrm>
            <a:off x="11336310" y="4930272"/>
            <a:ext cx="284378" cy="261056"/>
          </a:xfrm>
          <a:custGeom>
            <a:avLst/>
            <a:gdLst>
              <a:gd name="T0" fmla="*/ 2767 w 4656"/>
              <a:gd name="T1" fmla="*/ 2796 h 5464"/>
              <a:gd name="T2" fmla="*/ 2820 w 4656"/>
              <a:gd name="T3" fmla="*/ 2886 h 5464"/>
              <a:gd name="T4" fmla="*/ 2933 w 4656"/>
              <a:gd name="T5" fmla="*/ 3071 h 5464"/>
              <a:gd name="T6" fmla="*/ 3089 w 4656"/>
              <a:gd name="T7" fmla="*/ 3328 h 5464"/>
              <a:gd name="T8" fmla="*/ 3271 w 4656"/>
              <a:gd name="T9" fmla="*/ 3628 h 5464"/>
              <a:gd name="T10" fmla="*/ 3464 w 4656"/>
              <a:gd name="T11" fmla="*/ 3945 h 5464"/>
              <a:gd name="T12" fmla="*/ 3650 w 4656"/>
              <a:gd name="T13" fmla="*/ 4254 h 5464"/>
              <a:gd name="T14" fmla="*/ 3814 w 4656"/>
              <a:gd name="T15" fmla="*/ 4524 h 5464"/>
              <a:gd name="T16" fmla="*/ 3940 w 4656"/>
              <a:gd name="T17" fmla="*/ 4733 h 5464"/>
              <a:gd name="T18" fmla="*/ 4011 w 4656"/>
              <a:gd name="T19" fmla="*/ 4849 h 5464"/>
              <a:gd name="T20" fmla="*/ 3999 w 4656"/>
              <a:gd name="T21" fmla="*/ 4867 h 5464"/>
              <a:gd name="T22" fmla="*/ 3900 w 4656"/>
              <a:gd name="T23" fmla="*/ 4867 h 5464"/>
              <a:gd name="T24" fmla="*/ 3633 w 4656"/>
              <a:gd name="T25" fmla="*/ 4867 h 5464"/>
              <a:gd name="T26" fmla="*/ 3241 w 4656"/>
              <a:gd name="T27" fmla="*/ 4867 h 5464"/>
              <a:gd name="T28" fmla="*/ 2767 w 4656"/>
              <a:gd name="T29" fmla="*/ 4867 h 5464"/>
              <a:gd name="T30" fmla="*/ 2256 w 4656"/>
              <a:gd name="T31" fmla="*/ 4867 h 5464"/>
              <a:gd name="T32" fmla="*/ 1749 w 4656"/>
              <a:gd name="T33" fmla="*/ 4867 h 5464"/>
              <a:gd name="T34" fmla="*/ 1291 w 4656"/>
              <a:gd name="T35" fmla="*/ 4867 h 5464"/>
              <a:gd name="T36" fmla="*/ 926 w 4656"/>
              <a:gd name="T37" fmla="*/ 4867 h 5464"/>
              <a:gd name="T38" fmla="*/ 695 w 4656"/>
              <a:gd name="T39" fmla="*/ 4865 h 5464"/>
              <a:gd name="T40" fmla="*/ 639 w 4656"/>
              <a:gd name="T41" fmla="*/ 4862 h 5464"/>
              <a:gd name="T42" fmla="*/ 694 w 4656"/>
              <a:gd name="T43" fmla="*/ 4771 h 5464"/>
              <a:gd name="T44" fmla="*/ 808 w 4656"/>
              <a:gd name="T45" fmla="*/ 4584 h 5464"/>
              <a:gd name="T46" fmla="*/ 964 w 4656"/>
              <a:gd name="T47" fmla="*/ 4326 h 5464"/>
              <a:gd name="T48" fmla="*/ 1147 w 4656"/>
              <a:gd name="T49" fmla="*/ 4025 h 5464"/>
              <a:gd name="T50" fmla="*/ 1339 w 4656"/>
              <a:gd name="T51" fmla="*/ 3708 h 5464"/>
              <a:gd name="T52" fmla="*/ 1525 w 4656"/>
              <a:gd name="T53" fmla="*/ 3400 h 5464"/>
              <a:gd name="T54" fmla="*/ 1689 w 4656"/>
              <a:gd name="T55" fmla="*/ 3129 h 5464"/>
              <a:gd name="T56" fmla="*/ 1813 w 4656"/>
              <a:gd name="T57" fmla="*/ 2924 h 5464"/>
              <a:gd name="T58" fmla="*/ 1885 w 4656"/>
              <a:gd name="T59" fmla="*/ 2808 h 5464"/>
              <a:gd name="T60" fmla="*/ 1637 w 4656"/>
              <a:gd name="T61" fmla="*/ 252 h 5464"/>
              <a:gd name="T62" fmla="*/ 374 w 4656"/>
              <a:gd name="T63" fmla="*/ 4822 h 5464"/>
              <a:gd name="T64" fmla="*/ 342 w 4656"/>
              <a:gd name="T65" fmla="*/ 4978 h 5464"/>
              <a:gd name="T66" fmla="*/ 388 w 4656"/>
              <a:gd name="T67" fmla="*/ 5059 h 5464"/>
              <a:gd name="T68" fmla="*/ 538 w 4656"/>
              <a:gd name="T69" fmla="*/ 5114 h 5464"/>
              <a:gd name="T70" fmla="*/ 4064 w 4656"/>
              <a:gd name="T71" fmla="*/ 5121 h 5464"/>
              <a:gd name="T72" fmla="*/ 4243 w 4656"/>
              <a:gd name="T73" fmla="*/ 5076 h 5464"/>
              <a:gd name="T74" fmla="*/ 4310 w 4656"/>
              <a:gd name="T75" fmla="*/ 5005 h 5464"/>
              <a:gd name="T76" fmla="*/ 4301 w 4656"/>
              <a:gd name="T77" fmla="*/ 4869 h 5464"/>
              <a:gd name="T78" fmla="*/ 3021 w 4656"/>
              <a:gd name="T79" fmla="*/ 2720 h 5464"/>
              <a:gd name="T80" fmla="*/ 1637 w 4656"/>
              <a:gd name="T81" fmla="*/ 252 h 5464"/>
              <a:gd name="T82" fmla="*/ 3361 w 4656"/>
              <a:gd name="T83" fmla="*/ 470 h 5464"/>
              <a:gd name="T84" fmla="*/ 4602 w 4656"/>
              <a:gd name="T85" fmla="*/ 4695 h 5464"/>
              <a:gd name="T86" fmla="*/ 4656 w 4656"/>
              <a:gd name="T87" fmla="*/ 4983 h 5464"/>
              <a:gd name="T88" fmla="*/ 4583 w 4656"/>
              <a:gd name="T89" fmla="*/ 5219 h 5464"/>
              <a:gd name="T90" fmla="*/ 4391 w 4656"/>
              <a:gd name="T91" fmla="*/ 5383 h 5464"/>
              <a:gd name="T92" fmla="*/ 4091 w 4656"/>
              <a:gd name="T93" fmla="*/ 5461 h 5464"/>
              <a:gd name="T94" fmla="*/ 483 w 4656"/>
              <a:gd name="T95" fmla="*/ 5451 h 5464"/>
              <a:gd name="T96" fmla="*/ 208 w 4656"/>
              <a:gd name="T97" fmla="*/ 5350 h 5464"/>
              <a:gd name="T98" fmla="*/ 43 w 4656"/>
              <a:gd name="T99" fmla="*/ 5166 h 5464"/>
              <a:gd name="T100" fmla="*/ 2 w 4656"/>
              <a:gd name="T101" fmla="*/ 4915 h 5464"/>
              <a:gd name="T102" fmla="*/ 92 w 4656"/>
              <a:gd name="T103" fmla="*/ 4618 h 5464"/>
              <a:gd name="T104" fmla="*/ 1045 w 4656"/>
              <a:gd name="T105" fmla="*/ 470 h 5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656" h="5464">
                <a:moveTo>
                  <a:pt x="1893" y="2076"/>
                </a:moveTo>
                <a:lnTo>
                  <a:pt x="2764" y="2076"/>
                </a:lnTo>
                <a:lnTo>
                  <a:pt x="2764" y="2791"/>
                </a:lnTo>
                <a:lnTo>
                  <a:pt x="2767" y="2796"/>
                </a:lnTo>
                <a:lnTo>
                  <a:pt x="2774" y="2808"/>
                </a:lnTo>
                <a:lnTo>
                  <a:pt x="2785" y="2826"/>
                </a:lnTo>
                <a:lnTo>
                  <a:pt x="2800" y="2852"/>
                </a:lnTo>
                <a:lnTo>
                  <a:pt x="2820" y="2886"/>
                </a:lnTo>
                <a:lnTo>
                  <a:pt x="2843" y="2924"/>
                </a:lnTo>
                <a:lnTo>
                  <a:pt x="2872" y="2968"/>
                </a:lnTo>
                <a:lnTo>
                  <a:pt x="2901" y="3017"/>
                </a:lnTo>
                <a:lnTo>
                  <a:pt x="2933" y="3071"/>
                </a:lnTo>
                <a:lnTo>
                  <a:pt x="2969" y="3129"/>
                </a:lnTo>
                <a:lnTo>
                  <a:pt x="3008" y="3192"/>
                </a:lnTo>
                <a:lnTo>
                  <a:pt x="3047" y="3259"/>
                </a:lnTo>
                <a:lnTo>
                  <a:pt x="3089" y="3328"/>
                </a:lnTo>
                <a:lnTo>
                  <a:pt x="3134" y="3400"/>
                </a:lnTo>
                <a:lnTo>
                  <a:pt x="3178" y="3474"/>
                </a:lnTo>
                <a:lnTo>
                  <a:pt x="3225" y="3550"/>
                </a:lnTo>
                <a:lnTo>
                  <a:pt x="3271" y="3628"/>
                </a:lnTo>
                <a:lnTo>
                  <a:pt x="3319" y="3708"/>
                </a:lnTo>
                <a:lnTo>
                  <a:pt x="3368" y="3788"/>
                </a:lnTo>
                <a:lnTo>
                  <a:pt x="3416" y="3867"/>
                </a:lnTo>
                <a:lnTo>
                  <a:pt x="3464" y="3945"/>
                </a:lnTo>
                <a:lnTo>
                  <a:pt x="3512" y="4025"/>
                </a:lnTo>
                <a:lnTo>
                  <a:pt x="3558" y="4103"/>
                </a:lnTo>
                <a:lnTo>
                  <a:pt x="3605" y="4179"/>
                </a:lnTo>
                <a:lnTo>
                  <a:pt x="3650" y="4254"/>
                </a:lnTo>
                <a:lnTo>
                  <a:pt x="3694" y="4325"/>
                </a:lnTo>
                <a:lnTo>
                  <a:pt x="3736" y="4394"/>
                </a:lnTo>
                <a:lnTo>
                  <a:pt x="3776" y="4461"/>
                </a:lnTo>
                <a:lnTo>
                  <a:pt x="3814" y="4524"/>
                </a:lnTo>
                <a:lnTo>
                  <a:pt x="3850" y="4584"/>
                </a:lnTo>
                <a:lnTo>
                  <a:pt x="3883" y="4638"/>
                </a:lnTo>
                <a:lnTo>
                  <a:pt x="3913" y="4688"/>
                </a:lnTo>
                <a:lnTo>
                  <a:pt x="3940" y="4733"/>
                </a:lnTo>
                <a:lnTo>
                  <a:pt x="3963" y="4771"/>
                </a:lnTo>
                <a:lnTo>
                  <a:pt x="3983" y="4804"/>
                </a:lnTo>
                <a:lnTo>
                  <a:pt x="3999" y="4831"/>
                </a:lnTo>
                <a:lnTo>
                  <a:pt x="4011" y="4849"/>
                </a:lnTo>
                <a:lnTo>
                  <a:pt x="4018" y="4862"/>
                </a:lnTo>
                <a:lnTo>
                  <a:pt x="4021" y="4865"/>
                </a:lnTo>
                <a:lnTo>
                  <a:pt x="4011" y="4867"/>
                </a:lnTo>
                <a:lnTo>
                  <a:pt x="3999" y="4867"/>
                </a:lnTo>
                <a:lnTo>
                  <a:pt x="3993" y="4867"/>
                </a:lnTo>
                <a:lnTo>
                  <a:pt x="3975" y="4867"/>
                </a:lnTo>
                <a:lnTo>
                  <a:pt x="3943" y="4867"/>
                </a:lnTo>
                <a:lnTo>
                  <a:pt x="3900" y="4867"/>
                </a:lnTo>
                <a:lnTo>
                  <a:pt x="3849" y="4867"/>
                </a:lnTo>
                <a:lnTo>
                  <a:pt x="3786" y="4867"/>
                </a:lnTo>
                <a:lnTo>
                  <a:pt x="3714" y="4867"/>
                </a:lnTo>
                <a:lnTo>
                  <a:pt x="3633" y="4867"/>
                </a:lnTo>
                <a:lnTo>
                  <a:pt x="3545" y="4867"/>
                </a:lnTo>
                <a:lnTo>
                  <a:pt x="3450" y="4867"/>
                </a:lnTo>
                <a:lnTo>
                  <a:pt x="3349" y="4867"/>
                </a:lnTo>
                <a:lnTo>
                  <a:pt x="3241" y="4867"/>
                </a:lnTo>
                <a:lnTo>
                  <a:pt x="3129" y="4867"/>
                </a:lnTo>
                <a:lnTo>
                  <a:pt x="3013" y="4867"/>
                </a:lnTo>
                <a:lnTo>
                  <a:pt x="2891" y="4867"/>
                </a:lnTo>
                <a:lnTo>
                  <a:pt x="2767" y="4867"/>
                </a:lnTo>
                <a:lnTo>
                  <a:pt x="2641" y="4867"/>
                </a:lnTo>
                <a:lnTo>
                  <a:pt x="2513" y="4867"/>
                </a:lnTo>
                <a:lnTo>
                  <a:pt x="2386" y="4867"/>
                </a:lnTo>
                <a:lnTo>
                  <a:pt x="2256" y="4867"/>
                </a:lnTo>
                <a:lnTo>
                  <a:pt x="2127" y="4867"/>
                </a:lnTo>
                <a:lnTo>
                  <a:pt x="1999" y="4867"/>
                </a:lnTo>
                <a:lnTo>
                  <a:pt x="1873" y="4867"/>
                </a:lnTo>
                <a:lnTo>
                  <a:pt x="1749" y="4867"/>
                </a:lnTo>
                <a:lnTo>
                  <a:pt x="1629" y="4867"/>
                </a:lnTo>
                <a:lnTo>
                  <a:pt x="1511" y="4867"/>
                </a:lnTo>
                <a:lnTo>
                  <a:pt x="1399" y="4867"/>
                </a:lnTo>
                <a:lnTo>
                  <a:pt x="1291" y="4867"/>
                </a:lnTo>
                <a:lnTo>
                  <a:pt x="1190" y="4867"/>
                </a:lnTo>
                <a:lnTo>
                  <a:pt x="1093" y="4867"/>
                </a:lnTo>
                <a:lnTo>
                  <a:pt x="1006" y="4867"/>
                </a:lnTo>
                <a:lnTo>
                  <a:pt x="926" y="4867"/>
                </a:lnTo>
                <a:lnTo>
                  <a:pt x="853" y="4867"/>
                </a:lnTo>
                <a:lnTo>
                  <a:pt x="790" y="4867"/>
                </a:lnTo>
                <a:lnTo>
                  <a:pt x="737" y="4865"/>
                </a:lnTo>
                <a:lnTo>
                  <a:pt x="695" y="4865"/>
                </a:lnTo>
                <a:lnTo>
                  <a:pt x="664" y="4865"/>
                </a:lnTo>
                <a:lnTo>
                  <a:pt x="644" y="4865"/>
                </a:lnTo>
                <a:lnTo>
                  <a:pt x="637" y="4865"/>
                </a:lnTo>
                <a:lnTo>
                  <a:pt x="639" y="4862"/>
                </a:lnTo>
                <a:lnTo>
                  <a:pt x="647" y="4849"/>
                </a:lnTo>
                <a:lnTo>
                  <a:pt x="659" y="4831"/>
                </a:lnTo>
                <a:lnTo>
                  <a:pt x="674" y="4804"/>
                </a:lnTo>
                <a:lnTo>
                  <a:pt x="694" y="4771"/>
                </a:lnTo>
                <a:lnTo>
                  <a:pt x="719" y="4733"/>
                </a:lnTo>
                <a:lnTo>
                  <a:pt x="745" y="4688"/>
                </a:lnTo>
                <a:lnTo>
                  <a:pt x="775" y="4638"/>
                </a:lnTo>
                <a:lnTo>
                  <a:pt x="808" y="4584"/>
                </a:lnTo>
                <a:lnTo>
                  <a:pt x="843" y="4524"/>
                </a:lnTo>
                <a:lnTo>
                  <a:pt x="881" y="4461"/>
                </a:lnTo>
                <a:lnTo>
                  <a:pt x="923" y="4394"/>
                </a:lnTo>
                <a:lnTo>
                  <a:pt x="964" y="4326"/>
                </a:lnTo>
                <a:lnTo>
                  <a:pt x="1007" y="4254"/>
                </a:lnTo>
                <a:lnTo>
                  <a:pt x="1054" y="4179"/>
                </a:lnTo>
                <a:lnTo>
                  <a:pt x="1098" y="4103"/>
                </a:lnTo>
                <a:lnTo>
                  <a:pt x="1147" y="4025"/>
                </a:lnTo>
                <a:lnTo>
                  <a:pt x="1195" y="3947"/>
                </a:lnTo>
                <a:lnTo>
                  <a:pt x="1243" y="3867"/>
                </a:lnTo>
                <a:lnTo>
                  <a:pt x="1291" y="3788"/>
                </a:lnTo>
                <a:lnTo>
                  <a:pt x="1339" y="3708"/>
                </a:lnTo>
                <a:lnTo>
                  <a:pt x="1387" y="3628"/>
                </a:lnTo>
                <a:lnTo>
                  <a:pt x="1433" y="3550"/>
                </a:lnTo>
                <a:lnTo>
                  <a:pt x="1480" y="3474"/>
                </a:lnTo>
                <a:lnTo>
                  <a:pt x="1525" y="3400"/>
                </a:lnTo>
                <a:lnTo>
                  <a:pt x="1568" y="3328"/>
                </a:lnTo>
                <a:lnTo>
                  <a:pt x="1611" y="3259"/>
                </a:lnTo>
                <a:lnTo>
                  <a:pt x="1651" y="3192"/>
                </a:lnTo>
                <a:lnTo>
                  <a:pt x="1689" y="3129"/>
                </a:lnTo>
                <a:lnTo>
                  <a:pt x="1724" y="3071"/>
                </a:lnTo>
                <a:lnTo>
                  <a:pt x="1757" y="3017"/>
                </a:lnTo>
                <a:lnTo>
                  <a:pt x="1787" y="2968"/>
                </a:lnTo>
                <a:lnTo>
                  <a:pt x="1813" y="2924"/>
                </a:lnTo>
                <a:lnTo>
                  <a:pt x="1837" y="2886"/>
                </a:lnTo>
                <a:lnTo>
                  <a:pt x="1856" y="2852"/>
                </a:lnTo>
                <a:lnTo>
                  <a:pt x="1873" y="2826"/>
                </a:lnTo>
                <a:lnTo>
                  <a:pt x="1885" y="2808"/>
                </a:lnTo>
                <a:lnTo>
                  <a:pt x="1891" y="2796"/>
                </a:lnTo>
                <a:lnTo>
                  <a:pt x="1893" y="2791"/>
                </a:lnTo>
                <a:lnTo>
                  <a:pt x="1893" y="2076"/>
                </a:lnTo>
                <a:close/>
                <a:moveTo>
                  <a:pt x="1637" y="252"/>
                </a:moveTo>
                <a:lnTo>
                  <a:pt x="1637" y="2720"/>
                </a:lnTo>
                <a:lnTo>
                  <a:pt x="428" y="4715"/>
                </a:lnTo>
                <a:lnTo>
                  <a:pt x="397" y="4771"/>
                </a:lnTo>
                <a:lnTo>
                  <a:pt x="374" y="4822"/>
                </a:lnTo>
                <a:lnTo>
                  <a:pt x="357" y="4869"/>
                </a:lnTo>
                <a:lnTo>
                  <a:pt x="347" y="4912"/>
                </a:lnTo>
                <a:lnTo>
                  <a:pt x="342" y="4948"/>
                </a:lnTo>
                <a:lnTo>
                  <a:pt x="342" y="4978"/>
                </a:lnTo>
                <a:lnTo>
                  <a:pt x="347" y="5005"/>
                </a:lnTo>
                <a:lnTo>
                  <a:pt x="355" y="5025"/>
                </a:lnTo>
                <a:lnTo>
                  <a:pt x="369" y="5041"/>
                </a:lnTo>
                <a:lnTo>
                  <a:pt x="388" y="5059"/>
                </a:lnTo>
                <a:lnTo>
                  <a:pt x="415" y="5076"/>
                </a:lnTo>
                <a:lnTo>
                  <a:pt x="448" y="5091"/>
                </a:lnTo>
                <a:lnTo>
                  <a:pt x="490" y="5104"/>
                </a:lnTo>
                <a:lnTo>
                  <a:pt x="538" y="5114"/>
                </a:lnTo>
                <a:lnTo>
                  <a:pt x="594" y="5121"/>
                </a:lnTo>
                <a:lnTo>
                  <a:pt x="659" y="5122"/>
                </a:lnTo>
                <a:lnTo>
                  <a:pt x="3999" y="5122"/>
                </a:lnTo>
                <a:lnTo>
                  <a:pt x="4064" y="5121"/>
                </a:lnTo>
                <a:lnTo>
                  <a:pt x="4121" y="5114"/>
                </a:lnTo>
                <a:lnTo>
                  <a:pt x="4169" y="5104"/>
                </a:lnTo>
                <a:lnTo>
                  <a:pt x="4210" y="5091"/>
                </a:lnTo>
                <a:lnTo>
                  <a:pt x="4243" y="5076"/>
                </a:lnTo>
                <a:lnTo>
                  <a:pt x="4270" y="5059"/>
                </a:lnTo>
                <a:lnTo>
                  <a:pt x="4290" y="5041"/>
                </a:lnTo>
                <a:lnTo>
                  <a:pt x="4303" y="5025"/>
                </a:lnTo>
                <a:lnTo>
                  <a:pt x="4310" y="5005"/>
                </a:lnTo>
                <a:lnTo>
                  <a:pt x="4315" y="4978"/>
                </a:lnTo>
                <a:lnTo>
                  <a:pt x="4316" y="4948"/>
                </a:lnTo>
                <a:lnTo>
                  <a:pt x="4311" y="4912"/>
                </a:lnTo>
                <a:lnTo>
                  <a:pt x="4301" y="4869"/>
                </a:lnTo>
                <a:lnTo>
                  <a:pt x="4285" y="4822"/>
                </a:lnTo>
                <a:lnTo>
                  <a:pt x="4262" y="4771"/>
                </a:lnTo>
                <a:lnTo>
                  <a:pt x="4230" y="4715"/>
                </a:lnTo>
                <a:lnTo>
                  <a:pt x="3021" y="2720"/>
                </a:lnTo>
                <a:lnTo>
                  <a:pt x="3021" y="1819"/>
                </a:lnTo>
                <a:lnTo>
                  <a:pt x="3019" y="1819"/>
                </a:lnTo>
                <a:lnTo>
                  <a:pt x="3019" y="252"/>
                </a:lnTo>
                <a:lnTo>
                  <a:pt x="1637" y="252"/>
                </a:lnTo>
                <a:close/>
                <a:moveTo>
                  <a:pt x="1045" y="0"/>
                </a:moveTo>
                <a:lnTo>
                  <a:pt x="3600" y="0"/>
                </a:lnTo>
                <a:lnTo>
                  <a:pt x="3600" y="470"/>
                </a:lnTo>
                <a:lnTo>
                  <a:pt x="3361" y="470"/>
                </a:lnTo>
                <a:lnTo>
                  <a:pt x="3361" y="2625"/>
                </a:lnTo>
                <a:lnTo>
                  <a:pt x="4522" y="4537"/>
                </a:lnTo>
                <a:lnTo>
                  <a:pt x="4565" y="4618"/>
                </a:lnTo>
                <a:lnTo>
                  <a:pt x="4602" y="4695"/>
                </a:lnTo>
                <a:lnTo>
                  <a:pt x="4628" y="4771"/>
                </a:lnTo>
                <a:lnTo>
                  <a:pt x="4646" y="4844"/>
                </a:lnTo>
                <a:lnTo>
                  <a:pt x="4655" y="4915"/>
                </a:lnTo>
                <a:lnTo>
                  <a:pt x="4656" y="4983"/>
                </a:lnTo>
                <a:lnTo>
                  <a:pt x="4650" y="5046"/>
                </a:lnTo>
                <a:lnTo>
                  <a:pt x="4636" y="5107"/>
                </a:lnTo>
                <a:lnTo>
                  <a:pt x="4613" y="5166"/>
                </a:lnTo>
                <a:lnTo>
                  <a:pt x="4583" y="5219"/>
                </a:lnTo>
                <a:lnTo>
                  <a:pt x="4547" y="5267"/>
                </a:lnTo>
                <a:lnTo>
                  <a:pt x="4502" y="5310"/>
                </a:lnTo>
                <a:lnTo>
                  <a:pt x="4451" y="5350"/>
                </a:lnTo>
                <a:lnTo>
                  <a:pt x="4391" y="5383"/>
                </a:lnTo>
                <a:lnTo>
                  <a:pt x="4326" y="5411"/>
                </a:lnTo>
                <a:lnTo>
                  <a:pt x="4253" y="5434"/>
                </a:lnTo>
                <a:lnTo>
                  <a:pt x="4175" y="5451"/>
                </a:lnTo>
                <a:lnTo>
                  <a:pt x="4091" y="5461"/>
                </a:lnTo>
                <a:lnTo>
                  <a:pt x="3999" y="5464"/>
                </a:lnTo>
                <a:lnTo>
                  <a:pt x="659" y="5464"/>
                </a:lnTo>
                <a:lnTo>
                  <a:pt x="568" y="5461"/>
                </a:lnTo>
                <a:lnTo>
                  <a:pt x="483" y="5451"/>
                </a:lnTo>
                <a:lnTo>
                  <a:pt x="403" y="5434"/>
                </a:lnTo>
                <a:lnTo>
                  <a:pt x="332" y="5411"/>
                </a:lnTo>
                <a:lnTo>
                  <a:pt x="266" y="5383"/>
                </a:lnTo>
                <a:lnTo>
                  <a:pt x="208" y="5350"/>
                </a:lnTo>
                <a:lnTo>
                  <a:pt x="156" y="5310"/>
                </a:lnTo>
                <a:lnTo>
                  <a:pt x="111" y="5267"/>
                </a:lnTo>
                <a:lnTo>
                  <a:pt x="73" y="5219"/>
                </a:lnTo>
                <a:lnTo>
                  <a:pt x="43" y="5166"/>
                </a:lnTo>
                <a:lnTo>
                  <a:pt x="22" y="5107"/>
                </a:lnTo>
                <a:lnTo>
                  <a:pt x="7" y="5046"/>
                </a:lnTo>
                <a:lnTo>
                  <a:pt x="0" y="4983"/>
                </a:lnTo>
                <a:lnTo>
                  <a:pt x="2" y="4915"/>
                </a:lnTo>
                <a:lnTo>
                  <a:pt x="12" y="4844"/>
                </a:lnTo>
                <a:lnTo>
                  <a:pt x="30" y="4771"/>
                </a:lnTo>
                <a:lnTo>
                  <a:pt x="57" y="4695"/>
                </a:lnTo>
                <a:lnTo>
                  <a:pt x="92" y="4618"/>
                </a:lnTo>
                <a:lnTo>
                  <a:pt x="136" y="4537"/>
                </a:lnTo>
                <a:lnTo>
                  <a:pt x="1296" y="2625"/>
                </a:lnTo>
                <a:lnTo>
                  <a:pt x="1296" y="470"/>
                </a:lnTo>
                <a:lnTo>
                  <a:pt x="1045" y="470"/>
                </a:lnTo>
                <a:lnTo>
                  <a:pt x="1045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214" name="Freeform 132">
            <a:extLst>
              <a:ext uri="{FF2B5EF4-FFF2-40B4-BE49-F238E27FC236}">
                <a16:creationId xmlns:a16="http://schemas.microsoft.com/office/drawing/2014/main" id="{E15F67E2-A47D-456C-947C-E8A352F1AEA5}"/>
              </a:ext>
            </a:extLst>
          </p:cNvPr>
          <p:cNvSpPr>
            <a:spLocks noEditPoints="1"/>
          </p:cNvSpPr>
          <p:nvPr/>
        </p:nvSpPr>
        <p:spPr bwMode="auto">
          <a:xfrm>
            <a:off x="7855949" y="4908307"/>
            <a:ext cx="321575" cy="341111"/>
          </a:xfrm>
          <a:custGeom>
            <a:avLst/>
            <a:gdLst>
              <a:gd name="T0" fmla="*/ 1586 w 3280"/>
              <a:gd name="T1" fmla="*/ 3540 h 3766"/>
              <a:gd name="T2" fmla="*/ 1540 w 3280"/>
              <a:gd name="T3" fmla="*/ 3315 h 3766"/>
              <a:gd name="T4" fmla="*/ 1353 w 3280"/>
              <a:gd name="T5" fmla="*/ 3003 h 3766"/>
              <a:gd name="T6" fmla="*/ 930 w 3280"/>
              <a:gd name="T7" fmla="*/ 2759 h 3766"/>
              <a:gd name="T8" fmla="*/ 747 w 3280"/>
              <a:gd name="T9" fmla="*/ 2713 h 3766"/>
              <a:gd name="T10" fmla="*/ 226 w 3280"/>
              <a:gd name="T11" fmla="*/ 2760 h 3766"/>
              <a:gd name="T12" fmla="*/ 23 w 3280"/>
              <a:gd name="T13" fmla="*/ 2833 h 3766"/>
              <a:gd name="T14" fmla="*/ 173 w 3280"/>
              <a:gd name="T15" fmla="*/ 2668 h 3766"/>
              <a:gd name="T16" fmla="*/ 346 w 3280"/>
              <a:gd name="T17" fmla="*/ 2473 h 3766"/>
              <a:gd name="T18" fmla="*/ 523 w 3280"/>
              <a:gd name="T19" fmla="*/ 2208 h 3766"/>
              <a:gd name="T20" fmla="*/ 560 w 3280"/>
              <a:gd name="T21" fmla="*/ 1880 h 3766"/>
              <a:gd name="T22" fmla="*/ 523 w 3280"/>
              <a:gd name="T23" fmla="*/ 1552 h 3766"/>
              <a:gd name="T24" fmla="*/ 346 w 3280"/>
              <a:gd name="T25" fmla="*/ 1288 h 3766"/>
              <a:gd name="T26" fmla="*/ 173 w 3280"/>
              <a:gd name="T27" fmla="*/ 1092 h 3766"/>
              <a:gd name="T28" fmla="*/ 23 w 3280"/>
              <a:gd name="T29" fmla="*/ 927 h 3766"/>
              <a:gd name="T30" fmla="*/ 226 w 3280"/>
              <a:gd name="T31" fmla="*/ 1000 h 3766"/>
              <a:gd name="T32" fmla="*/ 620 w 3280"/>
              <a:gd name="T33" fmla="*/ 1020 h 3766"/>
              <a:gd name="T34" fmla="*/ 860 w 3280"/>
              <a:gd name="T35" fmla="*/ 1139 h 3766"/>
              <a:gd name="T36" fmla="*/ 1375 w 3280"/>
              <a:gd name="T37" fmla="*/ 812 h 3766"/>
              <a:gd name="T38" fmla="*/ 1538 w 3280"/>
              <a:gd name="T39" fmla="*/ 445 h 3766"/>
              <a:gd name="T40" fmla="*/ 1589 w 3280"/>
              <a:gd name="T41" fmla="*/ 214 h 3766"/>
              <a:gd name="T42" fmla="*/ 1640 w 3280"/>
              <a:gd name="T43" fmla="*/ 0 h 3766"/>
              <a:gd name="T44" fmla="*/ 1690 w 3280"/>
              <a:gd name="T45" fmla="*/ 215 h 3766"/>
              <a:gd name="T46" fmla="*/ 1747 w 3280"/>
              <a:gd name="T47" fmla="*/ 454 h 3766"/>
              <a:gd name="T48" fmla="*/ 1891 w 3280"/>
              <a:gd name="T49" fmla="*/ 818 h 3766"/>
              <a:gd name="T50" fmla="*/ 2434 w 3280"/>
              <a:gd name="T51" fmla="*/ 1115 h 3766"/>
              <a:gd name="T52" fmla="*/ 2833 w 3280"/>
              <a:gd name="T53" fmla="*/ 1086 h 3766"/>
              <a:gd name="T54" fmla="*/ 3231 w 3280"/>
              <a:gd name="T55" fmla="*/ 897 h 3766"/>
              <a:gd name="T56" fmla="*/ 3280 w 3280"/>
              <a:gd name="T57" fmla="*/ 974 h 3766"/>
              <a:gd name="T58" fmla="*/ 2923 w 3280"/>
              <a:gd name="T59" fmla="*/ 1198 h 3766"/>
              <a:gd name="T60" fmla="*/ 2756 w 3280"/>
              <a:gd name="T61" fmla="*/ 1546 h 3766"/>
              <a:gd name="T62" fmla="*/ 2706 w 3280"/>
              <a:gd name="T63" fmla="*/ 1880 h 3766"/>
              <a:gd name="T64" fmla="*/ 2756 w 3280"/>
              <a:gd name="T65" fmla="*/ 2214 h 3766"/>
              <a:gd name="T66" fmla="*/ 2922 w 3280"/>
              <a:gd name="T67" fmla="*/ 2562 h 3766"/>
              <a:gd name="T68" fmla="*/ 3277 w 3280"/>
              <a:gd name="T69" fmla="*/ 2783 h 3766"/>
              <a:gd name="T70" fmla="*/ 3231 w 3280"/>
              <a:gd name="T71" fmla="*/ 2863 h 3766"/>
              <a:gd name="T72" fmla="*/ 2833 w 3280"/>
              <a:gd name="T73" fmla="*/ 2674 h 3766"/>
              <a:gd name="T74" fmla="*/ 2519 w 3280"/>
              <a:gd name="T75" fmla="*/ 2712 h 3766"/>
              <a:gd name="T76" fmla="*/ 2318 w 3280"/>
              <a:gd name="T77" fmla="*/ 2771 h 3766"/>
              <a:gd name="T78" fmla="*/ 1913 w 3280"/>
              <a:gd name="T79" fmla="*/ 3004 h 3766"/>
              <a:gd name="T80" fmla="*/ 1735 w 3280"/>
              <a:gd name="T81" fmla="*/ 3312 h 3766"/>
              <a:gd name="T82" fmla="*/ 1690 w 3280"/>
              <a:gd name="T83" fmla="*/ 3545 h 3766"/>
              <a:gd name="T84" fmla="*/ 1646 w 3280"/>
              <a:gd name="T85" fmla="*/ 3764 h 3766"/>
              <a:gd name="T86" fmla="*/ 1421 w 3280"/>
              <a:gd name="T87" fmla="*/ 2881 h 3766"/>
              <a:gd name="T88" fmla="*/ 1633 w 3280"/>
              <a:gd name="T89" fmla="*/ 2787 h 3766"/>
              <a:gd name="T90" fmla="*/ 1853 w 3280"/>
              <a:gd name="T91" fmla="*/ 2887 h 3766"/>
              <a:gd name="T92" fmla="*/ 2283 w 3280"/>
              <a:gd name="T93" fmla="*/ 2669 h 3766"/>
              <a:gd name="T94" fmla="*/ 2377 w 3280"/>
              <a:gd name="T95" fmla="*/ 2497 h 3766"/>
              <a:gd name="T96" fmla="*/ 2593 w 3280"/>
              <a:gd name="T97" fmla="*/ 2184 h 3766"/>
              <a:gd name="T98" fmla="*/ 2562 w 3280"/>
              <a:gd name="T99" fmla="*/ 1553 h 3766"/>
              <a:gd name="T100" fmla="*/ 2373 w 3280"/>
              <a:gd name="T101" fmla="*/ 1293 h 3766"/>
              <a:gd name="T102" fmla="*/ 2100 w 3280"/>
              <a:gd name="T103" fmla="*/ 1083 h 3766"/>
              <a:gd name="T104" fmla="*/ 1759 w 3280"/>
              <a:gd name="T105" fmla="*/ 950 h 3766"/>
              <a:gd name="T106" fmla="*/ 1456 w 3280"/>
              <a:gd name="T107" fmla="*/ 927 h 3766"/>
              <a:gd name="T108" fmla="*/ 991 w 3280"/>
              <a:gd name="T109" fmla="*/ 1185 h 3766"/>
              <a:gd name="T110" fmla="*/ 890 w 3280"/>
              <a:gd name="T111" fmla="*/ 1313 h 3766"/>
              <a:gd name="T112" fmla="*/ 666 w 3280"/>
              <a:gd name="T113" fmla="*/ 1573 h 3766"/>
              <a:gd name="T114" fmla="*/ 666 w 3280"/>
              <a:gd name="T115" fmla="*/ 2187 h 3766"/>
              <a:gd name="T116" fmla="*/ 844 w 3280"/>
              <a:gd name="T117" fmla="*/ 2312 h 3766"/>
              <a:gd name="T118" fmla="*/ 876 w 3280"/>
              <a:gd name="T119" fmla="*/ 2574 h 3766"/>
              <a:gd name="T120" fmla="*/ 1397 w 3280"/>
              <a:gd name="T121" fmla="*/ 2899 h 3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280" h="3766">
                <a:moveTo>
                  <a:pt x="1596" y="3758"/>
                </a:moveTo>
                <a:cubicBezTo>
                  <a:pt x="1590" y="3753"/>
                  <a:pt x="1586" y="3655"/>
                  <a:pt x="1586" y="3540"/>
                </a:cubicBezTo>
                <a:lnTo>
                  <a:pt x="1586" y="3332"/>
                </a:lnTo>
                <a:lnTo>
                  <a:pt x="1540" y="3315"/>
                </a:lnTo>
                <a:cubicBezTo>
                  <a:pt x="1435" y="3277"/>
                  <a:pt x="1374" y="3195"/>
                  <a:pt x="1361" y="3075"/>
                </a:cubicBezTo>
                <a:lnTo>
                  <a:pt x="1353" y="3003"/>
                </a:lnTo>
                <a:lnTo>
                  <a:pt x="1206" y="2918"/>
                </a:lnTo>
                <a:cubicBezTo>
                  <a:pt x="1126" y="2871"/>
                  <a:pt x="1001" y="2800"/>
                  <a:pt x="930" y="2759"/>
                </a:cubicBezTo>
                <a:lnTo>
                  <a:pt x="800" y="2686"/>
                </a:lnTo>
                <a:lnTo>
                  <a:pt x="747" y="2713"/>
                </a:lnTo>
                <a:cubicBezTo>
                  <a:pt x="651" y="2762"/>
                  <a:pt x="530" y="2747"/>
                  <a:pt x="425" y="2672"/>
                </a:cubicBezTo>
                <a:cubicBezTo>
                  <a:pt x="409" y="2660"/>
                  <a:pt x="369" y="2677"/>
                  <a:pt x="226" y="2760"/>
                </a:cubicBezTo>
                <a:lnTo>
                  <a:pt x="48" y="2863"/>
                </a:lnTo>
                <a:lnTo>
                  <a:pt x="23" y="2833"/>
                </a:lnTo>
                <a:cubicBezTo>
                  <a:pt x="10" y="2816"/>
                  <a:pt x="0" y="2794"/>
                  <a:pt x="2" y="2783"/>
                </a:cubicBezTo>
                <a:cubicBezTo>
                  <a:pt x="4" y="2772"/>
                  <a:pt x="81" y="2720"/>
                  <a:pt x="173" y="2668"/>
                </a:cubicBezTo>
                <a:lnTo>
                  <a:pt x="340" y="2572"/>
                </a:lnTo>
                <a:lnTo>
                  <a:pt x="346" y="2473"/>
                </a:lnTo>
                <a:cubicBezTo>
                  <a:pt x="350" y="2416"/>
                  <a:pt x="363" y="2355"/>
                  <a:pt x="376" y="2331"/>
                </a:cubicBezTo>
                <a:cubicBezTo>
                  <a:pt x="402" y="2283"/>
                  <a:pt x="467" y="2229"/>
                  <a:pt x="523" y="2208"/>
                </a:cubicBezTo>
                <a:lnTo>
                  <a:pt x="560" y="2194"/>
                </a:lnTo>
                <a:lnTo>
                  <a:pt x="560" y="1880"/>
                </a:lnTo>
                <a:lnTo>
                  <a:pt x="560" y="1566"/>
                </a:lnTo>
                <a:lnTo>
                  <a:pt x="523" y="1552"/>
                </a:lnTo>
                <a:cubicBezTo>
                  <a:pt x="467" y="1531"/>
                  <a:pt x="402" y="1477"/>
                  <a:pt x="376" y="1429"/>
                </a:cubicBezTo>
                <a:cubicBezTo>
                  <a:pt x="363" y="1405"/>
                  <a:pt x="350" y="1344"/>
                  <a:pt x="346" y="1288"/>
                </a:cubicBezTo>
                <a:lnTo>
                  <a:pt x="340" y="1188"/>
                </a:lnTo>
                <a:lnTo>
                  <a:pt x="173" y="1092"/>
                </a:lnTo>
                <a:cubicBezTo>
                  <a:pt x="81" y="1039"/>
                  <a:pt x="4" y="987"/>
                  <a:pt x="2" y="976"/>
                </a:cubicBezTo>
                <a:cubicBezTo>
                  <a:pt x="0" y="966"/>
                  <a:pt x="10" y="944"/>
                  <a:pt x="23" y="927"/>
                </a:cubicBezTo>
                <a:lnTo>
                  <a:pt x="48" y="897"/>
                </a:lnTo>
                <a:lnTo>
                  <a:pt x="226" y="1000"/>
                </a:lnTo>
                <a:cubicBezTo>
                  <a:pt x="369" y="1083"/>
                  <a:pt x="409" y="1100"/>
                  <a:pt x="425" y="1088"/>
                </a:cubicBezTo>
                <a:cubicBezTo>
                  <a:pt x="493" y="1040"/>
                  <a:pt x="550" y="1020"/>
                  <a:pt x="620" y="1020"/>
                </a:cubicBezTo>
                <a:cubicBezTo>
                  <a:pt x="702" y="1020"/>
                  <a:pt x="758" y="1043"/>
                  <a:pt x="820" y="1101"/>
                </a:cubicBezTo>
                <a:lnTo>
                  <a:pt x="860" y="1139"/>
                </a:lnTo>
                <a:lnTo>
                  <a:pt x="1120" y="988"/>
                </a:lnTo>
                <a:cubicBezTo>
                  <a:pt x="1331" y="866"/>
                  <a:pt x="1379" y="833"/>
                  <a:pt x="1375" y="812"/>
                </a:cubicBezTo>
                <a:cubicBezTo>
                  <a:pt x="1372" y="798"/>
                  <a:pt x="1367" y="758"/>
                  <a:pt x="1363" y="722"/>
                </a:cubicBezTo>
                <a:cubicBezTo>
                  <a:pt x="1351" y="601"/>
                  <a:pt x="1423" y="487"/>
                  <a:pt x="1538" y="445"/>
                </a:cubicBezTo>
                <a:lnTo>
                  <a:pt x="1586" y="428"/>
                </a:lnTo>
                <a:lnTo>
                  <a:pt x="1589" y="214"/>
                </a:lnTo>
                <a:lnTo>
                  <a:pt x="1593" y="0"/>
                </a:lnTo>
                <a:lnTo>
                  <a:pt x="1640" y="0"/>
                </a:lnTo>
                <a:lnTo>
                  <a:pt x="1686" y="0"/>
                </a:lnTo>
                <a:lnTo>
                  <a:pt x="1690" y="215"/>
                </a:lnTo>
                <a:lnTo>
                  <a:pt x="1694" y="430"/>
                </a:lnTo>
                <a:lnTo>
                  <a:pt x="1747" y="454"/>
                </a:lnTo>
                <a:cubicBezTo>
                  <a:pt x="1813" y="483"/>
                  <a:pt x="1871" y="548"/>
                  <a:pt x="1893" y="614"/>
                </a:cubicBezTo>
                <a:cubicBezTo>
                  <a:pt x="1907" y="657"/>
                  <a:pt x="1906" y="766"/>
                  <a:pt x="1891" y="818"/>
                </a:cubicBezTo>
                <a:cubicBezTo>
                  <a:pt x="1888" y="829"/>
                  <a:pt x="1981" y="891"/>
                  <a:pt x="2150" y="990"/>
                </a:cubicBezTo>
                <a:cubicBezTo>
                  <a:pt x="2411" y="1142"/>
                  <a:pt x="2415" y="1143"/>
                  <a:pt x="2434" y="1115"/>
                </a:cubicBezTo>
                <a:cubicBezTo>
                  <a:pt x="2473" y="1061"/>
                  <a:pt x="2562" y="1020"/>
                  <a:pt x="2645" y="1020"/>
                </a:cubicBezTo>
                <a:cubicBezTo>
                  <a:pt x="2718" y="1020"/>
                  <a:pt x="2812" y="1053"/>
                  <a:pt x="2833" y="1086"/>
                </a:cubicBezTo>
                <a:cubicBezTo>
                  <a:pt x="2849" y="1112"/>
                  <a:pt x="2881" y="1099"/>
                  <a:pt x="3056" y="998"/>
                </a:cubicBezTo>
                <a:lnTo>
                  <a:pt x="3231" y="897"/>
                </a:lnTo>
                <a:lnTo>
                  <a:pt x="3255" y="926"/>
                </a:lnTo>
                <a:cubicBezTo>
                  <a:pt x="3269" y="943"/>
                  <a:pt x="3280" y="964"/>
                  <a:pt x="3280" y="974"/>
                </a:cubicBezTo>
                <a:cubicBezTo>
                  <a:pt x="3280" y="984"/>
                  <a:pt x="3199" y="1038"/>
                  <a:pt x="3101" y="1095"/>
                </a:cubicBezTo>
                <a:lnTo>
                  <a:pt x="2923" y="1198"/>
                </a:lnTo>
                <a:lnTo>
                  <a:pt x="2923" y="1279"/>
                </a:lnTo>
                <a:cubicBezTo>
                  <a:pt x="2924" y="1405"/>
                  <a:pt x="2865" y="1501"/>
                  <a:pt x="2756" y="1546"/>
                </a:cubicBezTo>
                <a:lnTo>
                  <a:pt x="2706" y="1567"/>
                </a:lnTo>
                <a:lnTo>
                  <a:pt x="2706" y="1880"/>
                </a:lnTo>
                <a:lnTo>
                  <a:pt x="2706" y="2193"/>
                </a:lnTo>
                <a:lnTo>
                  <a:pt x="2756" y="2214"/>
                </a:lnTo>
                <a:cubicBezTo>
                  <a:pt x="2865" y="2259"/>
                  <a:pt x="2924" y="2355"/>
                  <a:pt x="2923" y="2481"/>
                </a:cubicBezTo>
                <a:lnTo>
                  <a:pt x="2922" y="2562"/>
                </a:lnTo>
                <a:lnTo>
                  <a:pt x="3097" y="2663"/>
                </a:lnTo>
                <a:cubicBezTo>
                  <a:pt x="3194" y="2718"/>
                  <a:pt x="3275" y="2772"/>
                  <a:pt x="3277" y="2783"/>
                </a:cubicBezTo>
                <a:cubicBezTo>
                  <a:pt x="3279" y="2794"/>
                  <a:pt x="3270" y="2816"/>
                  <a:pt x="3256" y="2833"/>
                </a:cubicBezTo>
                <a:lnTo>
                  <a:pt x="3231" y="2863"/>
                </a:lnTo>
                <a:lnTo>
                  <a:pt x="3056" y="2762"/>
                </a:lnTo>
                <a:cubicBezTo>
                  <a:pt x="2881" y="2661"/>
                  <a:pt x="2849" y="2648"/>
                  <a:pt x="2833" y="2674"/>
                </a:cubicBezTo>
                <a:cubicBezTo>
                  <a:pt x="2828" y="2681"/>
                  <a:pt x="2801" y="2699"/>
                  <a:pt x="2772" y="2714"/>
                </a:cubicBezTo>
                <a:cubicBezTo>
                  <a:pt x="2701" y="2750"/>
                  <a:pt x="2586" y="2749"/>
                  <a:pt x="2519" y="2712"/>
                </a:cubicBezTo>
                <a:lnTo>
                  <a:pt x="2469" y="2683"/>
                </a:lnTo>
                <a:lnTo>
                  <a:pt x="2318" y="2771"/>
                </a:lnTo>
                <a:cubicBezTo>
                  <a:pt x="2234" y="2819"/>
                  <a:pt x="2109" y="2891"/>
                  <a:pt x="2040" y="2931"/>
                </a:cubicBezTo>
                <a:lnTo>
                  <a:pt x="1913" y="3004"/>
                </a:lnTo>
                <a:lnTo>
                  <a:pt x="1905" y="3075"/>
                </a:lnTo>
                <a:cubicBezTo>
                  <a:pt x="1892" y="3192"/>
                  <a:pt x="1836" y="3271"/>
                  <a:pt x="1735" y="3312"/>
                </a:cubicBezTo>
                <a:lnTo>
                  <a:pt x="1694" y="3330"/>
                </a:lnTo>
                <a:lnTo>
                  <a:pt x="1690" y="3545"/>
                </a:lnTo>
                <a:lnTo>
                  <a:pt x="1686" y="3760"/>
                </a:lnTo>
                <a:lnTo>
                  <a:pt x="1646" y="3764"/>
                </a:lnTo>
                <a:cubicBezTo>
                  <a:pt x="1623" y="3766"/>
                  <a:pt x="1601" y="3764"/>
                  <a:pt x="1596" y="3758"/>
                </a:cubicBezTo>
                <a:close/>
                <a:moveTo>
                  <a:pt x="1421" y="2881"/>
                </a:moveTo>
                <a:cubicBezTo>
                  <a:pt x="1425" y="2871"/>
                  <a:pt x="1453" y="2845"/>
                  <a:pt x="1484" y="2825"/>
                </a:cubicBezTo>
                <a:cubicBezTo>
                  <a:pt x="1532" y="2792"/>
                  <a:pt x="1553" y="2787"/>
                  <a:pt x="1633" y="2787"/>
                </a:cubicBezTo>
                <a:cubicBezTo>
                  <a:pt x="1717" y="2787"/>
                  <a:pt x="1733" y="2791"/>
                  <a:pt x="1790" y="2831"/>
                </a:cubicBezTo>
                <a:cubicBezTo>
                  <a:pt x="1824" y="2855"/>
                  <a:pt x="1853" y="2880"/>
                  <a:pt x="1853" y="2887"/>
                </a:cubicBezTo>
                <a:cubicBezTo>
                  <a:pt x="1853" y="2912"/>
                  <a:pt x="1883" y="2900"/>
                  <a:pt x="2024" y="2818"/>
                </a:cubicBezTo>
                <a:cubicBezTo>
                  <a:pt x="2102" y="2773"/>
                  <a:pt x="2219" y="2705"/>
                  <a:pt x="2283" y="2669"/>
                </a:cubicBezTo>
                <a:cubicBezTo>
                  <a:pt x="2370" y="2619"/>
                  <a:pt x="2398" y="2596"/>
                  <a:pt x="2392" y="2581"/>
                </a:cubicBezTo>
                <a:cubicBezTo>
                  <a:pt x="2388" y="2569"/>
                  <a:pt x="2381" y="2532"/>
                  <a:pt x="2377" y="2497"/>
                </a:cubicBezTo>
                <a:cubicBezTo>
                  <a:pt x="2363" y="2383"/>
                  <a:pt x="2426" y="2276"/>
                  <a:pt x="2546" y="2210"/>
                </a:cubicBezTo>
                <a:lnTo>
                  <a:pt x="2593" y="2184"/>
                </a:lnTo>
                <a:lnTo>
                  <a:pt x="2597" y="1899"/>
                </a:lnTo>
                <a:cubicBezTo>
                  <a:pt x="2601" y="1586"/>
                  <a:pt x="2597" y="1553"/>
                  <a:pt x="2562" y="1553"/>
                </a:cubicBezTo>
                <a:cubicBezTo>
                  <a:pt x="2524" y="1553"/>
                  <a:pt x="2425" y="1461"/>
                  <a:pt x="2398" y="1401"/>
                </a:cubicBezTo>
                <a:cubicBezTo>
                  <a:pt x="2385" y="1371"/>
                  <a:pt x="2373" y="1323"/>
                  <a:pt x="2373" y="1293"/>
                </a:cubicBezTo>
                <a:lnTo>
                  <a:pt x="2372" y="1240"/>
                </a:lnTo>
                <a:lnTo>
                  <a:pt x="2100" y="1083"/>
                </a:lnTo>
                <a:cubicBezTo>
                  <a:pt x="1950" y="997"/>
                  <a:pt x="1819" y="927"/>
                  <a:pt x="1810" y="927"/>
                </a:cubicBezTo>
                <a:cubicBezTo>
                  <a:pt x="1800" y="927"/>
                  <a:pt x="1777" y="937"/>
                  <a:pt x="1759" y="950"/>
                </a:cubicBezTo>
                <a:cubicBezTo>
                  <a:pt x="1713" y="983"/>
                  <a:pt x="1553" y="983"/>
                  <a:pt x="1507" y="950"/>
                </a:cubicBezTo>
                <a:cubicBezTo>
                  <a:pt x="1488" y="937"/>
                  <a:pt x="1466" y="927"/>
                  <a:pt x="1456" y="927"/>
                </a:cubicBezTo>
                <a:cubicBezTo>
                  <a:pt x="1447" y="927"/>
                  <a:pt x="1360" y="973"/>
                  <a:pt x="1263" y="1029"/>
                </a:cubicBezTo>
                <a:cubicBezTo>
                  <a:pt x="1166" y="1086"/>
                  <a:pt x="1043" y="1156"/>
                  <a:pt x="991" y="1185"/>
                </a:cubicBezTo>
                <a:lnTo>
                  <a:pt x="896" y="1238"/>
                </a:lnTo>
                <a:lnTo>
                  <a:pt x="890" y="1313"/>
                </a:lnTo>
                <a:cubicBezTo>
                  <a:pt x="883" y="1414"/>
                  <a:pt x="826" y="1497"/>
                  <a:pt x="734" y="1541"/>
                </a:cubicBezTo>
                <a:lnTo>
                  <a:pt x="666" y="1573"/>
                </a:lnTo>
                <a:lnTo>
                  <a:pt x="666" y="1880"/>
                </a:lnTo>
                <a:lnTo>
                  <a:pt x="666" y="2187"/>
                </a:lnTo>
                <a:lnTo>
                  <a:pt x="734" y="2219"/>
                </a:lnTo>
                <a:cubicBezTo>
                  <a:pt x="780" y="2241"/>
                  <a:pt x="815" y="2271"/>
                  <a:pt x="844" y="2312"/>
                </a:cubicBezTo>
                <a:cubicBezTo>
                  <a:pt x="881" y="2366"/>
                  <a:pt x="886" y="2384"/>
                  <a:pt x="886" y="2460"/>
                </a:cubicBezTo>
                <a:cubicBezTo>
                  <a:pt x="886" y="2508"/>
                  <a:pt x="882" y="2559"/>
                  <a:pt x="876" y="2574"/>
                </a:cubicBezTo>
                <a:cubicBezTo>
                  <a:pt x="867" y="2597"/>
                  <a:pt x="896" y="2618"/>
                  <a:pt x="1123" y="2750"/>
                </a:cubicBezTo>
                <a:cubicBezTo>
                  <a:pt x="1264" y="2832"/>
                  <a:pt x="1387" y="2899"/>
                  <a:pt x="1397" y="2899"/>
                </a:cubicBezTo>
                <a:cubicBezTo>
                  <a:pt x="1406" y="2900"/>
                  <a:pt x="1417" y="2891"/>
                  <a:pt x="1421" y="2881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35888A6-3994-4F9F-A919-DD67D550BC7C}"/>
              </a:ext>
            </a:extLst>
          </p:cNvPr>
          <p:cNvSpPr/>
          <p:nvPr/>
        </p:nvSpPr>
        <p:spPr>
          <a:xfrm>
            <a:off x="9889687" y="989799"/>
            <a:ext cx="121682" cy="46644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grpSp>
        <p:nvGrpSpPr>
          <p:cNvPr id="156" name="Group 155"/>
          <p:cNvGrpSpPr/>
          <p:nvPr/>
        </p:nvGrpSpPr>
        <p:grpSpPr>
          <a:xfrm>
            <a:off x="9753070" y="5473558"/>
            <a:ext cx="359810" cy="175903"/>
            <a:chOff x="10485845" y="5464423"/>
            <a:chExt cx="319355" cy="156125"/>
          </a:xfrm>
        </p:grpSpPr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F5705860-6B8A-4343-89E2-37248C451E19}"/>
                </a:ext>
              </a:extLst>
            </p:cNvPr>
            <p:cNvCxnSpPr/>
            <p:nvPr/>
          </p:nvCxnSpPr>
          <p:spPr>
            <a:xfrm flipH="1">
              <a:off x="10485845" y="5464423"/>
              <a:ext cx="212903" cy="1561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EBB1402C-5B26-4E0C-A0A3-FA4566C2AE52}"/>
                </a:ext>
              </a:extLst>
            </p:cNvPr>
            <p:cNvCxnSpPr/>
            <p:nvPr/>
          </p:nvCxnSpPr>
          <p:spPr>
            <a:xfrm flipH="1">
              <a:off x="10592297" y="5464423"/>
              <a:ext cx="212903" cy="15612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2" name="Oval 581">
            <a:extLst>
              <a:ext uri="{FF2B5EF4-FFF2-40B4-BE49-F238E27FC236}">
                <a16:creationId xmlns:a16="http://schemas.microsoft.com/office/drawing/2014/main" id="{05729BB4-C971-4796-B8B6-DA00B4AA06B6}"/>
              </a:ext>
            </a:extLst>
          </p:cNvPr>
          <p:cNvSpPr/>
          <p:nvPr/>
        </p:nvSpPr>
        <p:spPr>
          <a:xfrm>
            <a:off x="9927361" y="4837609"/>
            <a:ext cx="525700" cy="525700"/>
          </a:xfrm>
          <a:prstGeom prst="ellipse">
            <a:avLst/>
          </a:prstGeom>
          <a:solidFill>
            <a:srgbClr val="86ADA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210" name="Freeform 26">
            <a:extLst>
              <a:ext uri="{FF2B5EF4-FFF2-40B4-BE49-F238E27FC236}">
                <a16:creationId xmlns:a16="http://schemas.microsoft.com/office/drawing/2014/main" id="{6F0D3DD1-5C3E-4554-BF24-12646AAA2DF3}"/>
              </a:ext>
            </a:extLst>
          </p:cNvPr>
          <p:cNvSpPr>
            <a:spLocks noEditPoints="1"/>
          </p:cNvSpPr>
          <p:nvPr/>
        </p:nvSpPr>
        <p:spPr bwMode="auto">
          <a:xfrm>
            <a:off x="8986157" y="4956877"/>
            <a:ext cx="293756" cy="287164"/>
          </a:xfrm>
          <a:custGeom>
            <a:avLst/>
            <a:gdLst>
              <a:gd name="T0" fmla="*/ 8 w 3558"/>
              <a:gd name="T1" fmla="*/ 4042 h 4066"/>
              <a:gd name="T2" fmla="*/ 6 w 3558"/>
              <a:gd name="T3" fmla="*/ 3846 h 4066"/>
              <a:gd name="T4" fmla="*/ 212 w 3558"/>
              <a:gd name="T5" fmla="*/ 3823 h 4066"/>
              <a:gd name="T6" fmla="*/ 226 w 3558"/>
              <a:gd name="T7" fmla="*/ 936 h 4066"/>
              <a:gd name="T8" fmla="*/ 819 w 3558"/>
              <a:gd name="T9" fmla="*/ 786 h 4066"/>
              <a:gd name="T10" fmla="*/ 1059 w 3558"/>
              <a:gd name="T11" fmla="*/ 1083 h 4066"/>
              <a:gd name="T12" fmla="*/ 1238 w 3558"/>
              <a:gd name="T13" fmla="*/ 2500 h 4066"/>
              <a:gd name="T14" fmla="*/ 1312 w 3558"/>
              <a:gd name="T15" fmla="*/ 3826 h 4066"/>
              <a:gd name="T16" fmla="*/ 1377 w 3558"/>
              <a:gd name="T17" fmla="*/ 2584 h 4066"/>
              <a:gd name="T18" fmla="*/ 1386 w 3558"/>
              <a:gd name="T19" fmla="*/ 472 h 4066"/>
              <a:gd name="T20" fmla="*/ 1333 w 3558"/>
              <a:gd name="T21" fmla="*/ 133 h 4066"/>
              <a:gd name="T22" fmla="*/ 1444 w 3558"/>
              <a:gd name="T23" fmla="*/ 10 h 4066"/>
              <a:gd name="T24" fmla="*/ 1825 w 3558"/>
              <a:gd name="T25" fmla="*/ 26 h 4066"/>
              <a:gd name="T26" fmla="*/ 1911 w 3558"/>
              <a:gd name="T27" fmla="*/ 132 h 4066"/>
              <a:gd name="T28" fmla="*/ 1912 w 3558"/>
              <a:gd name="T29" fmla="*/ 414 h 4066"/>
              <a:gd name="T30" fmla="*/ 1866 w 3558"/>
              <a:gd name="T31" fmla="*/ 1088 h 4066"/>
              <a:gd name="T32" fmla="*/ 1815 w 3558"/>
              <a:gd name="T33" fmla="*/ 1725 h 4066"/>
              <a:gd name="T34" fmla="*/ 1669 w 3558"/>
              <a:gd name="T35" fmla="*/ 2886 h 4066"/>
              <a:gd name="T36" fmla="*/ 1716 w 3558"/>
              <a:gd name="T37" fmla="*/ 3824 h 4066"/>
              <a:gd name="T38" fmla="*/ 1759 w 3558"/>
              <a:gd name="T39" fmla="*/ 2893 h 4066"/>
              <a:gd name="T40" fmla="*/ 1910 w 3558"/>
              <a:gd name="T41" fmla="*/ 1787 h 4066"/>
              <a:gd name="T42" fmla="*/ 2611 w 3558"/>
              <a:gd name="T43" fmla="*/ 1832 h 4066"/>
              <a:gd name="T44" fmla="*/ 2658 w 3558"/>
              <a:gd name="T45" fmla="*/ 2858 h 4066"/>
              <a:gd name="T46" fmla="*/ 2241 w 3558"/>
              <a:gd name="T47" fmla="*/ 2890 h 4066"/>
              <a:gd name="T48" fmla="*/ 3123 w 3558"/>
              <a:gd name="T49" fmla="*/ 2956 h 4066"/>
              <a:gd name="T50" fmla="*/ 3372 w 3558"/>
              <a:gd name="T51" fmla="*/ 3564 h 4066"/>
              <a:gd name="T52" fmla="*/ 3455 w 3558"/>
              <a:gd name="T53" fmla="*/ 3835 h 4066"/>
              <a:gd name="T54" fmla="*/ 3551 w 3558"/>
              <a:gd name="T55" fmla="*/ 3990 h 4066"/>
              <a:gd name="T56" fmla="*/ 3392 w 3558"/>
              <a:gd name="T57" fmla="*/ 4055 h 4066"/>
              <a:gd name="T58" fmla="*/ 522 w 3558"/>
              <a:gd name="T59" fmla="*/ 2516 h 4066"/>
              <a:gd name="T60" fmla="*/ 709 w 3558"/>
              <a:gd name="T61" fmla="*/ 1080 h 4066"/>
              <a:gd name="T62" fmla="*/ 801 w 3558"/>
              <a:gd name="T63" fmla="*/ 1001 h 4066"/>
              <a:gd name="T64" fmla="*/ 586 w 3558"/>
              <a:gd name="T65" fmla="*/ 946 h 4066"/>
              <a:gd name="T66" fmla="*/ 368 w 3558"/>
              <a:gd name="T67" fmla="*/ 1016 h 4066"/>
              <a:gd name="T68" fmla="*/ 447 w 3558"/>
              <a:gd name="T69" fmla="*/ 3826 h 4066"/>
              <a:gd name="T70" fmla="*/ 522 w 3558"/>
              <a:gd name="T71" fmla="*/ 2516 h 4066"/>
              <a:gd name="T72" fmla="*/ 2935 w 3558"/>
              <a:gd name="T73" fmla="*/ 3357 h 4066"/>
              <a:gd name="T74" fmla="*/ 2692 w 3558"/>
              <a:gd name="T75" fmla="*/ 3348 h 4066"/>
              <a:gd name="T76" fmla="*/ 2692 w 3558"/>
              <a:gd name="T77" fmla="*/ 3826 h 4066"/>
              <a:gd name="T78" fmla="*/ 2944 w 3558"/>
              <a:gd name="T79" fmla="*/ 3826 h 4066"/>
              <a:gd name="T80" fmla="*/ 3246 w 3558"/>
              <a:gd name="T81" fmla="*/ 3526 h 4066"/>
              <a:gd name="T82" fmla="*/ 3119 w 3558"/>
              <a:gd name="T83" fmla="*/ 3080 h 4066"/>
              <a:gd name="T84" fmla="*/ 2236 w 3558"/>
              <a:gd name="T85" fmla="*/ 3083 h 4066"/>
              <a:gd name="T86" fmla="*/ 3104 w 3558"/>
              <a:gd name="T87" fmla="*/ 3177 h 4066"/>
              <a:gd name="T88" fmla="*/ 3224 w 3558"/>
              <a:gd name="T89" fmla="*/ 3824 h 4066"/>
              <a:gd name="T90" fmla="*/ 2886 w 3558"/>
              <a:gd name="T91" fmla="*/ 2855 h 4066"/>
              <a:gd name="T92" fmla="*/ 2829 w 3558"/>
              <a:gd name="T93" fmla="*/ 2208 h 4066"/>
              <a:gd name="T94" fmla="*/ 2407 w 3558"/>
              <a:gd name="T95" fmla="*/ 1544 h 4066"/>
              <a:gd name="T96" fmla="*/ 2325 w 3558"/>
              <a:gd name="T97" fmla="*/ 1660 h 4066"/>
              <a:gd name="T98" fmla="*/ 2092 w 3558"/>
              <a:gd name="T99" fmla="*/ 1562 h 4066"/>
              <a:gd name="T100" fmla="*/ 2550 w 3558"/>
              <a:gd name="T101" fmla="*/ 1296 h 4066"/>
              <a:gd name="T102" fmla="*/ 3065 w 3558"/>
              <a:gd name="T103" fmla="*/ 1463 h 4066"/>
              <a:gd name="T104" fmla="*/ 2886 w 3558"/>
              <a:gd name="T105" fmla="*/ 2855 h 40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58" h="4066">
                <a:moveTo>
                  <a:pt x="452" y="4052"/>
                </a:moveTo>
                <a:cubicBezTo>
                  <a:pt x="214" y="4048"/>
                  <a:pt x="14" y="4043"/>
                  <a:pt x="8" y="4042"/>
                </a:cubicBezTo>
                <a:cubicBezTo>
                  <a:pt x="3" y="4041"/>
                  <a:pt x="0" y="3996"/>
                  <a:pt x="2" y="3943"/>
                </a:cubicBezTo>
                <a:lnTo>
                  <a:pt x="6" y="3846"/>
                </a:lnTo>
                <a:lnTo>
                  <a:pt x="109" y="3835"/>
                </a:lnTo>
                <a:lnTo>
                  <a:pt x="212" y="3823"/>
                </a:lnTo>
                <a:lnTo>
                  <a:pt x="212" y="2412"/>
                </a:lnTo>
                <a:cubicBezTo>
                  <a:pt x="212" y="1474"/>
                  <a:pt x="217" y="979"/>
                  <a:pt x="226" y="936"/>
                </a:cubicBezTo>
                <a:cubicBezTo>
                  <a:pt x="243" y="858"/>
                  <a:pt x="289" y="809"/>
                  <a:pt x="366" y="788"/>
                </a:cubicBezTo>
                <a:cubicBezTo>
                  <a:pt x="430" y="770"/>
                  <a:pt x="745" y="769"/>
                  <a:pt x="819" y="786"/>
                </a:cubicBezTo>
                <a:cubicBezTo>
                  <a:pt x="886" y="801"/>
                  <a:pt x="942" y="862"/>
                  <a:pt x="952" y="929"/>
                </a:cubicBezTo>
                <a:cubicBezTo>
                  <a:pt x="974" y="1077"/>
                  <a:pt x="971" y="1072"/>
                  <a:pt x="1059" y="1083"/>
                </a:cubicBezTo>
                <a:cubicBezTo>
                  <a:pt x="1153" y="1095"/>
                  <a:pt x="1199" y="1125"/>
                  <a:pt x="1222" y="1188"/>
                </a:cubicBezTo>
                <a:cubicBezTo>
                  <a:pt x="1233" y="1222"/>
                  <a:pt x="1238" y="1555"/>
                  <a:pt x="1238" y="2500"/>
                </a:cubicBezTo>
                <a:cubicBezTo>
                  <a:pt x="1239" y="3196"/>
                  <a:pt x="1243" y="3780"/>
                  <a:pt x="1247" y="3796"/>
                </a:cubicBezTo>
                <a:cubicBezTo>
                  <a:pt x="1254" y="3822"/>
                  <a:pt x="1265" y="3826"/>
                  <a:pt x="1312" y="3826"/>
                </a:cubicBezTo>
                <a:lnTo>
                  <a:pt x="1368" y="3826"/>
                </a:lnTo>
                <a:lnTo>
                  <a:pt x="1377" y="2584"/>
                </a:lnTo>
                <a:cubicBezTo>
                  <a:pt x="1382" y="1901"/>
                  <a:pt x="1386" y="1146"/>
                  <a:pt x="1386" y="907"/>
                </a:cubicBezTo>
                <a:lnTo>
                  <a:pt x="1386" y="472"/>
                </a:lnTo>
                <a:lnTo>
                  <a:pt x="1344" y="416"/>
                </a:lnTo>
                <a:cubicBezTo>
                  <a:pt x="1278" y="326"/>
                  <a:pt x="1271" y="133"/>
                  <a:pt x="1333" y="133"/>
                </a:cubicBezTo>
                <a:cubicBezTo>
                  <a:pt x="1380" y="133"/>
                  <a:pt x="1410" y="109"/>
                  <a:pt x="1420" y="63"/>
                </a:cubicBezTo>
                <a:cubicBezTo>
                  <a:pt x="1425" y="39"/>
                  <a:pt x="1436" y="15"/>
                  <a:pt x="1444" y="10"/>
                </a:cubicBezTo>
                <a:cubicBezTo>
                  <a:pt x="1452" y="5"/>
                  <a:pt x="1538" y="0"/>
                  <a:pt x="1635" y="0"/>
                </a:cubicBezTo>
                <a:cubicBezTo>
                  <a:pt x="1796" y="0"/>
                  <a:pt x="1813" y="2"/>
                  <a:pt x="1825" y="26"/>
                </a:cubicBezTo>
                <a:cubicBezTo>
                  <a:pt x="1833" y="40"/>
                  <a:pt x="1839" y="63"/>
                  <a:pt x="1839" y="78"/>
                </a:cubicBezTo>
                <a:cubicBezTo>
                  <a:pt x="1839" y="109"/>
                  <a:pt x="1854" y="121"/>
                  <a:pt x="1911" y="132"/>
                </a:cubicBezTo>
                <a:cubicBezTo>
                  <a:pt x="1944" y="139"/>
                  <a:pt x="1953" y="150"/>
                  <a:pt x="1962" y="187"/>
                </a:cubicBezTo>
                <a:cubicBezTo>
                  <a:pt x="1978" y="260"/>
                  <a:pt x="1962" y="337"/>
                  <a:pt x="1912" y="414"/>
                </a:cubicBezTo>
                <a:lnTo>
                  <a:pt x="1866" y="486"/>
                </a:lnTo>
                <a:lnTo>
                  <a:pt x="1866" y="1088"/>
                </a:lnTo>
                <a:lnTo>
                  <a:pt x="1866" y="1690"/>
                </a:lnTo>
                <a:lnTo>
                  <a:pt x="1815" y="1725"/>
                </a:lnTo>
                <a:cubicBezTo>
                  <a:pt x="1752" y="1768"/>
                  <a:pt x="1717" y="1815"/>
                  <a:pt x="1688" y="1893"/>
                </a:cubicBezTo>
                <a:cubicBezTo>
                  <a:pt x="1667" y="1948"/>
                  <a:pt x="1665" y="2037"/>
                  <a:pt x="1669" y="2886"/>
                </a:cubicBezTo>
                <a:lnTo>
                  <a:pt x="1672" y="3820"/>
                </a:lnTo>
                <a:lnTo>
                  <a:pt x="1716" y="3824"/>
                </a:lnTo>
                <a:lnTo>
                  <a:pt x="1759" y="3828"/>
                </a:lnTo>
                <a:lnTo>
                  <a:pt x="1759" y="2893"/>
                </a:lnTo>
                <a:cubicBezTo>
                  <a:pt x="1759" y="2001"/>
                  <a:pt x="1760" y="1957"/>
                  <a:pt x="1784" y="1909"/>
                </a:cubicBezTo>
                <a:cubicBezTo>
                  <a:pt x="1815" y="1850"/>
                  <a:pt x="1859" y="1807"/>
                  <a:pt x="1910" y="1787"/>
                </a:cubicBezTo>
                <a:cubicBezTo>
                  <a:pt x="1961" y="1768"/>
                  <a:pt x="2475" y="1769"/>
                  <a:pt x="2534" y="1788"/>
                </a:cubicBezTo>
                <a:cubicBezTo>
                  <a:pt x="2559" y="1797"/>
                  <a:pt x="2593" y="1816"/>
                  <a:pt x="2611" y="1832"/>
                </a:cubicBezTo>
                <a:cubicBezTo>
                  <a:pt x="2676" y="1890"/>
                  <a:pt x="2679" y="1914"/>
                  <a:pt x="2679" y="2398"/>
                </a:cubicBezTo>
                <a:cubicBezTo>
                  <a:pt x="2679" y="2798"/>
                  <a:pt x="2677" y="2851"/>
                  <a:pt x="2658" y="2858"/>
                </a:cubicBezTo>
                <a:cubicBezTo>
                  <a:pt x="2646" y="2863"/>
                  <a:pt x="2547" y="2866"/>
                  <a:pt x="2437" y="2866"/>
                </a:cubicBezTo>
                <a:cubicBezTo>
                  <a:pt x="2254" y="2866"/>
                  <a:pt x="2237" y="2868"/>
                  <a:pt x="2241" y="2890"/>
                </a:cubicBezTo>
                <a:cubicBezTo>
                  <a:pt x="2246" y="2911"/>
                  <a:pt x="2279" y="2914"/>
                  <a:pt x="2652" y="2920"/>
                </a:cubicBezTo>
                <a:cubicBezTo>
                  <a:pt x="3036" y="2926"/>
                  <a:pt x="3063" y="2928"/>
                  <a:pt x="3123" y="2956"/>
                </a:cubicBezTo>
                <a:cubicBezTo>
                  <a:pt x="3215" y="2998"/>
                  <a:pt x="3263" y="3036"/>
                  <a:pt x="3299" y="3093"/>
                </a:cubicBezTo>
                <a:cubicBezTo>
                  <a:pt x="3358" y="3186"/>
                  <a:pt x="3372" y="3281"/>
                  <a:pt x="3372" y="3564"/>
                </a:cubicBezTo>
                <a:lnTo>
                  <a:pt x="3372" y="3824"/>
                </a:lnTo>
                <a:lnTo>
                  <a:pt x="3455" y="3835"/>
                </a:lnTo>
                <a:cubicBezTo>
                  <a:pt x="3534" y="3846"/>
                  <a:pt x="3539" y="3849"/>
                  <a:pt x="3550" y="3890"/>
                </a:cubicBezTo>
                <a:cubicBezTo>
                  <a:pt x="3558" y="3916"/>
                  <a:pt x="3558" y="3956"/>
                  <a:pt x="3551" y="3990"/>
                </a:cubicBezTo>
                <a:lnTo>
                  <a:pt x="3539" y="4046"/>
                </a:lnTo>
                <a:lnTo>
                  <a:pt x="3392" y="4055"/>
                </a:lnTo>
                <a:cubicBezTo>
                  <a:pt x="3200" y="4066"/>
                  <a:pt x="1008" y="4064"/>
                  <a:pt x="452" y="4052"/>
                </a:cubicBezTo>
                <a:close/>
                <a:moveTo>
                  <a:pt x="522" y="2516"/>
                </a:moveTo>
                <a:cubicBezTo>
                  <a:pt x="525" y="1423"/>
                  <a:pt x="529" y="1200"/>
                  <a:pt x="544" y="1170"/>
                </a:cubicBezTo>
                <a:cubicBezTo>
                  <a:pt x="565" y="1129"/>
                  <a:pt x="655" y="1080"/>
                  <a:pt x="709" y="1080"/>
                </a:cubicBezTo>
                <a:cubicBezTo>
                  <a:pt x="728" y="1080"/>
                  <a:pt x="758" y="1074"/>
                  <a:pt x="775" y="1068"/>
                </a:cubicBezTo>
                <a:cubicBezTo>
                  <a:pt x="803" y="1058"/>
                  <a:pt x="806" y="1049"/>
                  <a:pt x="801" y="1001"/>
                </a:cubicBezTo>
                <a:lnTo>
                  <a:pt x="796" y="946"/>
                </a:lnTo>
                <a:lnTo>
                  <a:pt x="586" y="946"/>
                </a:lnTo>
                <a:lnTo>
                  <a:pt x="376" y="946"/>
                </a:lnTo>
                <a:lnTo>
                  <a:pt x="368" y="1016"/>
                </a:lnTo>
                <a:cubicBezTo>
                  <a:pt x="357" y="1108"/>
                  <a:pt x="356" y="3730"/>
                  <a:pt x="367" y="3785"/>
                </a:cubicBezTo>
                <a:cubicBezTo>
                  <a:pt x="375" y="3825"/>
                  <a:pt x="378" y="3826"/>
                  <a:pt x="447" y="3826"/>
                </a:cubicBezTo>
                <a:lnTo>
                  <a:pt x="518" y="3826"/>
                </a:lnTo>
                <a:lnTo>
                  <a:pt x="522" y="2516"/>
                </a:lnTo>
                <a:close/>
                <a:moveTo>
                  <a:pt x="2953" y="3751"/>
                </a:moveTo>
                <a:cubicBezTo>
                  <a:pt x="2965" y="3656"/>
                  <a:pt x="2952" y="3374"/>
                  <a:pt x="2935" y="3357"/>
                </a:cubicBezTo>
                <a:cubicBezTo>
                  <a:pt x="2916" y="3338"/>
                  <a:pt x="2822" y="3329"/>
                  <a:pt x="2753" y="3339"/>
                </a:cubicBezTo>
                <a:lnTo>
                  <a:pt x="2692" y="3348"/>
                </a:lnTo>
                <a:lnTo>
                  <a:pt x="2692" y="3587"/>
                </a:lnTo>
                <a:lnTo>
                  <a:pt x="2692" y="3826"/>
                </a:lnTo>
                <a:lnTo>
                  <a:pt x="2818" y="3826"/>
                </a:lnTo>
                <a:lnTo>
                  <a:pt x="2944" y="3826"/>
                </a:lnTo>
                <a:lnTo>
                  <a:pt x="2953" y="3751"/>
                </a:lnTo>
                <a:close/>
                <a:moveTo>
                  <a:pt x="3246" y="3526"/>
                </a:moveTo>
                <a:cubicBezTo>
                  <a:pt x="3245" y="3238"/>
                  <a:pt x="3245" y="3232"/>
                  <a:pt x="3212" y="3173"/>
                </a:cubicBezTo>
                <a:cubicBezTo>
                  <a:pt x="3190" y="3134"/>
                  <a:pt x="3158" y="3102"/>
                  <a:pt x="3119" y="3080"/>
                </a:cubicBezTo>
                <a:cubicBezTo>
                  <a:pt x="3059" y="3047"/>
                  <a:pt x="3058" y="3046"/>
                  <a:pt x="2659" y="3043"/>
                </a:cubicBezTo>
                <a:cubicBezTo>
                  <a:pt x="2257" y="3039"/>
                  <a:pt x="2198" y="3044"/>
                  <a:pt x="2236" y="3083"/>
                </a:cubicBezTo>
                <a:cubicBezTo>
                  <a:pt x="2249" y="3095"/>
                  <a:pt x="2347" y="3102"/>
                  <a:pt x="2623" y="3107"/>
                </a:cubicBezTo>
                <a:cubicBezTo>
                  <a:pt x="3007" y="3115"/>
                  <a:pt x="3041" y="3120"/>
                  <a:pt x="3104" y="3177"/>
                </a:cubicBezTo>
                <a:cubicBezTo>
                  <a:pt x="3173" y="3240"/>
                  <a:pt x="3185" y="3294"/>
                  <a:pt x="3186" y="3540"/>
                </a:cubicBezTo>
                <a:cubicBezTo>
                  <a:pt x="3186" y="3790"/>
                  <a:pt x="3191" y="3830"/>
                  <a:pt x="3224" y="3824"/>
                </a:cubicBezTo>
                <a:cubicBezTo>
                  <a:pt x="3243" y="3820"/>
                  <a:pt x="3246" y="3786"/>
                  <a:pt x="3246" y="3526"/>
                </a:cubicBezTo>
                <a:close/>
                <a:moveTo>
                  <a:pt x="2886" y="2855"/>
                </a:moveTo>
                <a:lnTo>
                  <a:pt x="2832" y="2846"/>
                </a:lnTo>
                <a:lnTo>
                  <a:pt x="2829" y="2208"/>
                </a:lnTo>
                <a:cubicBezTo>
                  <a:pt x="2826" y="1763"/>
                  <a:pt x="2821" y="1563"/>
                  <a:pt x="2811" y="1551"/>
                </a:cubicBezTo>
                <a:cubicBezTo>
                  <a:pt x="2794" y="1531"/>
                  <a:pt x="2506" y="1526"/>
                  <a:pt x="2407" y="1544"/>
                </a:cubicBezTo>
                <a:cubicBezTo>
                  <a:pt x="2360" y="1552"/>
                  <a:pt x="2353" y="1559"/>
                  <a:pt x="2340" y="1607"/>
                </a:cubicBezTo>
                <a:lnTo>
                  <a:pt x="2325" y="1660"/>
                </a:lnTo>
                <a:lnTo>
                  <a:pt x="2239" y="1664"/>
                </a:lnTo>
                <a:cubicBezTo>
                  <a:pt x="2096" y="1671"/>
                  <a:pt x="2092" y="1668"/>
                  <a:pt x="2092" y="1562"/>
                </a:cubicBezTo>
                <a:cubicBezTo>
                  <a:pt x="2092" y="1458"/>
                  <a:pt x="2128" y="1372"/>
                  <a:pt x="2190" y="1327"/>
                </a:cubicBezTo>
                <a:cubicBezTo>
                  <a:pt x="2225" y="1302"/>
                  <a:pt x="2249" y="1300"/>
                  <a:pt x="2550" y="1296"/>
                </a:cubicBezTo>
                <a:cubicBezTo>
                  <a:pt x="2754" y="1293"/>
                  <a:pt x="2890" y="1297"/>
                  <a:pt x="2921" y="1306"/>
                </a:cubicBezTo>
                <a:cubicBezTo>
                  <a:pt x="2980" y="1323"/>
                  <a:pt x="3046" y="1395"/>
                  <a:pt x="3065" y="1463"/>
                </a:cubicBezTo>
                <a:cubicBezTo>
                  <a:pt x="3080" y="1517"/>
                  <a:pt x="3085" y="2807"/>
                  <a:pt x="3071" y="2845"/>
                </a:cubicBezTo>
                <a:cubicBezTo>
                  <a:pt x="3062" y="2868"/>
                  <a:pt x="2994" y="2871"/>
                  <a:pt x="2886" y="2855"/>
                </a:cubicBez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200"/>
          </a:p>
        </p:txBody>
      </p:sp>
      <p:sp>
        <p:nvSpPr>
          <p:cNvPr id="6" name="TextBox 5"/>
          <p:cNvSpPr txBox="1"/>
          <p:nvPr/>
        </p:nvSpPr>
        <p:spPr>
          <a:xfrm>
            <a:off x="2040559" y="5637198"/>
            <a:ext cx="293756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0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63164" y="5637198"/>
            <a:ext cx="502353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10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0748" y="5637198"/>
            <a:ext cx="580992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20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200222" y="5637198"/>
            <a:ext cx="535850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30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26181" y="5637198"/>
            <a:ext cx="537739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40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49925" y="5637198"/>
            <a:ext cx="483134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60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955973" y="5637198"/>
            <a:ext cx="524841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80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761567" y="5637198"/>
            <a:ext cx="532034" cy="1952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b="1" dirty="0"/>
              <a:t>100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865516" y="4894194"/>
            <a:ext cx="408034" cy="369332"/>
          </a:xfrm>
          <a:prstGeom prst="rect">
            <a:avLst/>
          </a:prstGeom>
        </p:spPr>
        <p:txBody>
          <a:bodyPr vert="horz" wrap="square" lIns="19050" tIns="0" rIns="1905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Steel (</a:t>
            </a:r>
            <a:r>
              <a:rPr lang="en-US" sz="1200" dirty="0" err="1"/>
              <a:t>DRI</a:t>
            </a:r>
            <a:r>
              <a:rPr lang="en-US" sz="1200" dirty="0"/>
              <a:t>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892682" y="4801863"/>
            <a:ext cx="949568" cy="553998"/>
          </a:xfrm>
          <a:prstGeom prst="rect">
            <a:avLst/>
          </a:prstGeom>
        </p:spPr>
        <p:txBody>
          <a:bodyPr vert="horz" wrap="square" lIns="19050" tIns="0" rIns="1905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 err="1"/>
              <a:t>CCU</a:t>
            </a:r>
            <a:r>
              <a:rPr lang="en-US" sz="1200" dirty="0"/>
              <a:t> for methanol, olefins, BTX3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321460" y="5008126"/>
            <a:ext cx="599523" cy="184666"/>
          </a:xfrm>
          <a:prstGeom prst="rect">
            <a:avLst/>
          </a:prstGeom>
        </p:spPr>
        <p:txBody>
          <a:bodyPr vert="horz" wrap="non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Refining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590734" y="4876134"/>
            <a:ext cx="724965" cy="369332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Ammonia, </a:t>
            </a:r>
          </a:p>
          <a:p>
            <a:r>
              <a:rPr lang="en-US" sz="1200" dirty="0"/>
              <a:t>methano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090339" y="3976956"/>
            <a:ext cx="1958162" cy="369332"/>
          </a:xfrm>
          <a:prstGeom prst="rect">
            <a:avLst/>
          </a:prstGeom>
        </p:spPr>
        <p:txBody>
          <a:bodyPr vert="horz" wrap="square" lIns="19050" tIns="0" rIns="1905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Heating/co-generation in countries with gas network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443947" y="3884623"/>
            <a:ext cx="1588576" cy="553998"/>
          </a:xfrm>
          <a:prstGeom prst="rect">
            <a:avLst/>
          </a:prstGeom>
        </p:spPr>
        <p:txBody>
          <a:bodyPr vert="horz" wrap="none" lIns="19050" tIns="0" rIns="1905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Heating/co-generation </a:t>
            </a:r>
          </a:p>
          <a:p>
            <a:r>
              <a:rPr lang="en-US" sz="1200" dirty="0"/>
              <a:t>in countries without</a:t>
            </a:r>
            <a:br>
              <a:rPr lang="en-US" sz="1200" dirty="0"/>
            </a:br>
            <a:r>
              <a:rPr lang="en-US" sz="1200" dirty="0"/>
              <a:t>gas network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361534" y="3086841"/>
            <a:ext cx="973099" cy="369332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Medium-/low industry hea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963317" y="2985492"/>
            <a:ext cx="793084" cy="553998"/>
          </a:xfrm>
          <a:prstGeom prst="rect">
            <a:avLst/>
          </a:prstGeom>
        </p:spPr>
        <p:txBody>
          <a:bodyPr vert="horz" wrap="square" lIns="19050" tIns="0" rIns="1905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High-grade industry hea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120472" y="2180527"/>
            <a:ext cx="742583" cy="369332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dirty="0"/>
              <a:t>Mid-sized/</a:t>
            </a:r>
            <a:br>
              <a:rPr lang="en-US" sz="1200" dirty="0"/>
            </a:br>
            <a:r>
              <a:rPr lang="en-US" sz="1200" dirty="0"/>
              <a:t>large car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270594" y="1600636"/>
            <a:ext cx="768381" cy="369332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Passenger ships</a:t>
            </a:r>
          </a:p>
        </p:txBody>
      </p:sp>
      <p:grpSp>
        <p:nvGrpSpPr>
          <p:cNvPr id="471" name="Group 470"/>
          <p:cNvGrpSpPr/>
          <p:nvPr/>
        </p:nvGrpSpPr>
        <p:grpSpPr>
          <a:xfrm>
            <a:off x="8126738" y="1998173"/>
            <a:ext cx="1361935" cy="393870"/>
            <a:chOff x="8126738" y="2010685"/>
            <a:chExt cx="1361935" cy="393870"/>
          </a:xfrm>
        </p:grpSpPr>
        <p:sp>
          <p:nvSpPr>
            <p:cNvPr id="167" name="Freeform 69">
              <a:extLst>
                <a:ext uri="{FF2B5EF4-FFF2-40B4-BE49-F238E27FC236}">
                  <a16:creationId xmlns:a16="http://schemas.microsoft.com/office/drawing/2014/main" id="{F7B4E28A-4278-4A97-9118-8D6EBA0581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6738" y="2206894"/>
              <a:ext cx="375647" cy="197661"/>
            </a:xfrm>
            <a:custGeom>
              <a:avLst/>
              <a:gdLst>
                <a:gd name="T0" fmla="*/ 2688 w 3577"/>
                <a:gd name="T1" fmla="*/ 1534 h 2072"/>
                <a:gd name="T2" fmla="*/ 2618 w 3577"/>
                <a:gd name="T3" fmla="*/ 1749 h 2072"/>
                <a:gd name="T4" fmla="*/ 2749 w 3577"/>
                <a:gd name="T5" fmla="*/ 1929 h 2072"/>
                <a:gd name="T6" fmla="*/ 2976 w 3577"/>
                <a:gd name="T7" fmla="*/ 1929 h 2072"/>
                <a:gd name="T8" fmla="*/ 3107 w 3577"/>
                <a:gd name="T9" fmla="*/ 1749 h 2072"/>
                <a:gd name="T10" fmla="*/ 3038 w 3577"/>
                <a:gd name="T11" fmla="*/ 1534 h 2072"/>
                <a:gd name="T12" fmla="*/ 686 w 3577"/>
                <a:gd name="T13" fmla="*/ 1461 h 2072"/>
                <a:gd name="T14" fmla="*/ 487 w 3577"/>
                <a:gd name="T15" fmla="*/ 1563 h 2072"/>
                <a:gd name="T16" fmla="*/ 452 w 3577"/>
                <a:gd name="T17" fmla="*/ 1787 h 2072"/>
                <a:gd name="T18" fmla="*/ 608 w 3577"/>
                <a:gd name="T19" fmla="*/ 1944 h 2072"/>
                <a:gd name="T20" fmla="*/ 832 w 3577"/>
                <a:gd name="T21" fmla="*/ 1909 h 2072"/>
                <a:gd name="T22" fmla="*/ 934 w 3577"/>
                <a:gd name="T23" fmla="*/ 1709 h 2072"/>
                <a:gd name="T24" fmla="*/ 832 w 3577"/>
                <a:gd name="T25" fmla="*/ 1509 h 2072"/>
                <a:gd name="T26" fmla="*/ 2912 w 3577"/>
                <a:gd name="T27" fmla="*/ 1350 h 2072"/>
                <a:gd name="T28" fmla="*/ 3149 w 3577"/>
                <a:gd name="T29" fmla="*/ 1487 h 2072"/>
                <a:gd name="T30" fmla="*/ 3223 w 3577"/>
                <a:gd name="T31" fmla="*/ 1759 h 2072"/>
                <a:gd name="T32" fmla="*/ 3084 w 3577"/>
                <a:gd name="T33" fmla="*/ 1997 h 2072"/>
                <a:gd name="T34" fmla="*/ 2813 w 3577"/>
                <a:gd name="T35" fmla="*/ 2069 h 2072"/>
                <a:gd name="T36" fmla="*/ 2576 w 3577"/>
                <a:gd name="T37" fmla="*/ 1931 h 2072"/>
                <a:gd name="T38" fmla="*/ 2504 w 3577"/>
                <a:gd name="T39" fmla="*/ 1660 h 2072"/>
                <a:gd name="T40" fmla="*/ 2641 w 3577"/>
                <a:gd name="T41" fmla="*/ 1422 h 2072"/>
                <a:gd name="T42" fmla="*/ 686 w 3577"/>
                <a:gd name="T43" fmla="*/ 1347 h 2072"/>
                <a:gd name="T44" fmla="*/ 943 w 3577"/>
                <a:gd name="T45" fmla="*/ 1452 h 2072"/>
                <a:gd name="T46" fmla="*/ 1049 w 3577"/>
                <a:gd name="T47" fmla="*/ 1709 h 2072"/>
                <a:gd name="T48" fmla="*/ 943 w 3577"/>
                <a:gd name="T49" fmla="*/ 1965 h 2072"/>
                <a:gd name="T50" fmla="*/ 686 w 3577"/>
                <a:gd name="T51" fmla="*/ 2072 h 2072"/>
                <a:gd name="T52" fmla="*/ 430 w 3577"/>
                <a:gd name="T53" fmla="*/ 1965 h 2072"/>
                <a:gd name="T54" fmla="*/ 323 w 3577"/>
                <a:gd name="T55" fmla="*/ 1709 h 2072"/>
                <a:gd name="T56" fmla="*/ 430 w 3577"/>
                <a:gd name="T57" fmla="*/ 1452 h 2072"/>
                <a:gd name="T58" fmla="*/ 686 w 3577"/>
                <a:gd name="T59" fmla="*/ 1347 h 2072"/>
                <a:gd name="T60" fmla="*/ 3218 w 3577"/>
                <a:gd name="T61" fmla="*/ 1153 h 2072"/>
                <a:gd name="T62" fmla="*/ 3283 w 3577"/>
                <a:gd name="T63" fmla="*/ 1361 h 2072"/>
                <a:gd name="T64" fmla="*/ 3543 w 3577"/>
                <a:gd name="T65" fmla="*/ 1296 h 2072"/>
                <a:gd name="T66" fmla="*/ 3479 w 3577"/>
                <a:gd name="T67" fmla="*/ 1089 h 2072"/>
                <a:gd name="T68" fmla="*/ 1775 w 3577"/>
                <a:gd name="T69" fmla="*/ 683 h 2072"/>
                <a:gd name="T70" fmla="*/ 2689 w 3577"/>
                <a:gd name="T71" fmla="*/ 695 h 2072"/>
                <a:gd name="T72" fmla="*/ 2431 w 3577"/>
                <a:gd name="T73" fmla="*/ 198 h 2072"/>
                <a:gd name="T74" fmla="*/ 2319 w 3577"/>
                <a:gd name="T75" fmla="*/ 4 h 2072"/>
                <a:gd name="T76" fmla="*/ 2521 w 3577"/>
                <a:gd name="T77" fmla="*/ 56 h 2072"/>
                <a:gd name="T78" fmla="*/ 2642 w 3577"/>
                <a:gd name="T79" fmla="*/ 191 h 2072"/>
                <a:gd name="T80" fmla="*/ 3502 w 3577"/>
                <a:gd name="T81" fmla="*/ 870 h 2072"/>
                <a:gd name="T82" fmla="*/ 3577 w 3577"/>
                <a:gd name="T83" fmla="*/ 1008 h 2072"/>
                <a:gd name="T84" fmla="*/ 3508 w 3577"/>
                <a:gd name="T85" fmla="*/ 1635 h 2072"/>
                <a:gd name="T86" fmla="*/ 3256 w 3577"/>
                <a:gd name="T87" fmla="*/ 1640 h 2072"/>
                <a:gd name="T88" fmla="*/ 3141 w 3577"/>
                <a:gd name="T89" fmla="*/ 1417 h 2072"/>
                <a:gd name="T90" fmla="*/ 2905 w 3577"/>
                <a:gd name="T91" fmla="*/ 1306 h 2072"/>
                <a:gd name="T92" fmla="*/ 2648 w 3577"/>
                <a:gd name="T93" fmla="*/ 1366 h 2072"/>
                <a:gd name="T94" fmla="*/ 2488 w 3577"/>
                <a:gd name="T95" fmla="*/ 1559 h 2072"/>
                <a:gd name="T96" fmla="*/ 1071 w 3577"/>
                <a:gd name="T97" fmla="*/ 1579 h 2072"/>
                <a:gd name="T98" fmla="*/ 886 w 3577"/>
                <a:gd name="T99" fmla="*/ 1354 h 2072"/>
                <a:gd name="T100" fmla="*/ 589 w 3577"/>
                <a:gd name="T101" fmla="*/ 1317 h 2072"/>
                <a:gd name="T102" fmla="*/ 355 w 3577"/>
                <a:gd name="T103" fmla="*/ 1489 h 2072"/>
                <a:gd name="T104" fmla="*/ 157 w 3577"/>
                <a:gd name="T105" fmla="*/ 1676 h 2072"/>
                <a:gd name="T106" fmla="*/ 12 w 3577"/>
                <a:gd name="T107" fmla="*/ 1555 h 2072"/>
                <a:gd name="T108" fmla="*/ 26 w 3577"/>
                <a:gd name="T109" fmla="*/ 95 h 2072"/>
                <a:gd name="T110" fmla="*/ 191 w 3577"/>
                <a:gd name="T111" fmla="*/ 0 h 2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77" h="2072">
                  <a:moveTo>
                    <a:pt x="2863" y="1461"/>
                  </a:moveTo>
                  <a:lnTo>
                    <a:pt x="2822" y="1464"/>
                  </a:lnTo>
                  <a:lnTo>
                    <a:pt x="2785" y="1474"/>
                  </a:lnTo>
                  <a:lnTo>
                    <a:pt x="2749" y="1489"/>
                  </a:lnTo>
                  <a:lnTo>
                    <a:pt x="2716" y="1509"/>
                  </a:lnTo>
                  <a:lnTo>
                    <a:pt x="2688" y="1534"/>
                  </a:lnTo>
                  <a:lnTo>
                    <a:pt x="2663" y="1563"/>
                  </a:lnTo>
                  <a:lnTo>
                    <a:pt x="2643" y="1595"/>
                  </a:lnTo>
                  <a:lnTo>
                    <a:pt x="2628" y="1631"/>
                  </a:lnTo>
                  <a:lnTo>
                    <a:pt x="2618" y="1669"/>
                  </a:lnTo>
                  <a:lnTo>
                    <a:pt x="2615" y="1709"/>
                  </a:lnTo>
                  <a:lnTo>
                    <a:pt x="2618" y="1749"/>
                  </a:lnTo>
                  <a:lnTo>
                    <a:pt x="2628" y="1787"/>
                  </a:lnTo>
                  <a:lnTo>
                    <a:pt x="2643" y="1823"/>
                  </a:lnTo>
                  <a:lnTo>
                    <a:pt x="2663" y="1855"/>
                  </a:lnTo>
                  <a:lnTo>
                    <a:pt x="2688" y="1884"/>
                  </a:lnTo>
                  <a:lnTo>
                    <a:pt x="2716" y="1909"/>
                  </a:lnTo>
                  <a:lnTo>
                    <a:pt x="2749" y="1929"/>
                  </a:lnTo>
                  <a:lnTo>
                    <a:pt x="2785" y="1944"/>
                  </a:lnTo>
                  <a:lnTo>
                    <a:pt x="2822" y="1954"/>
                  </a:lnTo>
                  <a:lnTo>
                    <a:pt x="2863" y="1956"/>
                  </a:lnTo>
                  <a:lnTo>
                    <a:pt x="2903" y="1954"/>
                  </a:lnTo>
                  <a:lnTo>
                    <a:pt x="2941" y="1944"/>
                  </a:lnTo>
                  <a:lnTo>
                    <a:pt x="2976" y="1929"/>
                  </a:lnTo>
                  <a:lnTo>
                    <a:pt x="3009" y="1909"/>
                  </a:lnTo>
                  <a:lnTo>
                    <a:pt x="3038" y="1884"/>
                  </a:lnTo>
                  <a:lnTo>
                    <a:pt x="3062" y="1855"/>
                  </a:lnTo>
                  <a:lnTo>
                    <a:pt x="3083" y="1823"/>
                  </a:lnTo>
                  <a:lnTo>
                    <a:pt x="3098" y="1787"/>
                  </a:lnTo>
                  <a:lnTo>
                    <a:pt x="3107" y="1749"/>
                  </a:lnTo>
                  <a:lnTo>
                    <a:pt x="3110" y="1709"/>
                  </a:lnTo>
                  <a:lnTo>
                    <a:pt x="3107" y="1669"/>
                  </a:lnTo>
                  <a:lnTo>
                    <a:pt x="3098" y="1631"/>
                  </a:lnTo>
                  <a:lnTo>
                    <a:pt x="3083" y="1595"/>
                  </a:lnTo>
                  <a:lnTo>
                    <a:pt x="3062" y="1563"/>
                  </a:lnTo>
                  <a:lnTo>
                    <a:pt x="3038" y="1534"/>
                  </a:lnTo>
                  <a:lnTo>
                    <a:pt x="3009" y="1509"/>
                  </a:lnTo>
                  <a:lnTo>
                    <a:pt x="2976" y="1489"/>
                  </a:lnTo>
                  <a:lnTo>
                    <a:pt x="2941" y="1474"/>
                  </a:lnTo>
                  <a:lnTo>
                    <a:pt x="2903" y="1464"/>
                  </a:lnTo>
                  <a:lnTo>
                    <a:pt x="2863" y="1461"/>
                  </a:lnTo>
                  <a:close/>
                  <a:moveTo>
                    <a:pt x="686" y="1461"/>
                  </a:moveTo>
                  <a:lnTo>
                    <a:pt x="646" y="1464"/>
                  </a:lnTo>
                  <a:lnTo>
                    <a:pt x="608" y="1474"/>
                  </a:lnTo>
                  <a:lnTo>
                    <a:pt x="573" y="1489"/>
                  </a:lnTo>
                  <a:lnTo>
                    <a:pt x="540" y="1509"/>
                  </a:lnTo>
                  <a:lnTo>
                    <a:pt x="512" y="1534"/>
                  </a:lnTo>
                  <a:lnTo>
                    <a:pt x="487" y="1563"/>
                  </a:lnTo>
                  <a:lnTo>
                    <a:pt x="466" y="1595"/>
                  </a:lnTo>
                  <a:lnTo>
                    <a:pt x="452" y="1631"/>
                  </a:lnTo>
                  <a:lnTo>
                    <a:pt x="442" y="1669"/>
                  </a:lnTo>
                  <a:lnTo>
                    <a:pt x="439" y="1709"/>
                  </a:lnTo>
                  <a:lnTo>
                    <a:pt x="442" y="1749"/>
                  </a:lnTo>
                  <a:lnTo>
                    <a:pt x="452" y="1787"/>
                  </a:lnTo>
                  <a:lnTo>
                    <a:pt x="466" y="1823"/>
                  </a:lnTo>
                  <a:lnTo>
                    <a:pt x="487" y="1855"/>
                  </a:lnTo>
                  <a:lnTo>
                    <a:pt x="512" y="1884"/>
                  </a:lnTo>
                  <a:lnTo>
                    <a:pt x="540" y="1909"/>
                  </a:lnTo>
                  <a:lnTo>
                    <a:pt x="573" y="1929"/>
                  </a:lnTo>
                  <a:lnTo>
                    <a:pt x="608" y="1944"/>
                  </a:lnTo>
                  <a:lnTo>
                    <a:pt x="646" y="1954"/>
                  </a:lnTo>
                  <a:lnTo>
                    <a:pt x="686" y="1956"/>
                  </a:lnTo>
                  <a:lnTo>
                    <a:pt x="727" y="1954"/>
                  </a:lnTo>
                  <a:lnTo>
                    <a:pt x="765" y="1944"/>
                  </a:lnTo>
                  <a:lnTo>
                    <a:pt x="800" y="1929"/>
                  </a:lnTo>
                  <a:lnTo>
                    <a:pt x="832" y="1909"/>
                  </a:lnTo>
                  <a:lnTo>
                    <a:pt x="862" y="1884"/>
                  </a:lnTo>
                  <a:lnTo>
                    <a:pt x="886" y="1855"/>
                  </a:lnTo>
                  <a:lnTo>
                    <a:pt x="907" y="1823"/>
                  </a:lnTo>
                  <a:lnTo>
                    <a:pt x="922" y="1787"/>
                  </a:lnTo>
                  <a:lnTo>
                    <a:pt x="931" y="1749"/>
                  </a:lnTo>
                  <a:lnTo>
                    <a:pt x="934" y="1709"/>
                  </a:lnTo>
                  <a:lnTo>
                    <a:pt x="931" y="1669"/>
                  </a:lnTo>
                  <a:lnTo>
                    <a:pt x="922" y="1631"/>
                  </a:lnTo>
                  <a:lnTo>
                    <a:pt x="907" y="1595"/>
                  </a:lnTo>
                  <a:lnTo>
                    <a:pt x="886" y="1563"/>
                  </a:lnTo>
                  <a:lnTo>
                    <a:pt x="862" y="1534"/>
                  </a:lnTo>
                  <a:lnTo>
                    <a:pt x="832" y="1509"/>
                  </a:lnTo>
                  <a:lnTo>
                    <a:pt x="800" y="1489"/>
                  </a:lnTo>
                  <a:lnTo>
                    <a:pt x="765" y="1474"/>
                  </a:lnTo>
                  <a:lnTo>
                    <a:pt x="727" y="1464"/>
                  </a:lnTo>
                  <a:lnTo>
                    <a:pt x="686" y="1461"/>
                  </a:lnTo>
                  <a:close/>
                  <a:moveTo>
                    <a:pt x="2863" y="1347"/>
                  </a:moveTo>
                  <a:lnTo>
                    <a:pt x="2912" y="1350"/>
                  </a:lnTo>
                  <a:lnTo>
                    <a:pt x="2960" y="1360"/>
                  </a:lnTo>
                  <a:lnTo>
                    <a:pt x="3004" y="1375"/>
                  </a:lnTo>
                  <a:lnTo>
                    <a:pt x="3046" y="1396"/>
                  </a:lnTo>
                  <a:lnTo>
                    <a:pt x="3084" y="1422"/>
                  </a:lnTo>
                  <a:lnTo>
                    <a:pt x="3119" y="1452"/>
                  </a:lnTo>
                  <a:lnTo>
                    <a:pt x="3149" y="1487"/>
                  </a:lnTo>
                  <a:lnTo>
                    <a:pt x="3176" y="1527"/>
                  </a:lnTo>
                  <a:lnTo>
                    <a:pt x="3197" y="1568"/>
                  </a:lnTo>
                  <a:lnTo>
                    <a:pt x="3213" y="1613"/>
                  </a:lnTo>
                  <a:lnTo>
                    <a:pt x="3223" y="1660"/>
                  </a:lnTo>
                  <a:lnTo>
                    <a:pt x="3226" y="1709"/>
                  </a:lnTo>
                  <a:lnTo>
                    <a:pt x="3223" y="1759"/>
                  </a:lnTo>
                  <a:lnTo>
                    <a:pt x="3213" y="1806"/>
                  </a:lnTo>
                  <a:lnTo>
                    <a:pt x="3197" y="1851"/>
                  </a:lnTo>
                  <a:lnTo>
                    <a:pt x="3176" y="1892"/>
                  </a:lnTo>
                  <a:lnTo>
                    <a:pt x="3149" y="1931"/>
                  </a:lnTo>
                  <a:lnTo>
                    <a:pt x="3119" y="1965"/>
                  </a:lnTo>
                  <a:lnTo>
                    <a:pt x="3084" y="1997"/>
                  </a:lnTo>
                  <a:lnTo>
                    <a:pt x="3046" y="2023"/>
                  </a:lnTo>
                  <a:lnTo>
                    <a:pt x="3004" y="2044"/>
                  </a:lnTo>
                  <a:lnTo>
                    <a:pt x="2960" y="2059"/>
                  </a:lnTo>
                  <a:lnTo>
                    <a:pt x="2912" y="2069"/>
                  </a:lnTo>
                  <a:lnTo>
                    <a:pt x="2863" y="2072"/>
                  </a:lnTo>
                  <a:lnTo>
                    <a:pt x="2813" y="2069"/>
                  </a:lnTo>
                  <a:lnTo>
                    <a:pt x="2767" y="2059"/>
                  </a:lnTo>
                  <a:lnTo>
                    <a:pt x="2722" y="2044"/>
                  </a:lnTo>
                  <a:lnTo>
                    <a:pt x="2679" y="2023"/>
                  </a:lnTo>
                  <a:lnTo>
                    <a:pt x="2641" y="1997"/>
                  </a:lnTo>
                  <a:lnTo>
                    <a:pt x="2606" y="1965"/>
                  </a:lnTo>
                  <a:lnTo>
                    <a:pt x="2576" y="1931"/>
                  </a:lnTo>
                  <a:lnTo>
                    <a:pt x="2549" y="1892"/>
                  </a:lnTo>
                  <a:lnTo>
                    <a:pt x="2529" y="1851"/>
                  </a:lnTo>
                  <a:lnTo>
                    <a:pt x="2513" y="1806"/>
                  </a:lnTo>
                  <a:lnTo>
                    <a:pt x="2504" y="1759"/>
                  </a:lnTo>
                  <a:lnTo>
                    <a:pt x="2500" y="1709"/>
                  </a:lnTo>
                  <a:lnTo>
                    <a:pt x="2504" y="1660"/>
                  </a:lnTo>
                  <a:lnTo>
                    <a:pt x="2513" y="1613"/>
                  </a:lnTo>
                  <a:lnTo>
                    <a:pt x="2529" y="1568"/>
                  </a:lnTo>
                  <a:lnTo>
                    <a:pt x="2549" y="1527"/>
                  </a:lnTo>
                  <a:lnTo>
                    <a:pt x="2576" y="1487"/>
                  </a:lnTo>
                  <a:lnTo>
                    <a:pt x="2606" y="1452"/>
                  </a:lnTo>
                  <a:lnTo>
                    <a:pt x="2641" y="1422"/>
                  </a:lnTo>
                  <a:lnTo>
                    <a:pt x="2679" y="1396"/>
                  </a:lnTo>
                  <a:lnTo>
                    <a:pt x="2722" y="1375"/>
                  </a:lnTo>
                  <a:lnTo>
                    <a:pt x="2767" y="1360"/>
                  </a:lnTo>
                  <a:lnTo>
                    <a:pt x="2813" y="1350"/>
                  </a:lnTo>
                  <a:lnTo>
                    <a:pt x="2863" y="1347"/>
                  </a:lnTo>
                  <a:close/>
                  <a:moveTo>
                    <a:pt x="686" y="1347"/>
                  </a:moveTo>
                  <a:lnTo>
                    <a:pt x="735" y="1350"/>
                  </a:lnTo>
                  <a:lnTo>
                    <a:pt x="783" y="1360"/>
                  </a:lnTo>
                  <a:lnTo>
                    <a:pt x="828" y="1375"/>
                  </a:lnTo>
                  <a:lnTo>
                    <a:pt x="869" y="1396"/>
                  </a:lnTo>
                  <a:lnTo>
                    <a:pt x="908" y="1422"/>
                  </a:lnTo>
                  <a:lnTo>
                    <a:pt x="943" y="1452"/>
                  </a:lnTo>
                  <a:lnTo>
                    <a:pt x="973" y="1487"/>
                  </a:lnTo>
                  <a:lnTo>
                    <a:pt x="999" y="1527"/>
                  </a:lnTo>
                  <a:lnTo>
                    <a:pt x="1021" y="1568"/>
                  </a:lnTo>
                  <a:lnTo>
                    <a:pt x="1036" y="1613"/>
                  </a:lnTo>
                  <a:lnTo>
                    <a:pt x="1046" y="1660"/>
                  </a:lnTo>
                  <a:lnTo>
                    <a:pt x="1049" y="1709"/>
                  </a:lnTo>
                  <a:lnTo>
                    <a:pt x="1046" y="1759"/>
                  </a:lnTo>
                  <a:lnTo>
                    <a:pt x="1036" y="1806"/>
                  </a:lnTo>
                  <a:lnTo>
                    <a:pt x="1021" y="1851"/>
                  </a:lnTo>
                  <a:lnTo>
                    <a:pt x="999" y="1892"/>
                  </a:lnTo>
                  <a:lnTo>
                    <a:pt x="973" y="1931"/>
                  </a:lnTo>
                  <a:lnTo>
                    <a:pt x="943" y="1965"/>
                  </a:lnTo>
                  <a:lnTo>
                    <a:pt x="908" y="1997"/>
                  </a:lnTo>
                  <a:lnTo>
                    <a:pt x="869" y="2023"/>
                  </a:lnTo>
                  <a:lnTo>
                    <a:pt x="828" y="2044"/>
                  </a:lnTo>
                  <a:lnTo>
                    <a:pt x="783" y="2059"/>
                  </a:lnTo>
                  <a:lnTo>
                    <a:pt x="735" y="2069"/>
                  </a:lnTo>
                  <a:lnTo>
                    <a:pt x="686" y="2072"/>
                  </a:lnTo>
                  <a:lnTo>
                    <a:pt x="637" y="2069"/>
                  </a:lnTo>
                  <a:lnTo>
                    <a:pt x="590" y="2059"/>
                  </a:lnTo>
                  <a:lnTo>
                    <a:pt x="545" y="2044"/>
                  </a:lnTo>
                  <a:lnTo>
                    <a:pt x="503" y="2023"/>
                  </a:lnTo>
                  <a:lnTo>
                    <a:pt x="465" y="1997"/>
                  </a:lnTo>
                  <a:lnTo>
                    <a:pt x="430" y="1965"/>
                  </a:lnTo>
                  <a:lnTo>
                    <a:pt x="399" y="1931"/>
                  </a:lnTo>
                  <a:lnTo>
                    <a:pt x="373" y="1892"/>
                  </a:lnTo>
                  <a:lnTo>
                    <a:pt x="352" y="1851"/>
                  </a:lnTo>
                  <a:lnTo>
                    <a:pt x="336" y="1806"/>
                  </a:lnTo>
                  <a:lnTo>
                    <a:pt x="327" y="1759"/>
                  </a:lnTo>
                  <a:lnTo>
                    <a:pt x="323" y="1709"/>
                  </a:lnTo>
                  <a:lnTo>
                    <a:pt x="327" y="1660"/>
                  </a:lnTo>
                  <a:lnTo>
                    <a:pt x="336" y="1613"/>
                  </a:lnTo>
                  <a:lnTo>
                    <a:pt x="352" y="1568"/>
                  </a:lnTo>
                  <a:lnTo>
                    <a:pt x="373" y="1527"/>
                  </a:lnTo>
                  <a:lnTo>
                    <a:pt x="399" y="1487"/>
                  </a:lnTo>
                  <a:lnTo>
                    <a:pt x="430" y="1452"/>
                  </a:lnTo>
                  <a:lnTo>
                    <a:pt x="465" y="1422"/>
                  </a:lnTo>
                  <a:lnTo>
                    <a:pt x="503" y="1396"/>
                  </a:lnTo>
                  <a:lnTo>
                    <a:pt x="545" y="1375"/>
                  </a:lnTo>
                  <a:lnTo>
                    <a:pt x="590" y="1360"/>
                  </a:lnTo>
                  <a:lnTo>
                    <a:pt x="637" y="1350"/>
                  </a:lnTo>
                  <a:lnTo>
                    <a:pt x="686" y="1347"/>
                  </a:lnTo>
                  <a:close/>
                  <a:moveTo>
                    <a:pt x="3283" y="1089"/>
                  </a:moveTo>
                  <a:lnTo>
                    <a:pt x="3262" y="1092"/>
                  </a:lnTo>
                  <a:lnTo>
                    <a:pt x="3244" y="1101"/>
                  </a:lnTo>
                  <a:lnTo>
                    <a:pt x="3231" y="1115"/>
                  </a:lnTo>
                  <a:lnTo>
                    <a:pt x="3221" y="1133"/>
                  </a:lnTo>
                  <a:lnTo>
                    <a:pt x="3218" y="1153"/>
                  </a:lnTo>
                  <a:lnTo>
                    <a:pt x="3218" y="1296"/>
                  </a:lnTo>
                  <a:lnTo>
                    <a:pt x="3221" y="1317"/>
                  </a:lnTo>
                  <a:lnTo>
                    <a:pt x="3231" y="1335"/>
                  </a:lnTo>
                  <a:lnTo>
                    <a:pt x="3244" y="1349"/>
                  </a:lnTo>
                  <a:lnTo>
                    <a:pt x="3262" y="1357"/>
                  </a:lnTo>
                  <a:lnTo>
                    <a:pt x="3283" y="1361"/>
                  </a:lnTo>
                  <a:lnTo>
                    <a:pt x="3479" y="1361"/>
                  </a:lnTo>
                  <a:lnTo>
                    <a:pt x="3500" y="1357"/>
                  </a:lnTo>
                  <a:lnTo>
                    <a:pt x="3517" y="1349"/>
                  </a:lnTo>
                  <a:lnTo>
                    <a:pt x="3530" y="1335"/>
                  </a:lnTo>
                  <a:lnTo>
                    <a:pt x="3540" y="1317"/>
                  </a:lnTo>
                  <a:lnTo>
                    <a:pt x="3543" y="1296"/>
                  </a:lnTo>
                  <a:lnTo>
                    <a:pt x="3543" y="1153"/>
                  </a:lnTo>
                  <a:lnTo>
                    <a:pt x="3540" y="1133"/>
                  </a:lnTo>
                  <a:lnTo>
                    <a:pt x="3530" y="1115"/>
                  </a:lnTo>
                  <a:lnTo>
                    <a:pt x="3517" y="1101"/>
                  </a:lnTo>
                  <a:lnTo>
                    <a:pt x="3500" y="1092"/>
                  </a:lnTo>
                  <a:lnTo>
                    <a:pt x="3479" y="1089"/>
                  </a:lnTo>
                  <a:lnTo>
                    <a:pt x="3283" y="1089"/>
                  </a:lnTo>
                  <a:close/>
                  <a:moveTo>
                    <a:pt x="1799" y="198"/>
                  </a:moveTo>
                  <a:lnTo>
                    <a:pt x="1787" y="201"/>
                  </a:lnTo>
                  <a:lnTo>
                    <a:pt x="1778" y="209"/>
                  </a:lnTo>
                  <a:lnTo>
                    <a:pt x="1775" y="221"/>
                  </a:lnTo>
                  <a:lnTo>
                    <a:pt x="1775" y="683"/>
                  </a:lnTo>
                  <a:lnTo>
                    <a:pt x="1778" y="695"/>
                  </a:lnTo>
                  <a:lnTo>
                    <a:pt x="1787" y="703"/>
                  </a:lnTo>
                  <a:lnTo>
                    <a:pt x="1799" y="706"/>
                  </a:lnTo>
                  <a:lnTo>
                    <a:pt x="2669" y="706"/>
                  </a:lnTo>
                  <a:lnTo>
                    <a:pt x="2680" y="703"/>
                  </a:lnTo>
                  <a:lnTo>
                    <a:pt x="2689" y="695"/>
                  </a:lnTo>
                  <a:lnTo>
                    <a:pt x="2692" y="683"/>
                  </a:lnTo>
                  <a:lnTo>
                    <a:pt x="2463" y="221"/>
                  </a:lnTo>
                  <a:lnTo>
                    <a:pt x="2457" y="211"/>
                  </a:lnTo>
                  <a:lnTo>
                    <a:pt x="2449" y="204"/>
                  </a:lnTo>
                  <a:lnTo>
                    <a:pt x="2439" y="200"/>
                  </a:lnTo>
                  <a:lnTo>
                    <a:pt x="2431" y="198"/>
                  </a:lnTo>
                  <a:lnTo>
                    <a:pt x="2422" y="198"/>
                  </a:lnTo>
                  <a:lnTo>
                    <a:pt x="1799" y="198"/>
                  </a:lnTo>
                  <a:close/>
                  <a:moveTo>
                    <a:pt x="191" y="0"/>
                  </a:moveTo>
                  <a:lnTo>
                    <a:pt x="2215" y="0"/>
                  </a:lnTo>
                  <a:lnTo>
                    <a:pt x="2270" y="1"/>
                  </a:lnTo>
                  <a:lnTo>
                    <a:pt x="2319" y="4"/>
                  </a:lnTo>
                  <a:lnTo>
                    <a:pt x="2364" y="8"/>
                  </a:lnTo>
                  <a:lnTo>
                    <a:pt x="2403" y="13"/>
                  </a:lnTo>
                  <a:lnTo>
                    <a:pt x="2438" y="21"/>
                  </a:lnTo>
                  <a:lnTo>
                    <a:pt x="2469" y="30"/>
                  </a:lnTo>
                  <a:lnTo>
                    <a:pt x="2497" y="42"/>
                  </a:lnTo>
                  <a:lnTo>
                    <a:pt x="2521" y="56"/>
                  </a:lnTo>
                  <a:lnTo>
                    <a:pt x="2544" y="72"/>
                  </a:lnTo>
                  <a:lnTo>
                    <a:pt x="2565" y="91"/>
                  </a:lnTo>
                  <a:lnTo>
                    <a:pt x="2584" y="112"/>
                  </a:lnTo>
                  <a:lnTo>
                    <a:pt x="2604" y="136"/>
                  </a:lnTo>
                  <a:lnTo>
                    <a:pt x="2623" y="162"/>
                  </a:lnTo>
                  <a:lnTo>
                    <a:pt x="2642" y="191"/>
                  </a:lnTo>
                  <a:lnTo>
                    <a:pt x="2915" y="655"/>
                  </a:lnTo>
                  <a:lnTo>
                    <a:pt x="3386" y="817"/>
                  </a:lnTo>
                  <a:lnTo>
                    <a:pt x="3419" y="828"/>
                  </a:lnTo>
                  <a:lnTo>
                    <a:pt x="3448" y="841"/>
                  </a:lnTo>
                  <a:lnTo>
                    <a:pt x="3477" y="855"/>
                  </a:lnTo>
                  <a:lnTo>
                    <a:pt x="3502" y="870"/>
                  </a:lnTo>
                  <a:lnTo>
                    <a:pt x="3524" y="887"/>
                  </a:lnTo>
                  <a:lnTo>
                    <a:pt x="3542" y="906"/>
                  </a:lnTo>
                  <a:lnTo>
                    <a:pt x="3556" y="928"/>
                  </a:lnTo>
                  <a:lnTo>
                    <a:pt x="3567" y="952"/>
                  </a:lnTo>
                  <a:lnTo>
                    <a:pt x="3574" y="978"/>
                  </a:lnTo>
                  <a:lnTo>
                    <a:pt x="3577" y="1008"/>
                  </a:lnTo>
                  <a:lnTo>
                    <a:pt x="3577" y="1488"/>
                  </a:lnTo>
                  <a:lnTo>
                    <a:pt x="3574" y="1523"/>
                  </a:lnTo>
                  <a:lnTo>
                    <a:pt x="3565" y="1555"/>
                  </a:lnTo>
                  <a:lnTo>
                    <a:pt x="3551" y="1585"/>
                  </a:lnTo>
                  <a:lnTo>
                    <a:pt x="3531" y="1612"/>
                  </a:lnTo>
                  <a:lnTo>
                    <a:pt x="3508" y="1635"/>
                  </a:lnTo>
                  <a:lnTo>
                    <a:pt x="3482" y="1653"/>
                  </a:lnTo>
                  <a:lnTo>
                    <a:pt x="3453" y="1667"/>
                  </a:lnTo>
                  <a:lnTo>
                    <a:pt x="3420" y="1676"/>
                  </a:lnTo>
                  <a:lnTo>
                    <a:pt x="3386" y="1679"/>
                  </a:lnTo>
                  <a:lnTo>
                    <a:pt x="3261" y="1679"/>
                  </a:lnTo>
                  <a:lnTo>
                    <a:pt x="3256" y="1640"/>
                  </a:lnTo>
                  <a:lnTo>
                    <a:pt x="3248" y="1602"/>
                  </a:lnTo>
                  <a:lnTo>
                    <a:pt x="3236" y="1564"/>
                  </a:lnTo>
                  <a:lnTo>
                    <a:pt x="3219" y="1525"/>
                  </a:lnTo>
                  <a:lnTo>
                    <a:pt x="3200" y="1489"/>
                  </a:lnTo>
                  <a:lnTo>
                    <a:pt x="3172" y="1451"/>
                  </a:lnTo>
                  <a:lnTo>
                    <a:pt x="3141" y="1417"/>
                  </a:lnTo>
                  <a:lnTo>
                    <a:pt x="3107" y="1388"/>
                  </a:lnTo>
                  <a:lnTo>
                    <a:pt x="3071" y="1363"/>
                  </a:lnTo>
                  <a:lnTo>
                    <a:pt x="3032" y="1342"/>
                  </a:lnTo>
                  <a:lnTo>
                    <a:pt x="2991" y="1326"/>
                  </a:lnTo>
                  <a:lnTo>
                    <a:pt x="2949" y="1314"/>
                  </a:lnTo>
                  <a:lnTo>
                    <a:pt x="2905" y="1306"/>
                  </a:lnTo>
                  <a:lnTo>
                    <a:pt x="2861" y="1304"/>
                  </a:lnTo>
                  <a:lnTo>
                    <a:pt x="2818" y="1306"/>
                  </a:lnTo>
                  <a:lnTo>
                    <a:pt x="2773" y="1314"/>
                  </a:lnTo>
                  <a:lnTo>
                    <a:pt x="2731" y="1326"/>
                  </a:lnTo>
                  <a:lnTo>
                    <a:pt x="2688" y="1343"/>
                  </a:lnTo>
                  <a:lnTo>
                    <a:pt x="2648" y="1366"/>
                  </a:lnTo>
                  <a:lnTo>
                    <a:pt x="2612" y="1391"/>
                  </a:lnTo>
                  <a:lnTo>
                    <a:pt x="2579" y="1420"/>
                  </a:lnTo>
                  <a:lnTo>
                    <a:pt x="2551" y="1451"/>
                  </a:lnTo>
                  <a:lnTo>
                    <a:pt x="2527" y="1485"/>
                  </a:lnTo>
                  <a:lnTo>
                    <a:pt x="2506" y="1521"/>
                  </a:lnTo>
                  <a:lnTo>
                    <a:pt x="2488" y="1559"/>
                  </a:lnTo>
                  <a:lnTo>
                    <a:pt x="2475" y="1599"/>
                  </a:lnTo>
                  <a:lnTo>
                    <a:pt x="2467" y="1639"/>
                  </a:lnTo>
                  <a:lnTo>
                    <a:pt x="2462" y="1679"/>
                  </a:lnTo>
                  <a:lnTo>
                    <a:pt x="1090" y="1679"/>
                  </a:lnTo>
                  <a:lnTo>
                    <a:pt x="1083" y="1628"/>
                  </a:lnTo>
                  <a:lnTo>
                    <a:pt x="1071" y="1579"/>
                  </a:lnTo>
                  <a:lnTo>
                    <a:pt x="1053" y="1532"/>
                  </a:lnTo>
                  <a:lnTo>
                    <a:pt x="1029" y="1489"/>
                  </a:lnTo>
                  <a:lnTo>
                    <a:pt x="999" y="1449"/>
                  </a:lnTo>
                  <a:lnTo>
                    <a:pt x="965" y="1413"/>
                  </a:lnTo>
                  <a:lnTo>
                    <a:pt x="928" y="1381"/>
                  </a:lnTo>
                  <a:lnTo>
                    <a:pt x="886" y="1354"/>
                  </a:lnTo>
                  <a:lnTo>
                    <a:pt x="841" y="1332"/>
                  </a:lnTo>
                  <a:lnTo>
                    <a:pt x="794" y="1317"/>
                  </a:lnTo>
                  <a:lnTo>
                    <a:pt x="743" y="1307"/>
                  </a:lnTo>
                  <a:lnTo>
                    <a:pt x="692" y="1304"/>
                  </a:lnTo>
                  <a:lnTo>
                    <a:pt x="639" y="1307"/>
                  </a:lnTo>
                  <a:lnTo>
                    <a:pt x="589" y="1317"/>
                  </a:lnTo>
                  <a:lnTo>
                    <a:pt x="541" y="1332"/>
                  </a:lnTo>
                  <a:lnTo>
                    <a:pt x="496" y="1354"/>
                  </a:lnTo>
                  <a:lnTo>
                    <a:pt x="455" y="1381"/>
                  </a:lnTo>
                  <a:lnTo>
                    <a:pt x="417" y="1413"/>
                  </a:lnTo>
                  <a:lnTo>
                    <a:pt x="383" y="1449"/>
                  </a:lnTo>
                  <a:lnTo>
                    <a:pt x="355" y="1489"/>
                  </a:lnTo>
                  <a:lnTo>
                    <a:pt x="331" y="1532"/>
                  </a:lnTo>
                  <a:lnTo>
                    <a:pt x="311" y="1579"/>
                  </a:lnTo>
                  <a:lnTo>
                    <a:pt x="299" y="1628"/>
                  </a:lnTo>
                  <a:lnTo>
                    <a:pt x="292" y="1679"/>
                  </a:lnTo>
                  <a:lnTo>
                    <a:pt x="191" y="1679"/>
                  </a:lnTo>
                  <a:lnTo>
                    <a:pt x="157" y="1676"/>
                  </a:lnTo>
                  <a:lnTo>
                    <a:pt x="124" y="1667"/>
                  </a:lnTo>
                  <a:lnTo>
                    <a:pt x="95" y="1653"/>
                  </a:lnTo>
                  <a:lnTo>
                    <a:pt x="68" y="1635"/>
                  </a:lnTo>
                  <a:lnTo>
                    <a:pt x="45" y="1612"/>
                  </a:lnTo>
                  <a:lnTo>
                    <a:pt x="26" y="1585"/>
                  </a:lnTo>
                  <a:lnTo>
                    <a:pt x="12" y="1555"/>
                  </a:lnTo>
                  <a:lnTo>
                    <a:pt x="3" y="1523"/>
                  </a:lnTo>
                  <a:lnTo>
                    <a:pt x="0" y="1488"/>
                  </a:lnTo>
                  <a:lnTo>
                    <a:pt x="0" y="191"/>
                  </a:lnTo>
                  <a:lnTo>
                    <a:pt x="3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5" y="68"/>
                  </a:lnTo>
                  <a:lnTo>
                    <a:pt x="68" y="45"/>
                  </a:lnTo>
                  <a:lnTo>
                    <a:pt x="95" y="27"/>
                  </a:lnTo>
                  <a:lnTo>
                    <a:pt x="124" y="12"/>
                  </a:lnTo>
                  <a:lnTo>
                    <a:pt x="157" y="4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126738" y="2010685"/>
              <a:ext cx="1361935" cy="184666"/>
            </a:xfrm>
            <a:prstGeom prst="rect">
              <a:avLst/>
            </a:prstGeom>
          </p:spPr>
          <p:txBody>
            <a:bodyPr vert="horz" wrap="square" lIns="19050" tIns="0" rIns="1905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200" dirty="0"/>
                <a:t>Vans &amp; minibuses</a:t>
              </a: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7307302" y="2599260"/>
            <a:ext cx="1246148" cy="184666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Coaches &amp; buses</a:t>
            </a:r>
          </a:p>
        </p:txBody>
      </p:sp>
      <p:grpSp>
        <p:nvGrpSpPr>
          <p:cNvPr id="470" name="Group 469"/>
          <p:cNvGrpSpPr/>
          <p:nvPr/>
        </p:nvGrpSpPr>
        <p:grpSpPr>
          <a:xfrm>
            <a:off x="9740528" y="2134645"/>
            <a:ext cx="577081" cy="412035"/>
            <a:chOff x="9740528" y="2132447"/>
            <a:chExt cx="577081" cy="412035"/>
          </a:xfrm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3CECA89E-F787-4DB9-8FF3-F7DFDFBA8A25}"/>
                </a:ext>
              </a:extLst>
            </p:cNvPr>
            <p:cNvGrpSpPr>
              <a:grpSpLocks/>
            </p:cNvGrpSpPr>
            <p:nvPr/>
          </p:nvGrpSpPr>
          <p:grpSpPr>
            <a:xfrm>
              <a:off x="9740528" y="2322726"/>
              <a:ext cx="355450" cy="221756"/>
              <a:chOff x="-5148263" y="1858963"/>
              <a:chExt cx="1257300" cy="873125"/>
            </a:xfrm>
            <a:solidFill>
              <a:schemeClr val="accent4"/>
            </a:solidFill>
          </p:grpSpPr>
          <p:sp>
            <p:nvSpPr>
              <p:cNvPr id="197" name="Freeform 14">
                <a:extLst>
                  <a:ext uri="{FF2B5EF4-FFF2-40B4-BE49-F238E27FC236}">
                    <a16:creationId xmlns:a16="http://schemas.microsoft.com/office/drawing/2014/main" id="{8EB7B8FC-CBC9-47C2-BD20-6121990F0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648201" y="2576513"/>
                <a:ext cx="155575" cy="155575"/>
              </a:xfrm>
              <a:custGeom>
                <a:avLst/>
                <a:gdLst>
                  <a:gd name="T0" fmla="*/ 246 w 493"/>
                  <a:gd name="T1" fmla="*/ 0 h 492"/>
                  <a:gd name="T2" fmla="*/ 287 w 493"/>
                  <a:gd name="T3" fmla="*/ 2 h 492"/>
                  <a:gd name="T4" fmla="*/ 324 w 493"/>
                  <a:gd name="T5" fmla="*/ 12 h 492"/>
                  <a:gd name="T6" fmla="*/ 360 w 493"/>
                  <a:gd name="T7" fmla="*/ 26 h 492"/>
                  <a:gd name="T8" fmla="*/ 393 w 493"/>
                  <a:gd name="T9" fmla="*/ 46 h 492"/>
                  <a:gd name="T10" fmla="*/ 421 w 493"/>
                  <a:gd name="T11" fmla="*/ 72 h 492"/>
                  <a:gd name="T12" fmla="*/ 445 w 493"/>
                  <a:gd name="T13" fmla="*/ 100 h 492"/>
                  <a:gd name="T14" fmla="*/ 466 w 493"/>
                  <a:gd name="T15" fmla="*/ 133 h 492"/>
                  <a:gd name="T16" fmla="*/ 480 w 493"/>
                  <a:gd name="T17" fmla="*/ 167 h 492"/>
                  <a:gd name="T18" fmla="*/ 490 w 493"/>
                  <a:gd name="T19" fmla="*/ 206 h 492"/>
                  <a:gd name="T20" fmla="*/ 493 w 493"/>
                  <a:gd name="T21" fmla="*/ 245 h 492"/>
                  <a:gd name="T22" fmla="*/ 490 w 493"/>
                  <a:gd name="T23" fmla="*/ 286 h 492"/>
                  <a:gd name="T24" fmla="*/ 480 w 493"/>
                  <a:gd name="T25" fmla="*/ 323 h 492"/>
                  <a:gd name="T26" fmla="*/ 466 w 493"/>
                  <a:gd name="T27" fmla="*/ 359 h 492"/>
                  <a:gd name="T28" fmla="*/ 445 w 493"/>
                  <a:gd name="T29" fmla="*/ 392 h 492"/>
                  <a:gd name="T30" fmla="*/ 421 w 493"/>
                  <a:gd name="T31" fmla="*/ 420 h 492"/>
                  <a:gd name="T32" fmla="*/ 393 w 493"/>
                  <a:gd name="T33" fmla="*/ 444 h 492"/>
                  <a:gd name="T34" fmla="*/ 360 w 493"/>
                  <a:gd name="T35" fmla="*/ 465 h 492"/>
                  <a:gd name="T36" fmla="*/ 324 w 493"/>
                  <a:gd name="T37" fmla="*/ 479 h 492"/>
                  <a:gd name="T38" fmla="*/ 287 w 493"/>
                  <a:gd name="T39" fmla="*/ 489 h 492"/>
                  <a:gd name="T40" fmla="*/ 246 w 493"/>
                  <a:gd name="T41" fmla="*/ 492 h 492"/>
                  <a:gd name="T42" fmla="*/ 207 w 493"/>
                  <a:gd name="T43" fmla="*/ 489 h 492"/>
                  <a:gd name="T44" fmla="*/ 168 w 493"/>
                  <a:gd name="T45" fmla="*/ 479 h 492"/>
                  <a:gd name="T46" fmla="*/ 133 w 493"/>
                  <a:gd name="T47" fmla="*/ 465 h 492"/>
                  <a:gd name="T48" fmla="*/ 101 w 493"/>
                  <a:gd name="T49" fmla="*/ 444 h 492"/>
                  <a:gd name="T50" fmla="*/ 72 w 493"/>
                  <a:gd name="T51" fmla="*/ 420 h 492"/>
                  <a:gd name="T52" fmla="*/ 47 w 493"/>
                  <a:gd name="T53" fmla="*/ 392 h 492"/>
                  <a:gd name="T54" fmla="*/ 27 w 493"/>
                  <a:gd name="T55" fmla="*/ 359 h 492"/>
                  <a:gd name="T56" fmla="*/ 12 w 493"/>
                  <a:gd name="T57" fmla="*/ 323 h 492"/>
                  <a:gd name="T58" fmla="*/ 3 w 493"/>
                  <a:gd name="T59" fmla="*/ 286 h 492"/>
                  <a:gd name="T60" fmla="*/ 0 w 493"/>
                  <a:gd name="T61" fmla="*/ 245 h 492"/>
                  <a:gd name="T62" fmla="*/ 3 w 493"/>
                  <a:gd name="T63" fmla="*/ 206 h 492"/>
                  <a:gd name="T64" fmla="*/ 12 w 493"/>
                  <a:gd name="T65" fmla="*/ 167 h 492"/>
                  <a:gd name="T66" fmla="*/ 27 w 493"/>
                  <a:gd name="T67" fmla="*/ 133 h 492"/>
                  <a:gd name="T68" fmla="*/ 47 w 493"/>
                  <a:gd name="T69" fmla="*/ 100 h 492"/>
                  <a:gd name="T70" fmla="*/ 72 w 493"/>
                  <a:gd name="T71" fmla="*/ 72 h 492"/>
                  <a:gd name="T72" fmla="*/ 101 w 493"/>
                  <a:gd name="T73" fmla="*/ 46 h 492"/>
                  <a:gd name="T74" fmla="*/ 133 w 493"/>
                  <a:gd name="T75" fmla="*/ 26 h 492"/>
                  <a:gd name="T76" fmla="*/ 168 w 493"/>
                  <a:gd name="T77" fmla="*/ 12 h 492"/>
                  <a:gd name="T78" fmla="*/ 207 w 493"/>
                  <a:gd name="T79" fmla="*/ 2 h 492"/>
                  <a:gd name="T80" fmla="*/ 246 w 493"/>
                  <a:gd name="T81" fmla="*/ 0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93" h="492">
                    <a:moveTo>
                      <a:pt x="246" y="0"/>
                    </a:moveTo>
                    <a:lnTo>
                      <a:pt x="287" y="2"/>
                    </a:lnTo>
                    <a:lnTo>
                      <a:pt x="324" y="12"/>
                    </a:lnTo>
                    <a:lnTo>
                      <a:pt x="360" y="26"/>
                    </a:lnTo>
                    <a:lnTo>
                      <a:pt x="393" y="46"/>
                    </a:lnTo>
                    <a:lnTo>
                      <a:pt x="421" y="72"/>
                    </a:lnTo>
                    <a:lnTo>
                      <a:pt x="445" y="100"/>
                    </a:lnTo>
                    <a:lnTo>
                      <a:pt x="466" y="133"/>
                    </a:lnTo>
                    <a:lnTo>
                      <a:pt x="480" y="167"/>
                    </a:lnTo>
                    <a:lnTo>
                      <a:pt x="490" y="206"/>
                    </a:lnTo>
                    <a:lnTo>
                      <a:pt x="493" y="245"/>
                    </a:lnTo>
                    <a:lnTo>
                      <a:pt x="490" y="286"/>
                    </a:lnTo>
                    <a:lnTo>
                      <a:pt x="480" y="323"/>
                    </a:lnTo>
                    <a:lnTo>
                      <a:pt x="466" y="359"/>
                    </a:lnTo>
                    <a:lnTo>
                      <a:pt x="445" y="392"/>
                    </a:lnTo>
                    <a:lnTo>
                      <a:pt x="421" y="420"/>
                    </a:lnTo>
                    <a:lnTo>
                      <a:pt x="393" y="444"/>
                    </a:lnTo>
                    <a:lnTo>
                      <a:pt x="360" y="465"/>
                    </a:lnTo>
                    <a:lnTo>
                      <a:pt x="324" y="479"/>
                    </a:lnTo>
                    <a:lnTo>
                      <a:pt x="287" y="489"/>
                    </a:lnTo>
                    <a:lnTo>
                      <a:pt x="246" y="492"/>
                    </a:lnTo>
                    <a:lnTo>
                      <a:pt x="207" y="489"/>
                    </a:lnTo>
                    <a:lnTo>
                      <a:pt x="168" y="479"/>
                    </a:lnTo>
                    <a:lnTo>
                      <a:pt x="133" y="465"/>
                    </a:lnTo>
                    <a:lnTo>
                      <a:pt x="101" y="444"/>
                    </a:lnTo>
                    <a:lnTo>
                      <a:pt x="72" y="420"/>
                    </a:lnTo>
                    <a:lnTo>
                      <a:pt x="47" y="392"/>
                    </a:lnTo>
                    <a:lnTo>
                      <a:pt x="27" y="359"/>
                    </a:lnTo>
                    <a:lnTo>
                      <a:pt x="12" y="323"/>
                    </a:lnTo>
                    <a:lnTo>
                      <a:pt x="3" y="286"/>
                    </a:lnTo>
                    <a:lnTo>
                      <a:pt x="0" y="245"/>
                    </a:lnTo>
                    <a:lnTo>
                      <a:pt x="3" y="206"/>
                    </a:lnTo>
                    <a:lnTo>
                      <a:pt x="12" y="167"/>
                    </a:lnTo>
                    <a:lnTo>
                      <a:pt x="27" y="133"/>
                    </a:lnTo>
                    <a:lnTo>
                      <a:pt x="47" y="100"/>
                    </a:lnTo>
                    <a:lnTo>
                      <a:pt x="72" y="72"/>
                    </a:lnTo>
                    <a:lnTo>
                      <a:pt x="101" y="46"/>
                    </a:lnTo>
                    <a:lnTo>
                      <a:pt x="133" y="26"/>
                    </a:lnTo>
                    <a:lnTo>
                      <a:pt x="168" y="12"/>
                    </a:lnTo>
                    <a:lnTo>
                      <a:pt x="207" y="2"/>
                    </a:lnTo>
                    <a:lnTo>
                      <a:pt x="24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/>
              </a:p>
            </p:txBody>
          </p:sp>
          <p:sp>
            <p:nvSpPr>
              <p:cNvPr id="198" name="Freeform 15">
                <a:extLst>
                  <a:ext uri="{FF2B5EF4-FFF2-40B4-BE49-F238E27FC236}">
                    <a16:creationId xmlns:a16="http://schemas.microsoft.com/office/drawing/2014/main" id="{3467097B-B83A-434E-BC2C-10CF73A49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18088" y="2576513"/>
                <a:ext cx="157163" cy="155575"/>
              </a:xfrm>
              <a:custGeom>
                <a:avLst/>
                <a:gdLst>
                  <a:gd name="T0" fmla="*/ 248 w 495"/>
                  <a:gd name="T1" fmla="*/ 0 h 492"/>
                  <a:gd name="T2" fmla="*/ 287 w 495"/>
                  <a:gd name="T3" fmla="*/ 2 h 492"/>
                  <a:gd name="T4" fmla="*/ 326 w 495"/>
                  <a:gd name="T5" fmla="*/ 12 h 492"/>
                  <a:gd name="T6" fmla="*/ 360 w 495"/>
                  <a:gd name="T7" fmla="*/ 26 h 492"/>
                  <a:gd name="T8" fmla="*/ 393 w 495"/>
                  <a:gd name="T9" fmla="*/ 46 h 492"/>
                  <a:gd name="T10" fmla="*/ 422 w 495"/>
                  <a:gd name="T11" fmla="*/ 72 h 492"/>
                  <a:gd name="T12" fmla="*/ 447 w 495"/>
                  <a:gd name="T13" fmla="*/ 100 h 492"/>
                  <a:gd name="T14" fmla="*/ 467 w 495"/>
                  <a:gd name="T15" fmla="*/ 133 h 492"/>
                  <a:gd name="T16" fmla="*/ 482 w 495"/>
                  <a:gd name="T17" fmla="*/ 167 h 492"/>
                  <a:gd name="T18" fmla="*/ 491 w 495"/>
                  <a:gd name="T19" fmla="*/ 206 h 492"/>
                  <a:gd name="T20" fmla="*/ 495 w 495"/>
                  <a:gd name="T21" fmla="*/ 245 h 492"/>
                  <a:gd name="T22" fmla="*/ 491 w 495"/>
                  <a:gd name="T23" fmla="*/ 286 h 492"/>
                  <a:gd name="T24" fmla="*/ 482 w 495"/>
                  <a:gd name="T25" fmla="*/ 323 h 492"/>
                  <a:gd name="T26" fmla="*/ 467 w 495"/>
                  <a:gd name="T27" fmla="*/ 359 h 492"/>
                  <a:gd name="T28" fmla="*/ 447 w 495"/>
                  <a:gd name="T29" fmla="*/ 392 h 492"/>
                  <a:gd name="T30" fmla="*/ 422 w 495"/>
                  <a:gd name="T31" fmla="*/ 420 h 492"/>
                  <a:gd name="T32" fmla="*/ 393 w 495"/>
                  <a:gd name="T33" fmla="*/ 444 h 492"/>
                  <a:gd name="T34" fmla="*/ 360 w 495"/>
                  <a:gd name="T35" fmla="*/ 465 h 492"/>
                  <a:gd name="T36" fmla="*/ 326 w 495"/>
                  <a:gd name="T37" fmla="*/ 479 h 492"/>
                  <a:gd name="T38" fmla="*/ 287 w 495"/>
                  <a:gd name="T39" fmla="*/ 489 h 492"/>
                  <a:gd name="T40" fmla="*/ 248 w 495"/>
                  <a:gd name="T41" fmla="*/ 492 h 492"/>
                  <a:gd name="T42" fmla="*/ 208 w 495"/>
                  <a:gd name="T43" fmla="*/ 489 h 492"/>
                  <a:gd name="T44" fmla="*/ 170 w 495"/>
                  <a:gd name="T45" fmla="*/ 479 h 492"/>
                  <a:gd name="T46" fmla="*/ 134 w 495"/>
                  <a:gd name="T47" fmla="*/ 465 h 492"/>
                  <a:gd name="T48" fmla="*/ 101 w 495"/>
                  <a:gd name="T49" fmla="*/ 444 h 492"/>
                  <a:gd name="T50" fmla="*/ 72 w 495"/>
                  <a:gd name="T51" fmla="*/ 420 h 492"/>
                  <a:gd name="T52" fmla="*/ 48 w 495"/>
                  <a:gd name="T53" fmla="*/ 392 h 492"/>
                  <a:gd name="T54" fmla="*/ 28 w 495"/>
                  <a:gd name="T55" fmla="*/ 359 h 492"/>
                  <a:gd name="T56" fmla="*/ 14 w 495"/>
                  <a:gd name="T57" fmla="*/ 323 h 492"/>
                  <a:gd name="T58" fmla="*/ 4 w 495"/>
                  <a:gd name="T59" fmla="*/ 286 h 492"/>
                  <a:gd name="T60" fmla="*/ 0 w 495"/>
                  <a:gd name="T61" fmla="*/ 245 h 492"/>
                  <a:gd name="T62" fmla="*/ 4 w 495"/>
                  <a:gd name="T63" fmla="*/ 206 h 492"/>
                  <a:gd name="T64" fmla="*/ 14 w 495"/>
                  <a:gd name="T65" fmla="*/ 167 h 492"/>
                  <a:gd name="T66" fmla="*/ 28 w 495"/>
                  <a:gd name="T67" fmla="*/ 133 h 492"/>
                  <a:gd name="T68" fmla="*/ 48 w 495"/>
                  <a:gd name="T69" fmla="*/ 100 h 492"/>
                  <a:gd name="T70" fmla="*/ 72 w 495"/>
                  <a:gd name="T71" fmla="*/ 72 h 492"/>
                  <a:gd name="T72" fmla="*/ 101 w 495"/>
                  <a:gd name="T73" fmla="*/ 46 h 492"/>
                  <a:gd name="T74" fmla="*/ 134 w 495"/>
                  <a:gd name="T75" fmla="*/ 26 h 492"/>
                  <a:gd name="T76" fmla="*/ 170 w 495"/>
                  <a:gd name="T77" fmla="*/ 12 h 492"/>
                  <a:gd name="T78" fmla="*/ 208 w 495"/>
                  <a:gd name="T79" fmla="*/ 2 h 492"/>
                  <a:gd name="T80" fmla="*/ 248 w 495"/>
                  <a:gd name="T81" fmla="*/ 0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95" h="492">
                    <a:moveTo>
                      <a:pt x="248" y="0"/>
                    </a:moveTo>
                    <a:lnTo>
                      <a:pt x="287" y="2"/>
                    </a:lnTo>
                    <a:lnTo>
                      <a:pt x="326" y="12"/>
                    </a:lnTo>
                    <a:lnTo>
                      <a:pt x="360" y="26"/>
                    </a:lnTo>
                    <a:lnTo>
                      <a:pt x="393" y="46"/>
                    </a:lnTo>
                    <a:lnTo>
                      <a:pt x="422" y="72"/>
                    </a:lnTo>
                    <a:lnTo>
                      <a:pt x="447" y="100"/>
                    </a:lnTo>
                    <a:lnTo>
                      <a:pt x="467" y="133"/>
                    </a:lnTo>
                    <a:lnTo>
                      <a:pt x="482" y="167"/>
                    </a:lnTo>
                    <a:lnTo>
                      <a:pt x="491" y="206"/>
                    </a:lnTo>
                    <a:lnTo>
                      <a:pt x="495" y="245"/>
                    </a:lnTo>
                    <a:lnTo>
                      <a:pt x="491" y="286"/>
                    </a:lnTo>
                    <a:lnTo>
                      <a:pt x="482" y="323"/>
                    </a:lnTo>
                    <a:lnTo>
                      <a:pt x="467" y="359"/>
                    </a:lnTo>
                    <a:lnTo>
                      <a:pt x="447" y="392"/>
                    </a:lnTo>
                    <a:lnTo>
                      <a:pt x="422" y="420"/>
                    </a:lnTo>
                    <a:lnTo>
                      <a:pt x="393" y="444"/>
                    </a:lnTo>
                    <a:lnTo>
                      <a:pt x="360" y="465"/>
                    </a:lnTo>
                    <a:lnTo>
                      <a:pt x="326" y="479"/>
                    </a:lnTo>
                    <a:lnTo>
                      <a:pt x="287" y="489"/>
                    </a:lnTo>
                    <a:lnTo>
                      <a:pt x="248" y="492"/>
                    </a:lnTo>
                    <a:lnTo>
                      <a:pt x="208" y="489"/>
                    </a:lnTo>
                    <a:lnTo>
                      <a:pt x="170" y="479"/>
                    </a:lnTo>
                    <a:lnTo>
                      <a:pt x="134" y="465"/>
                    </a:lnTo>
                    <a:lnTo>
                      <a:pt x="101" y="444"/>
                    </a:lnTo>
                    <a:lnTo>
                      <a:pt x="72" y="420"/>
                    </a:lnTo>
                    <a:lnTo>
                      <a:pt x="48" y="392"/>
                    </a:lnTo>
                    <a:lnTo>
                      <a:pt x="28" y="359"/>
                    </a:lnTo>
                    <a:lnTo>
                      <a:pt x="14" y="323"/>
                    </a:lnTo>
                    <a:lnTo>
                      <a:pt x="4" y="286"/>
                    </a:lnTo>
                    <a:lnTo>
                      <a:pt x="0" y="245"/>
                    </a:lnTo>
                    <a:lnTo>
                      <a:pt x="4" y="206"/>
                    </a:lnTo>
                    <a:lnTo>
                      <a:pt x="14" y="167"/>
                    </a:lnTo>
                    <a:lnTo>
                      <a:pt x="28" y="133"/>
                    </a:lnTo>
                    <a:lnTo>
                      <a:pt x="48" y="100"/>
                    </a:lnTo>
                    <a:lnTo>
                      <a:pt x="72" y="72"/>
                    </a:lnTo>
                    <a:lnTo>
                      <a:pt x="101" y="46"/>
                    </a:lnTo>
                    <a:lnTo>
                      <a:pt x="134" y="26"/>
                    </a:lnTo>
                    <a:lnTo>
                      <a:pt x="170" y="12"/>
                    </a:lnTo>
                    <a:lnTo>
                      <a:pt x="208" y="2"/>
                    </a:lnTo>
                    <a:lnTo>
                      <a:pt x="24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/>
              </a:p>
            </p:txBody>
          </p:sp>
          <p:sp>
            <p:nvSpPr>
              <p:cNvPr id="200" name="Freeform 16">
                <a:extLst>
                  <a:ext uri="{FF2B5EF4-FFF2-40B4-BE49-F238E27FC236}">
                    <a16:creationId xmlns:a16="http://schemas.microsoft.com/office/drawing/2014/main" id="{AC0EB65B-EC3D-40C3-9EAC-DE274E0C11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275138" y="1858963"/>
                <a:ext cx="384175" cy="800100"/>
              </a:xfrm>
              <a:custGeom>
                <a:avLst/>
                <a:gdLst>
                  <a:gd name="T0" fmla="*/ 108 w 1212"/>
                  <a:gd name="T1" fmla="*/ 0 h 2521"/>
                  <a:gd name="T2" fmla="*/ 108 w 1212"/>
                  <a:gd name="T3" fmla="*/ 0 h 2521"/>
                  <a:gd name="T4" fmla="*/ 133 w 1212"/>
                  <a:gd name="T5" fmla="*/ 2 h 2521"/>
                  <a:gd name="T6" fmla="*/ 155 w 1212"/>
                  <a:gd name="T7" fmla="*/ 10 h 2521"/>
                  <a:gd name="T8" fmla="*/ 175 w 1212"/>
                  <a:gd name="T9" fmla="*/ 22 h 2521"/>
                  <a:gd name="T10" fmla="*/ 192 w 1212"/>
                  <a:gd name="T11" fmla="*/ 39 h 2521"/>
                  <a:gd name="T12" fmla="*/ 204 w 1212"/>
                  <a:gd name="T13" fmla="*/ 60 h 2521"/>
                  <a:gd name="T14" fmla="*/ 212 w 1212"/>
                  <a:gd name="T15" fmla="*/ 82 h 2521"/>
                  <a:gd name="T16" fmla="*/ 216 w 1212"/>
                  <a:gd name="T17" fmla="*/ 106 h 2521"/>
                  <a:gd name="T18" fmla="*/ 216 w 1212"/>
                  <a:gd name="T19" fmla="*/ 2307 h 2521"/>
                  <a:gd name="T20" fmla="*/ 1104 w 1212"/>
                  <a:gd name="T21" fmla="*/ 2307 h 2521"/>
                  <a:gd name="T22" fmla="*/ 1129 w 1212"/>
                  <a:gd name="T23" fmla="*/ 2309 h 2521"/>
                  <a:gd name="T24" fmla="*/ 1152 w 1212"/>
                  <a:gd name="T25" fmla="*/ 2317 h 2521"/>
                  <a:gd name="T26" fmla="*/ 1171 w 1212"/>
                  <a:gd name="T27" fmla="*/ 2331 h 2521"/>
                  <a:gd name="T28" fmla="*/ 1188 w 1212"/>
                  <a:gd name="T29" fmla="*/ 2346 h 2521"/>
                  <a:gd name="T30" fmla="*/ 1201 w 1212"/>
                  <a:gd name="T31" fmla="*/ 2367 h 2521"/>
                  <a:gd name="T32" fmla="*/ 1210 w 1212"/>
                  <a:gd name="T33" fmla="*/ 2389 h 2521"/>
                  <a:gd name="T34" fmla="*/ 1212 w 1212"/>
                  <a:gd name="T35" fmla="*/ 2413 h 2521"/>
                  <a:gd name="T36" fmla="*/ 1210 w 1212"/>
                  <a:gd name="T37" fmla="*/ 2438 h 2521"/>
                  <a:gd name="T38" fmla="*/ 1201 w 1212"/>
                  <a:gd name="T39" fmla="*/ 2461 h 2521"/>
                  <a:gd name="T40" fmla="*/ 1188 w 1212"/>
                  <a:gd name="T41" fmla="*/ 2482 h 2521"/>
                  <a:gd name="T42" fmla="*/ 1171 w 1212"/>
                  <a:gd name="T43" fmla="*/ 2497 h 2521"/>
                  <a:gd name="T44" fmla="*/ 1152 w 1212"/>
                  <a:gd name="T45" fmla="*/ 2510 h 2521"/>
                  <a:gd name="T46" fmla="*/ 1129 w 1212"/>
                  <a:gd name="T47" fmla="*/ 2519 h 2521"/>
                  <a:gd name="T48" fmla="*/ 1104 w 1212"/>
                  <a:gd name="T49" fmla="*/ 2521 h 2521"/>
                  <a:gd name="T50" fmla="*/ 108 w 1212"/>
                  <a:gd name="T51" fmla="*/ 2521 h 2521"/>
                  <a:gd name="T52" fmla="*/ 83 w 1212"/>
                  <a:gd name="T53" fmla="*/ 2519 h 2521"/>
                  <a:gd name="T54" fmla="*/ 61 w 1212"/>
                  <a:gd name="T55" fmla="*/ 2510 h 2521"/>
                  <a:gd name="T56" fmla="*/ 41 w 1212"/>
                  <a:gd name="T57" fmla="*/ 2497 h 2521"/>
                  <a:gd name="T58" fmla="*/ 24 w 1212"/>
                  <a:gd name="T59" fmla="*/ 2482 h 2521"/>
                  <a:gd name="T60" fmla="*/ 11 w 1212"/>
                  <a:gd name="T61" fmla="*/ 2461 h 2521"/>
                  <a:gd name="T62" fmla="*/ 4 w 1212"/>
                  <a:gd name="T63" fmla="*/ 2438 h 2521"/>
                  <a:gd name="T64" fmla="*/ 0 w 1212"/>
                  <a:gd name="T65" fmla="*/ 2413 h 2521"/>
                  <a:gd name="T66" fmla="*/ 0 w 1212"/>
                  <a:gd name="T67" fmla="*/ 106 h 2521"/>
                  <a:gd name="T68" fmla="*/ 4 w 1212"/>
                  <a:gd name="T69" fmla="*/ 82 h 2521"/>
                  <a:gd name="T70" fmla="*/ 11 w 1212"/>
                  <a:gd name="T71" fmla="*/ 60 h 2521"/>
                  <a:gd name="T72" fmla="*/ 24 w 1212"/>
                  <a:gd name="T73" fmla="*/ 39 h 2521"/>
                  <a:gd name="T74" fmla="*/ 41 w 1212"/>
                  <a:gd name="T75" fmla="*/ 22 h 2521"/>
                  <a:gd name="T76" fmla="*/ 61 w 1212"/>
                  <a:gd name="T77" fmla="*/ 10 h 2521"/>
                  <a:gd name="T78" fmla="*/ 83 w 1212"/>
                  <a:gd name="T79" fmla="*/ 2 h 2521"/>
                  <a:gd name="T80" fmla="*/ 108 w 1212"/>
                  <a:gd name="T81" fmla="*/ 0 h 2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12" h="2521">
                    <a:moveTo>
                      <a:pt x="108" y="0"/>
                    </a:moveTo>
                    <a:lnTo>
                      <a:pt x="108" y="0"/>
                    </a:lnTo>
                    <a:lnTo>
                      <a:pt x="133" y="2"/>
                    </a:lnTo>
                    <a:lnTo>
                      <a:pt x="155" y="10"/>
                    </a:lnTo>
                    <a:lnTo>
                      <a:pt x="175" y="22"/>
                    </a:lnTo>
                    <a:lnTo>
                      <a:pt x="192" y="39"/>
                    </a:lnTo>
                    <a:lnTo>
                      <a:pt x="204" y="60"/>
                    </a:lnTo>
                    <a:lnTo>
                      <a:pt x="212" y="82"/>
                    </a:lnTo>
                    <a:lnTo>
                      <a:pt x="216" y="106"/>
                    </a:lnTo>
                    <a:lnTo>
                      <a:pt x="216" y="2307"/>
                    </a:lnTo>
                    <a:lnTo>
                      <a:pt x="1104" y="2307"/>
                    </a:lnTo>
                    <a:lnTo>
                      <a:pt x="1129" y="2309"/>
                    </a:lnTo>
                    <a:lnTo>
                      <a:pt x="1152" y="2317"/>
                    </a:lnTo>
                    <a:lnTo>
                      <a:pt x="1171" y="2331"/>
                    </a:lnTo>
                    <a:lnTo>
                      <a:pt x="1188" y="2346"/>
                    </a:lnTo>
                    <a:lnTo>
                      <a:pt x="1201" y="2367"/>
                    </a:lnTo>
                    <a:lnTo>
                      <a:pt x="1210" y="2389"/>
                    </a:lnTo>
                    <a:lnTo>
                      <a:pt x="1212" y="2413"/>
                    </a:lnTo>
                    <a:lnTo>
                      <a:pt x="1210" y="2438"/>
                    </a:lnTo>
                    <a:lnTo>
                      <a:pt x="1201" y="2461"/>
                    </a:lnTo>
                    <a:lnTo>
                      <a:pt x="1188" y="2482"/>
                    </a:lnTo>
                    <a:lnTo>
                      <a:pt x="1171" y="2497"/>
                    </a:lnTo>
                    <a:lnTo>
                      <a:pt x="1152" y="2510"/>
                    </a:lnTo>
                    <a:lnTo>
                      <a:pt x="1129" y="2519"/>
                    </a:lnTo>
                    <a:lnTo>
                      <a:pt x="1104" y="2521"/>
                    </a:lnTo>
                    <a:lnTo>
                      <a:pt x="108" y="2521"/>
                    </a:lnTo>
                    <a:lnTo>
                      <a:pt x="83" y="2519"/>
                    </a:lnTo>
                    <a:lnTo>
                      <a:pt x="61" y="2510"/>
                    </a:lnTo>
                    <a:lnTo>
                      <a:pt x="41" y="2497"/>
                    </a:lnTo>
                    <a:lnTo>
                      <a:pt x="24" y="2482"/>
                    </a:lnTo>
                    <a:lnTo>
                      <a:pt x="11" y="2461"/>
                    </a:lnTo>
                    <a:lnTo>
                      <a:pt x="4" y="2438"/>
                    </a:lnTo>
                    <a:lnTo>
                      <a:pt x="0" y="2413"/>
                    </a:lnTo>
                    <a:lnTo>
                      <a:pt x="0" y="106"/>
                    </a:lnTo>
                    <a:lnTo>
                      <a:pt x="4" y="82"/>
                    </a:lnTo>
                    <a:lnTo>
                      <a:pt x="11" y="60"/>
                    </a:lnTo>
                    <a:lnTo>
                      <a:pt x="24" y="39"/>
                    </a:lnTo>
                    <a:lnTo>
                      <a:pt x="41" y="22"/>
                    </a:lnTo>
                    <a:lnTo>
                      <a:pt x="61" y="10"/>
                    </a:lnTo>
                    <a:lnTo>
                      <a:pt x="83" y="2"/>
                    </a:lnTo>
                    <a:lnTo>
                      <a:pt x="10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/>
              </a:p>
            </p:txBody>
          </p:sp>
          <p:sp>
            <p:nvSpPr>
              <p:cNvPr id="201" name="Freeform 17">
                <a:extLst>
                  <a:ext uri="{FF2B5EF4-FFF2-40B4-BE49-F238E27FC236}">
                    <a16:creationId xmlns:a16="http://schemas.microsoft.com/office/drawing/2014/main" id="{4ABB7558-F7D8-4A56-A7FD-81967EBE47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148263" y="1912938"/>
                <a:ext cx="785813" cy="749300"/>
              </a:xfrm>
              <a:custGeom>
                <a:avLst/>
                <a:gdLst>
                  <a:gd name="T0" fmla="*/ 941 w 2477"/>
                  <a:gd name="T1" fmla="*/ 1425 h 2364"/>
                  <a:gd name="T2" fmla="*/ 950 w 2477"/>
                  <a:gd name="T3" fmla="*/ 741 h 2364"/>
                  <a:gd name="T4" fmla="*/ 989 w 2477"/>
                  <a:gd name="T5" fmla="*/ 721 h 2364"/>
                  <a:gd name="T6" fmla="*/ 1170 w 2477"/>
                  <a:gd name="T7" fmla="*/ 731 h 2364"/>
                  <a:gd name="T8" fmla="*/ 1189 w 2477"/>
                  <a:gd name="T9" fmla="*/ 769 h 2364"/>
                  <a:gd name="T10" fmla="*/ 1476 w 2477"/>
                  <a:gd name="T11" fmla="*/ 1225 h 2364"/>
                  <a:gd name="T12" fmla="*/ 1506 w 2477"/>
                  <a:gd name="T13" fmla="*/ 1256 h 2364"/>
                  <a:gd name="T14" fmla="*/ 2054 w 2477"/>
                  <a:gd name="T15" fmla="*/ 1425 h 2364"/>
                  <a:gd name="T16" fmla="*/ 547 w 2477"/>
                  <a:gd name="T17" fmla="*/ 0 h 2364"/>
                  <a:gd name="T18" fmla="*/ 1550 w 2477"/>
                  <a:gd name="T19" fmla="*/ 9 h 2364"/>
                  <a:gd name="T20" fmla="*/ 1620 w 2477"/>
                  <a:gd name="T21" fmla="*/ 57 h 2364"/>
                  <a:gd name="T22" fmla="*/ 1645 w 2477"/>
                  <a:gd name="T23" fmla="*/ 93 h 2364"/>
                  <a:gd name="T24" fmla="*/ 1679 w 2477"/>
                  <a:gd name="T25" fmla="*/ 150 h 2364"/>
                  <a:gd name="T26" fmla="*/ 1735 w 2477"/>
                  <a:gd name="T27" fmla="*/ 244 h 2364"/>
                  <a:gd name="T28" fmla="*/ 1811 w 2477"/>
                  <a:gd name="T29" fmla="*/ 368 h 2364"/>
                  <a:gd name="T30" fmla="*/ 1898 w 2477"/>
                  <a:gd name="T31" fmla="*/ 515 h 2364"/>
                  <a:gd name="T32" fmla="*/ 1996 w 2477"/>
                  <a:gd name="T33" fmla="*/ 676 h 2364"/>
                  <a:gd name="T34" fmla="*/ 2096 w 2477"/>
                  <a:gd name="T35" fmla="*/ 844 h 2364"/>
                  <a:gd name="T36" fmla="*/ 2197 w 2477"/>
                  <a:gd name="T37" fmla="*/ 1010 h 2364"/>
                  <a:gd name="T38" fmla="*/ 2293 w 2477"/>
                  <a:gd name="T39" fmla="*/ 1169 h 2364"/>
                  <a:gd name="T40" fmla="*/ 2380 w 2477"/>
                  <a:gd name="T41" fmla="*/ 1310 h 2364"/>
                  <a:gd name="T42" fmla="*/ 2450 w 2477"/>
                  <a:gd name="T43" fmla="*/ 1427 h 2364"/>
                  <a:gd name="T44" fmla="*/ 2474 w 2477"/>
                  <a:gd name="T45" fmla="*/ 1480 h 2364"/>
                  <a:gd name="T46" fmla="*/ 2474 w 2477"/>
                  <a:gd name="T47" fmla="*/ 2245 h 2364"/>
                  <a:gd name="T48" fmla="*/ 2434 w 2477"/>
                  <a:gd name="T49" fmla="*/ 2320 h 2364"/>
                  <a:gd name="T50" fmla="*/ 2358 w 2477"/>
                  <a:gd name="T51" fmla="*/ 2361 h 2364"/>
                  <a:gd name="T52" fmla="*/ 2231 w 2477"/>
                  <a:gd name="T53" fmla="*/ 2362 h 2364"/>
                  <a:gd name="T54" fmla="*/ 2214 w 2477"/>
                  <a:gd name="T55" fmla="*/ 2335 h 2364"/>
                  <a:gd name="T56" fmla="*/ 2183 w 2477"/>
                  <a:gd name="T57" fmla="*/ 2182 h 2364"/>
                  <a:gd name="T58" fmla="*/ 2099 w 2477"/>
                  <a:gd name="T59" fmla="*/ 2057 h 2364"/>
                  <a:gd name="T60" fmla="*/ 1973 w 2477"/>
                  <a:gd name="T61" fmla="*/ 1972 h 2364"/>
                  <a:gd name="T62" fmla="*/ 1819 w 2477"/>
                  <a:gd name="T63" fmla="*/ 1941 h 2364"/>
                  <a:gd name="T64" fmla="*/ 1666 w 2477"/>
                  <a:gd name="T65" fmla="*/ 1972 h 2364"/>
                  <a:gd name="T66" fmla="*/ 1541 w 2477"/>
                  <a:gd name="T67" fmla="*/ 2057 h 2364"/>
                  <a:gd name="T68" fmla="*/ 1456 w 2477"/>
                  <a:gd name="T69" fmla="*/ 2182 h 2364"/>
                  <a:gd name="T70" fmla="*/ 1424 w 2477"/>
                  <a:gd name="T71" fmla="*/ 2335 h 2364"/>
                  <a:gd name="T72" fmla="*/ 1408 w 2477"/>
                  <a:gd name="T73" fmla="*/ 2362 h 2364"/>
                  <a:gd name="T74" fmla="*/ 1069 w 2477"/>
                  <a:gd name="T75" fmla="*/ 2362 h 2364"/>
                  <a:gd name="T76" fmla="*/ 1052 w 2477"/>
                  <a:gd name="T77" fmla="*/ 2335 h 2364"/>
                  <a:gd name="T78" fmla="*/ 1021 w 2477"/>
                  <a:gd name="T79" fmla="*/ 2182 h 2364"/>
                  <a:gd name="T80" fmla="*/ 936 w 2477"/>
                  <a:gd name="T81" fmla="*/ 2057 h 2364"/>
                  <a:gd name="T82" fmla="*/ 811 w 2477"/>
                  <a:gd name="T83" fmla="*/ 1972 h 2364"/>
                  <a:gd name="T84" fmla="*/ 658 w 2477"/>
                  <a:gd name="T85" fmla="*/ 1941 h 2364"/>
                  <a:gd name="T86" fmla="*/ 504 w 2477"/>
                  <a:gd name="T87" fmla="*/ 1972 h 2364"/>
                  <a:gd name="T88" fmla="*/ 378 w 2477"/>
                  <a:gd name="T89" fmla="*/ 2057 h 2364"/>
                  <a:gd name="T90" fmla="*/ 294 w 2477"/>
                  <a:gd name="T91" fmla="*/ 2182 h 2364"/>
                  <a:gd name="T92" fmla="*/ 263 w 2477"/>
                  <a:gd name="T93" fmla="*/ 2335 h 2364"/>
                  <a:gd name="T94" fmla="*/ 246 w 2477"/>
                  <a:gd name="T95" fmla="*/ 2362 h 2364"/>
                  <a:gd name="T96" fmla="*/ 89 w 2477"/>
                  <a:gd name="T97" fmla="*/ 2361 h 2364"/>
                  <a:gd name="T98" fmla="*/ 25 w 2477"/>
                  <a:gd name="T99" fmla="*/ 2321 h 2364"/>
                  <a:gd name="T100" fmla="*/ 0 w 2477"/>
                  <a:gd name="T101" fmla="*/ 2249 h 2364"/>
                  <a:gd name="T102" fmla="*/ 12 w 2477"/>
                  <a:gd name="T103" fmla="*/ 1142 h 2364"/>
                  <a:gd name="T104" fmla="*/ 65 w 2477"/>
                  <a:gd name="T105" fmla="*/ 1090 h 2364"/>
                  <a:gd name="T106" fmla="*/ 382 w 2477"/>
                  <a:gd name="T107" fmla="*/ 1078 h 2364"/>
                  <a:gd name="T108" fmla="*/ 395 w 2477"/>
                  <a:gd name="T109" fmla="*/ 100 h 2364"/>
                  <a:gd name="T110" fmla="*/ 455 w 2477"/>
                  <a:gd name="T111" fmla="*/ 28 h 2364"/>
                  <a:gd name="T112" fmla="*/ 547 w 2477"/>
                  <a:gd name="T113" fmla="*/ 0 h 2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477" h="2364">
                    <a:moveTo>
                      <a:pt x="713" y="331"/>
                    </a:moveTo>
                    <a:lnTo>
                      <a:pt x="713" y="1425"/>
                    </a:lnTo>
                    <a:lnTo>
                      <a:pt x="941" y="1425"/>
                    </a:lnTo>
                    <a:lnTo>
                      <a:pt x="941" y="769"/>
                    </a:lnTo>
                    <a:lnTo>
                      <a:pt x="943" y="754"/>
                    </a:lnTo>
                    <a:lnTo>
                      <a:pt x="950" y="741"/>
                    </a:lnTo>
                    <a:lnTo>
                      <a:pt x="961" y="731"/>
                    </a:lnTo>
                    <a:lnTo>
                      <a:pt x="974" y="724"/>
                    </a:lnTo>
                    <a:lnTo>
                      <a:pt x="989" y="721"/>
                    </a:lnTo>
                    <a:lnTo>
                      <a:pt x="1141" y="721"/>
                    </a:lnTo>
                    <a:lnTo>
                      <a:pt x="1157" y="724"/>
                    </a:lnTo>
                    <a:lnTo>
                      <a:pt x="1170" y="731"/>
                    </a:lnTo>
                    <a:lnTo>
                      <a:pt x="1180" y="741"/>
                    </a:lnTo>
                    <a:lnTo>
                      <a:pt x="1187" y="754"/>
                    </a:lnTo>
                    <a:lnTo>
                      <a:pt x="1189" y="769"/>
                    </a:lnTo>
                    <a:lnTo>
                      <a:pt x="1189" y="1223"/>
                    </a:lnTo>
                    <a:lnTo>
                      <a:pt x="1462" y="1223"/>
                    </a:lnTo>
                    <a:lnTo>
                      <a:pt x="1476" y="1225"/>
                    </a:lnTo>
                    <a:lnTo>
                      <a:pt x="1489" y="1232"/>
                    </a:lnTo>
                    <a:lnTo>
                      <a:pt x="1500" y="1243"/>
                    </a:lnTo>
                    <a:lnTo>
                      <a:pt x="1506" y="1256"/>
                    </a:lnTo>
                    <a:lnTo>
                      <a:pt x="1510" y="1271"/>
                    </a:lnTo>
                    <a:lnTo>
                      <a:pt x="1510" y="1425"/>
                    </a:lnTo>
                    <a:lnTo>
                      <a:pt x="2054" y="1425"/>
                    </a:lnTo>
                    <a:lnTo>
                      <a:pt x="1400" y="331"/>
                    </a:lnTo>
                    <a:lnTo>
                      <a:pt x="713" y="331"/>
                    </a:lnTo>
                    <a:close/>
                    <a:moveTo>
                      <a:pt x="547" y="0"/>
                    </a:moveTo>
                    <a:lnTo>
                      <a:pt x="1495" y="0"/>
                    </a:lnTo>
                    <a:lnTo>
                      <a:pt x="1524" y="2"/>
                    </a:lnTo>
                    <a:lnTo>
                      <a:pt x="1550" y="9"/>
                    </a:lnTo>
                    <a:lnTo>
                      <a:pt x="1577" y="21"/>
                    </a:lnTo>
                    <a:lnTo>
                      <a:pt x="1600" y="37"/>
                    </a:lnTo>
                    <a:lnTo>
                      <a:pt x="1620" y="57"/>
                    </a:lnTo>
                    <a:lnTo>
                      <a:pt x="1637" y="80"/>
                    </a:lnTo>
                    <a:lnTo>
                      <a:pt x="1639" y="84"/>
                    </a:lnTo>
                    <a:lnTo>
                      <a:pt x="1645" y="93"/>
                    </a:lnTo>
                    <a:lnTo>
                      <a:pt x="1654" y="108"/>
                    </a:lnTo>
                    <a:lnTo>
                      <a:pt x="1664" y="126"/>
                    </a:lnTo>
                    <a:lnTo>
                      <a:pt x="1679" y="150"/>
                    </a:lnTo>
                    <a:lnTo>
                      <a:pt x="1696" y="177"/>
                    </a:lnTo>
                    <a:lnTo>
                      <a:pt x="1715" y="208"/>
                    </a:lnTo>
                    <a:lnTo>
                      <a:pt x="1735" y="244"/>
                    </a:lnTo>
                    <a:lnTo>
                      <a:pt x="1759" y="283"/>
                    </a:lnTo>
                    <a:lnTo>
                      <a:pt x="1783" y="323"/>
                    </a:lnTo>
                    <a:lnTo>
                      <a:pt x="1811" y="368"/>
                    </a:lnTo>
                    <a:lnTo>
                      <a:pt x="1838" y="415"/>
                    </a:lnTo>
                    <a:lnTo>
                      <a:pt x="1868" y="464"/>
                    </a:lnTo>
                    <a:lnTo>
                      <a:pt x="1898" y="515"/>
                    </a:lnTo>
                    <a:lnTo>
                      <a:pt x="1930" y="567"/>
                    </a:lnTo>
                    <a:lnTo>
                      <a:pt x="1963" y="621"/>
                    </a:lnTo>
                    <a:lnTo>
                      <a:pt x="1996" y="676"/>
                    </a:lnTo>
                    <a:lnTo>
                      <a:pt x="2029" y="731"/>
                    </a:lnTo>
                    <a:lnTo>
                      <a:pt x="2063" y="787"/>
                    </a:lnTo>
                    <a:lnTo>
                      <a:pt x="2096" y="844"/>
                    </a:lnTo>
                    <a:lnTo>
                      <a:pt x="2131" y="900"/>
                    </a:lnTo>
                    <a:lnTo>
                      <a:pt x="2165" y="955"/>
                    </a:lnTo>
                    <a:lnTo>
                      <a:pt x="2197" y="1010"/>
                    </a:lnTo>
                    <a:lnTo>
                      <a:pt x="2231" y="1064"/>
                    </a:lnTo>
                    <a:lnTo>
                      <a:pt x="2262" y="1117"/>
                    </a:lnTo>
                    <a:lnTo>
                      <a:pt x="2293" y="1169"/>
                    </a:lnTo>
                    <a:lnTo>
                      <a:pt x="2323" y="1218"/>
                    </a:lnTo>
                    <a:lnTo>
                      <a:pt x="2352" y="1265"/>
                    </a:lnTo>
                    <a:lnTo>
                      <a:pt x="2380" y="1310"/>
                    </a:lnTo>
                    <a:lnTo>
                      <a:pt x="2405" y="1352"/>
                    </a:lnTo>
                    <a:lnTo>
                      <a:pt x="2429" y="1391"/>
                    </a:lnTo>
                    <a:lnTo>
                      <a:pt x="2450" y="1427"/>
                    </a:lnTo>
                    <a:lnTo>
                      <a:pt x="2460" y="1443"/>
                    </a:lnTo>
                    <a:lnTo>
                      <a:pt x="2468" y="1461"/>
                    </a:lnTo>
                    <a:lnTo>
                      <a:pt x="2474" y="1480"/>
                    </a:lnTo>
                    <a:lnTo>
                      <a:pt x="2477" y="1502"/>
                    </a:lnTo>
                    <a:lnTo>
                      <a:pt x="2477" y="2215"/>
                    </a:lnTo>
                    <a:lnTo>
                      <a:pt x="2474" y="2245"/>
                    </a:lnTo>
                    <a:lnTo>
                      <a:pt x="2465" y="2273"/>
                    </a:lnTo>
                    <a:lnTo>
                      <a:pt x="2452" y="2298"/>
                    </a:lnTo>
                    <a:lnTo>
                      <a:pt x="2434" y="2320"/>
                    </a:lnTo>
                    <a:lnTo>
                      <a:pt x="2411" y="2338"/>
                    </a:lnTo>
                    <a:lnTo>
                      <a:pt x="2386" y="2352"/>
                    </a:lnTo>
                    <a:lnTo>
                      <a:pt x="2358" y="2361"/>
                    </a:lnTo>
                    <a:lnTo>
                      <a:pt x="2328" y="2364"/>
                    </a:lnTo>
                    <a:lnTo>
                      <a:pt x="2243" y="2364"/>
                    </a:lnTo>
                    <a:lnTo>
                      <a:pt x="2231" y="2362"/>
                    </a:lnTo>
                    <a:lnTo>
                      <a:pt x="2222" y="2356"/>
                    </a:lnTo>
                    <a:lnTo>
                      <a:pt x="2216" y="2346"/>
                    </a:lnTo>
                    <a:lnTo>
                      <a:pt x="2214" y="2335"/>
                    </a:lnTo>
                    <a:lnTo>
                      <a:pt x="2210" y="2283"/>
                    </a:lnTo>
                    <a:lnTo>
                      <a:pt x="2200" y="2231"/>
                    </a:lnTo>
                    <a:lnTo>
                      <a:pt x="2183" y="2182"/>
                    </a:lnTo>
                    <a:lnTo>
                      <a:pt x="2160" y="2136"/>
                    </a:lnTo>
                    <a:lnTo>
                      <a:pt x="2131" y="2094"/>
                    </a:lnTo>
                    <a:lnTo>
                      <a:pt x="2099" y="2057"/>
                    </a:lnTo>
                    <a:lnTo>
                      <a:pt x="2060" y="2024"/>
                    </a:lnTo>
                    <a:lnTo>
                      <a:pt x="2018" y="1995"/>
                    </a:lnTo>
                    <a:lnTo>
                      <a:pt x="1973" y="1972"/>
                    </a:lnTo>
                    <a:lnTo>
                      <a:pt x="1925" y="1955"/>
                    </a:lnTo>
                    <a:lnTo>
                      <a:pt x="1873" y="1945"/>
                    </a:lnTo>
                    <a:lnTo>
                      <a:pt x="1819" y="1941"/>
                    </a:lnTo>
                    <a:lnTo>
                      <a:pt x="1766" y="1945"/>
                    </a:lnTo>
                    <a:lnTo>
                      <a:pt x="1715" y="1955"/>
                    </a:lnTo>
                    <a:lnTo>
                      <a:pt x="1666" y="1972"/>
                    </a:lnTo>
                    <a:lnTo>
                      <a:pt x="1620" y="1995"/>
                    </a:lnTo>
                    <a:lnTo>
                      <a:pt x="1578" y="2024"/>
                    </a:lnTo>
                    <a:lnTo>
                      <a:pt x="1541" y="2057"/>
                    </a:lnTo>
                    <a:lnTo>
                      <a:pt x="1507" y="2094"/>
                    </a:lnTo>
                    <a:lnTo>
                      <a:pt x="1478" y="2136"/>
                    </a:lnTo>
                    <a:lnTo>
                      <a:pt x="1456" y="2182"/>
                    </a:lnTo>
                    <a:lnTo>
                      <a:pt x="1439" y="2231"/>
                    </a:lnTo>
                    <a:lnTo>
                      <a:pt x="1428" y="2283"/>
                    </a:lnTo>
                    <a:lnTo>
                      <a:pt x="1424" y="2335"/>
                    </a:lnTo>
                    <a:lnTo>
                      <a:pt x="1423" y="2346"/>
                    </a:lnTo>
                    <a:lnTo>
                      <a:pt x="1417" y="2356"/>
                    </a:lnTo>
                    <a:lnTo>
                      <a:pt x="1408" y="2362"/>
                    </a:lnTo>
                    <a:lnTo>
                      <a:pt x="1397" y="2364"/>
                    </a:lnTo>
                    <a:lnTo>
                      <a:pt x="1080" y="2364"/>
                    </a:lnTo>
                    <a:lnTo>
                      <a:pt x="1069" y="2362"/>
                    </a:lnTo>
                    <a:lnTo>
                      <a:pt x="1061" y="2356"/>
                    </a:lnTo>
                    <a:lnTo>
                      <a:pt x="1055" y="2346"/>
                    </a:lnTo>
                    <a:lnTo>
                      <a:pt x="1052" y="2335"/>
                    </a:lnTo>
                    <a:lnTo>
                      <a:pt x="1049" y="2283"/>
                    </a:lnTo>
                    <a:lnTo>
                      <a:pt x="1038" y="2231"/>
                    </a:lnTo>
                    <a:lnTo>
                      <a:pt x="1021" y="2182"/>
                    </a:lnTo>
                    <a:lnTo>
                      <a:pt x="998" y="2136"/>
                    </a:lnTo>
                    <a:lnTo>
                      <a:pt x="970" y="2094"/>
                    </a:lnTo>
                    <a:lnTo>
                      <a:pt x="936" y="2057"/>
                    </a:lnTo>
                    <a:lnTo>
                      <a:pt x="899" y="2024"/>
                    </a:lnTo>
                    <a:lnTo>
                      <a:pt x="857" y="1995"/>
                    </a:lnTo>
                    <a:lnTo>
                      <a:pt x="811" y="1972"/>
                    </a:lnTo>
                    <a:lnTo>
                      <a:pt x="762" y="1955"/>
                    </a:lnTo>
                    <a:lnTo>
                      <a:pt x="710" y="1945"/>
                    </a:lnTo>
                    <a:lnTo>
                      <a:pt x="658" y="1941"/>
                    </a:lnTo>
                    <a:lnTo>
                      <a:pt x="604" y="1945"/>
                    </a:lnTo>
                    <a:lnTo>
                      <a:pt x="553" y="1955"/>
                    </a:lnTo>
                    <a:lnTo>
                      <a:pt x="504" y="1972"/>
                    </a:lnTo>
                    <a:lnTo>
                      <a:pt x="458" y="1995"/>
                    </a:lnTo>
                    <a:lnTo>
                      <a:pt x="416" y="2024"/>
                    </a:lnTo>
                    <a:lnTo>
                      <a:pt x="378" y="2057"/>
                    </a:lnTo>
                    <a:lnTo>
                      <a:pt x="346" y="2094"/>
                    </a:lnTo>
                    <a:lnTo>
                      <a:pt x="317" y="2136"/>
                    </a:lnTo>
                    <a:lnTo>
                      <a:pt x="294" y="2182"/>
                    </a:lnTo>
                    <a:lnTo>
                      <a:pt x="277" y="2231"/>
                    </a:lnTo>
                    <a:lnTo>
                      <a:pt x="266" y="2283"/>
                    </a:lnTo>
                    <a:lnTo>
                      <a:pt x="263" y="2335"/>
                    </a:lnTo>
                    <a:lnTo>
                      <a:pt x="260" y="2346"/>
                    </a:lnTo>
                    <a:lnTo>
                      <a:pt x="254" y="2356"/>
                    </a:lnTo>
                    <a:lnTo>
                      <a:pt x="246" y="2362"/>
                    </a:lnTo>
                    <a:lnTo>
                      <a:pt x="235" y="2364"/>
                    </a:lnTo>
                    <a:lnTo>
                      <a:pt x="115" y="2364"/>
                    </a:lnTo>
                    <a:lnTo>
                      <a:pt x="89" y="2361"/>
                    </a:lnTo>
                    <a:lnTo>
                      <a:pt x="65" y="2352"/>
                    </a:lnTo>
                    <a:lnTo>
                      <a:pt x="43" y="2339"/>
                    </a:lnTo>
                    <a:lnTo>
                      <a:pt x="25" y="2321"/>
                    </a:lnTo>
                    <a:lnTo>
                      <a:pt x="12" y="2299"/>
                    </a:lnTo>
                    <a:lnTo>
                      <a:pt x="4" y="2275"/>
                    </a:lnTo>
                    <a:lnTo>
                      <a:pt x="0" y="2249"/>
                    </a:lnTo>
                    <a:lnTo>
                      <a:pt x="0" y="1193"/>
                    </a:lnTo>
                    <a:lnTo>
                      <a:pt x="4" y="1166"/>
                    </a:lnTo>
                    <a:lnTo>
                      <a:pt x="12" y="1142"/>
                    </a:lnTo>
                    <a:lnTo>
                      <a:pt x="25" y="1121"/>
                    </a:lnTo>
                    <a:lnTo>
                      <a:pt x="43" y="1103"/>
                    </a:lnTo>
                    <a:lnTo>
                      <a:pt x="65" y="1090"/>
                    </a:lnTo>
                    <a:lnTo>
                      <a:pt x="89" y="1081"/>
                    </a:lnTo>
                    <a:lnTo>
                      <a:pt x="115" y="1078"/>
                    </a:lnTo>
                    <a:lnTo>
                      <a:pt x="382" y="1078"/>
                    </a:lnTo>
                    <a:lnTo>
                      <a:pt x="382" y="165"/>
                    </a:lnTo>
                    <a:lnTo>
                      <a:pt x="385" y="132"/>
                    </a:lnTo>
                    <a:lnTo>
                      <a:pt x="395" y="100"/>
                    </a:lnTo>
                    <a:lnTo>
                      <a:pt x="409" y="73"/>
                    </a:lnTo>
                    <a:lnTo>
                      <a:pt x="430" y="48"/>
                    </a:lnTo>
                    <a:lnTo>
                      <a:pt x="455" y="28"/>
                    </a:lnTo>
                    <a:lnTo>
                      <a:pt x="482" y="13"/>
                    </a:lnTo>
                    <a:lnTo>
                      <a:pt x="514" y="3"/>
                    </a:lnTo>
                    <a:lnTo>
                      <a:pt x="54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/>
              </a:p>
            </p:txBody>
          </p:sp>
          <p:sp>
            <p:nvSpPr>
              <p:cNvPr id="202" name="Freeform 18">
                <a:extLst>
                  <a:ext uri="{FF2B5EF4-FFF2-40B4-BE49-F238E27FC236}">
                    <a16:creationId xmlns:a16="http://schemas.microsoft.com/office/drawing/2014/main" id="{3B936FFD-7418-4ADE-A513-B5F0FDB06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156076" y="2271713"/>
                <a:ext cx="265113" cy="265113"/>
              </a:xfrm>
              <a:custGeom>
                <a:avLst/>
                <a:gdLst>
                  <a:gd name="T0" fmla="*/ 50 w 835"/>
                  <a:gd name="T1" fmla="*/ 0 h 834"/>
                  <a:gd name="T2" fmla="*/ 783 w 835"/>
                  <a:gd name="T3" fmla="*/ 0 h 834"/>
                  <a:gd name="T4" fmla="*/ 800 w 835"/>
                  <a:gd name="T5" fmla="*/ 2 h 834"/>
                  <a:gd name="T6" fmla="*/ 815 w 835"/>
                  <a:gd name="T7" fmla="*/ 10 h 834"/>
                  <a:gd name="T8" fmla="*/ 825 w 835"/>
                  <a:gd name="T9" fmla="*/ 20 h 834"/>
                  <a:gd name="T10" fmla="*/ 833 w 835"/>
                  <a:gd name="T11" fmla="*/ 35 h 834"/>
                  <a:gd name="T12" fmla="*/ 835 w 835"/>
                  <a:gd name="T13" fmla="*/ 52 h 834"/>
                  <a:gd name="T14" fmla="*/ 835 w 835"/>
                  <a:gd name="T15" fmla="*/ 784 h 834"/>
                  <a:gd name="T16" fmla="*/ 833 w 835"/>
                  <a:gd name="T17" fmla="*/ 800 h 834"/>
                  <a:gd name="T18" fmla="*/ 825 w 835"/>
                  <a:gd name="T19" fmla="*/ 814 h 834"/>
                  <a:gd name="T20" fmla="*/ 815 w 835"/>
                  <a:gd name="T21" fmla="*/ 825 h 834"/>
                  <a:gd name="T22" fmla="*/ 800 w 835"/>
                  <a:gd name="T23" fmla="*/ 832 h 834"/>
                  <a:gd name="T24" fmla="*/ 783 w 835"/>
                  <a:gd name="T25" fmla="*/ 834 h 834"/>
                  <a:gd name="T26" fmla="*/ 50 w 835"/>
                  <a:gd name="T27" fmla="*/ 834 h 834"/>
                  <a:gd name="T28" fmla="*/ 35 w 835"/>
                  <a:gd name="T29" fmla="*/ 832 h 834"/>
                  <a:gd name="T30" fmla="*/ 20 w 835"/>
                  <a:gd name="T31" fmla="*/ 825 h 834"/>
                  <a:gd name="T32" fmla="*/ 9 w 835"/>
                  <a:gd name="T33" fmla="*/ 814 h 834"/>
                  <a:gd name="T34" fmla="*/ 2 w 835"/>
                  <a:gd name="T35" fmla="*/ 800 h 834"/>
                  <a:gd name="T36" fmla="*/ 0 w 835"/>
                  <a:gd name="T37" fmla="*/ 784 h 834"/>
                  <a:gd name="T38" fmla="*/ 0 w 835"/>
                  <a:gd name="T39" fmla="*/ 52 h 834"/>
                  <a:gd name="T40" fmla="*/ 2 w 835"/>
                  <a:gd name="T41" fmla="*/ 35 h 834"/>
                  <a:gd name="T42" fmla="*/ 9 w 835"/>
                  <a:gd name="T43" fmla="*/ 20 h 834"/>
                  <a:gd name="T44" fmla="*/ 20 w 835"/>
                  <a:gd name="T45" fmla="*/ 10 h 834"/>
                  <a:gd name="T46" fmla="*/ 35 w 835"/>
                  <a:gd name="T47" fmla="*/ 2 h 834"/>
                  <a:gd name="T48" fmla="*/ 50 w 835"/>
                  <a:gd name="T49" fmla="*/ 0 h 8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35" h="834">
                    <a:moveTo>
                      <a:pt x="50" y="0"/>
                    </a:moveTo>
                    <a:lnTo>
                      <a:pt x="783" y="0"/>
                    </a:lnTo>
                    <a:lnTo>
                      <a:pt x="800" y="2"/>
                    </a:lnTo>
                    <a:lnTo>
                      <a:pt x="815" y="10"/>
                    </a:lnTo>
                    <a:lnTo>
                      <a:pt x="825" y="20"/>
                    </a:lnTo>
                    <a:lnTo>
                      <a:pt x="833" y="35"/>
                    </a:lnTo>
                    <a:lnTo>
                      <a:pt x="835" y="52"/>
                    </a:lnTo>
                    <a:lnTo>
                      <a:pt x="835" y="784"/>
                    </a:lnTo>
                    <a:lnTo>
                      <a:pt x="833" y="800"/>
                    </a:lnTo>
                    <a:lnTo>
                      <a:pt x="825" y="814"/>
                    </a:lnTo>
                    <a:lnTo>
                      <a:pt x="815" y="825"/>
                    </a:lnTo>
                    <a:lnTo>
                      <a:pt x="800" y="832"/>
                    </a:lnTo>
                    <a:lnTo>
                      <a:pt x="783" y="834"/>
                    </a:lnTo>
                    <a:lnTo>
                      <a:pt x="50" y="834"/>
                    </a:lnTo>
                    <a:lnTo>
                      <a:pt x="35" y="832"/>
                    </a:lnTo>
                    <a:lnTo>
                      <a:pt x="20" y="825"/>
                    </a:lnTo>
                    <a:lnTo>
                      <a:pt x="9" y="814"/>
                    </a:lnTo>
                    <a:lnTo>
                      <a:pt x="2" y="800"/>
                    </a:lnTo>
                    <a:lnTo>
                      <a:pt x="0" y="784"/>
                    </a:lnTo>
                    <a:lnTo>
                      <a:pt x="0" y="52"/>
                    </a:lnTo>
                    <a:lnTo>
                      <a:pt x="2" y="35"/>
                    </a:lnTo>
                    <a:lnTo>
                      <a:pt x="9" y="20"/>
                    </a:lnTo>
                    <a:lnTo>
                      <a:pt x="20" y="10"/>
                    </a:lnTo>
                    <a:lnTo>
                      <a:pt x="35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/>
              </a:p>
            </p:txBody>
          </p:sp>
          <p:sp>
            <p:nvSpPr>
              <p:cNvPr id="203" name="Freeform 19">
                <a:extLst>
                  <a:ext uri="{FF2B5EF4-FFF2-40B4-BE49-F238E27FC236}">
                    <a16:creationId xmlns:a16="http://schemas.microsoft.com/office/drawing/2014/main" id="{78A1A543-EAEB-422E-BB95-151B4B36F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156076" y="1941513"/>
                <a:ext cx="265113" cy="263525"/>
              </a:xfrm>
              <a:custGeom>
                <a:avLst/>
                <a:gdLst>
                  <a:gd name="T0" fmla="*/ 50 w 835"/>
                  <a:gd name="T1" fmla="*/ 0 h 834"/>
                  <a:gd name="T2" fmla="*/ 783 w 835"/>
                  <a:gd name="T3" fmla="*/ 0 h 834"/>
                  <a:gd name="T4" fmla="*/ 800 w 835"/>
                  <a:gd name="T5" fmla="*/ 2 h 834"/>
                  <a:gd name="T6" fmla="*/ 815 w 835"/>
                  <a:gd name="T7" fmla="*/ 9 h 834"/>
                  <a:gd name="T8" fmla="*/ 825 w 835"/>
                  <a:gd name="T9" fmla="*/ 20 h 834"/>
                  <a:gd name="T10" fmla="*/ 833 w 835"/>
                  <a:gd name="T11" fmla="*/ 34 h 834"/>
                  <a:gd name="T12" fmla="*/ 835 w 835"/>
                  <a:gd name="T13" fmla="*/ 51 h 834"/>
                  <a:gd name="T14" fmla="*/ 835 w 835"/>
                  <a:gd name="T15" fmla="*/ 784 h 834"/>
                  <a:gd name="T16" fmla="*/ 833 w 835"/>
                  <a:gd name="T17" fmla="*/ 799 h 834"/>
                  <a:gd name="T18" fmla="*/ 825 w 835"/>
                  <a:gd name="T19" fmla="*/ 814 h 834"/>
                  <a:gd name="T20" fmla="*/ 815 w 835"/>
                  <a:gd name="T21" fmla="*/ 825 h 834"/>
                  <a:gd name="T22" fmla="*/ 800 w 835"/>
                  <a:gd name="T23" fmla="*/ 832 h 834"/>
                  <a:gd name="T24" fmla="*/ 783 w 835"/>
                  <a:gd name="T25" fmla="*/ 834 h 834"/>
                  <a:gd name="T26" fmla="*/ 50 w 835"/>
                  <a:gd name="T27" fmla="*/ 834 h 834"/>
                  <a:gd name="T28" fmla="*/ 35 w 835"/>
                  <a:gd name="T29" fmla="*/ 832 h 834"/>
                  <a:gd name="T30" fmla="*/ 20 w 835"/>
                  <a:gd name="T31" fmla="*/ 825 h 834"/>
                  <a:gd name="T32" fmla="*/ 9 w 835"/>
                  <a:gd name="T33" fmla="*/ 814 h 834"/>
                  <a:gd name="T34" fmla="*/ 2 w 835"/>
                  <a:gd name="T35" fmla="*/ 799 h 834"/>
                  <a:gd name="T36" fmla="*/ 0 w 835"/>
                  <a:gd name="T37" fmla="*/ 784 h 834"/>
                  <a:gd name="T38" fmla="*/ 0 w 835"/>
                  <a:gd name="T39" fmla="*/ 51 h 834"/>
                  <a:gd name="T40" fmla="*/ 2 w 835"/>
                  <a:gd name="T41" fmla="*/ 34 h 834"/>
                  <a:gd name="T42" fmla="*/ 9 w 835"/>
                  <a:gd name="T43" fmla="*/ 20 h 834"/>
                  <a:gd name="T44" fmla="*/ 20 w 835"/>
                  <a:gd name="T45" fmla="*/ 9 h 834"/>
                  <a:gd name="T46" fmla="*/ 35 w 835"/>
                  <a:gd name="T47" fmla="*/ 2 h 834"/>
                  <a:gd name="T48" fmla="*/ 50 w 835"/>
                  <a:gd name="T49" fmla="*/ 0 h 8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35" h="834">
                    <a:moveTo>
                      <a:pt x="50" y="0"/>
                    </a:moveTo>
                    <a:lnTo>
                      <a:pt x="783" y="0"/>
                    </a:lnTo>
                    <a:lnTo>
                      <a:pt x="800" y="2"/>
                    </a:lnTo>
                    <a:lnTo>
                      <a:pt x="815" y="9"/>
                    </a:lnTo>
                    <a:lnTo>
                      <a:pt x="825" y="20"/>
                    </a:lnTo>
                    <a:lnTo>
                      <a:pt x="833" y="34"/>
                    </a:lnTo>
                    <a:lnTo>
                      <a:pt x="835" y="51"/>
                    </a:lnTo>
                    <a:lnTo>
                      <a:pt x="835" y="784"/>
                    </a:lnTo>
                    <a:lnTo>
                      <a:pt x="833" y="799"/>
                    </a:lnTo>
                    <a:lnTo>
                      <a:pt x="825" y="814"/>
                    </a:lnTo>
                    <a:lnTo>
                      <a:pt x="815" y="825"/>
                    </a:lnTo>
                    <a:lnTo>
                      <a:pt x="800" y="832"/>
                    </a:lnTo>
                    <a:lnTo>
                      <a:pt x="783" y="834"/>
                    </a:lnTo>
                    <a:lnTo>
                      <a:pt x="50" y="834"/>
                    </a:lnTo>
                    <a:lnTo>
                      <a:pt x="35" y="832"/>
                    </a:lnTo>
                    <a:lnTo>
                      <a:pt x="20" y="825"/>
                    </a:lnTo>
                    <a:lnTo>
                      <a:pt x="9" y="814"/>
                    </a:lnTo>
                    <a:lnTo>
                      <a:pt x="2" y="799"/>
                    </a:lnTo>
                    <a:lnTo>
                      <a:pt x="0" y="784"/>
                    </a:lnTo>
                    <a:lnTo>
                      <a:pt x="0" y="51"/>
                    </a:lnTo>
                    <a:lnTo>
                      <a:pt x="2" y="34"/>
                    </a:lnTo>
                    <a:lnTo>
                      <a:pt x="9" y="20"/>
                    </a:lnTo>
                    <a:lnTo>
                      <a:pt x="20" y="9"/>
                    </a:lnTo>
                    <a:lnTo>
                      <a:pt x="35" y="2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200"/>
              </a:p>
            </p:txBody>
          </p:sp>
        </p:grpSp>
        <p:sp>
          <p:nvSpPr>
            <p:cNvPr id="49" name="TextBox 48"/>
            <p:cNvSpPr txBox="1"/>
            <p:nvPr/>
          </p:nvSpPr>
          <p:spPr>
            <a:xfrm>
              <a:off x="9740528" y="2132447"/>
              <a:ext cx="577081" cy="184666"/>
            </a:xfrm>
            <a:prstGeom prst="rect">
              <a:avLst/>
            </a:prstGeom>
          </p:spPr>
          <p:txBody>
            <a:bodyPr vert="horz" wrap="none" lIns="19050" tIns="0" rIns="1905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200" dirty="0"/>
                <a:t>Forklifts</a:t>
              </a: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4495022" y="1975275"/>
            <a:ext cx="527286" cy="184666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Truck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851150" y="2278280"/>
            <a:ext cx="1335054" cy="184666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sz="1200" dirty="0"/>
              <a:t>Trains &amp; tramway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126412" y="2562492"/>
            <a:ext cx="604602" cy="184666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Synfuel</a:t>
            </a:r>
            <a:r>
              <a:rPr lang="en-US" sz="1200" baseline="30000" dirty="0"/>
              <a:t>2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2793049" y="1990771"/>
            <a:ext cx="791013" cy="184666"/>
          </a:xfrm>
          <a:prstGeom prst="rect">
            <a:avLst/>
          </a:prstGeom>
        </p:spPr>
        <p:txBody>
          <a:bodyPr vert="horz" wrap="squar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Small car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230488" y="1254098"/>
            <a:ext cx="737381" cy="369332"/>
          </a:xfrm>
          <a:prstGeom prst="rect">
            <a:avLst/>
          </a:prstGeom>
        </p:spPr>
        <p:txBody>
          <a:bodyPr vert="horz" wrap="none" lIns="19050" tIns="0" rIns="1905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Power </a:t>
            </a:r>
            <a:r>
              <a:rPr lang="en-US" sz="1200" dirty="0" err="1"/>
              <a:t>ge</a:t>
            </a:r>
            <a:r>
              <a:rPr lang="en-US" sz="1200" dirty="0"/>
              <a:t>-</a:t>
            </a:r>
          </a:p>
          <a:p>
            <a:r>
              <a:rPr lang="en-US" sz="1200" dirty="0" err="1"/>
              <a:t>neration</a:t>
            </a:r>
            <a:endParaRPr lang="en-US" sz="1200" dirty="0"/>
          </a:p>
        </p:txBody>
      </p:sp>
      <p:sp>
        <p:nvSpPr>
          <p:cNvPr id="448" name="TextBox 447"/>
          <p:cNvSpPr txBox="1"/>
          <p:nvPr/>
        </p:nvSpPr>
        <p:spPr>
          <a:xfrm>
            <a:off x="4583831" y="1336445"/>
            <a:ext cx="503792" cy="184666"/>
          </a:xfrm>
          <a:prstGeom prst="rect">
            <a:avLst/>
          </a:prstGeom>
        </p:spPr>
        <p:txBody>
          <a:bodyPr vert="horz" wrap="none" lIns="19050" tIns="0" rIns="1905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dirty="0"/>
              <a:t>Buffer</a:t>
            </a:r>
            <a:r>
              <a:rPr lang="en-US" sz="1200" baseline="30000" dirty="0"/>
              <a:t>1</a:t>
            </a:r>
          </a:p>
        </p:txBody>
      </p:sp>
      <p:sp>
        <p:nvSpPr>
          <p:cNvPr id="450" name="TextBox 449"/>
          <p:cNvSpPr txBox="1"/>
          <p:nvPr/>
        </p:nvSpPr>
        <p:spPr>
          <a:xfrm>
            <a:off x="969226" y="4869797"/>
            <a:ext cx="99263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3"/>
                </a:solidFill>
              </a:rPr>
              <a:t>Industry feedstock</a:t>
            </a:r>
          </a:p>
        </p:txBody>
      </p:sp>
      <p:sp>
        <p:nvSpPr>
          <p:cNvPr id="453" name="TextBox 452"/>
          <p:cNvSpPr txBox="1"/>
          <p:nvPr/>
        </p:nvSpPr>
        <p:spPr>
          <a:xfrm>
            <a:off x="969225" y="3952291"/>
            <a:ext cx="1223563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rgbClr val="EE9D44"/>
                </a:solidFill>
              </a:rPr>
              <a:t>Building heat</a:t>
            </a:r>
            <a:br>
              <a:rPr lang="en-US" sz="1400" b="1" dirty="0">
                <a:solidFill>
                  <a:srgbClr val="EE9D44"/>
                </a:solidFill>
              </a:rPr>
            </a:br>
            <a:r>
              <a:rPr lang="en-US" sz="1400" b="1" dirty="0">
                <a:solidFill>
                  <a:srgbClr val="EE9D44"/>
                </a:solidFill>
              </a:rPr>
              <a:t>and power</a:t>
            </a:r>
          </a:p>
        </p:txBody>
      </p:sp>
      <p:sp>
        <p:nvSpPr>
          <p:cNvPr id="457" name="TextBox 456"/>
          <p:cNvSpPr txBox="1"/>
          <p:nvPr/>
        </p:nvSpPr>
        <p:spPr>
          <a:xfrm>
            <a:off x="969226" y="3042125"/>
            <a:ext cx="99263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Industrial energy</a:t>
            </a:r>
          </a:p>
        </p:txBody>
      </p:sp>
      <p:sp>
        <p:nvSpPr>
          <p:cNvPr id="459" name="TextBox 458"/>
          <p:cNvSpPr txBox="1"/>
          <p:nvPr/>
        </p:nvSpPr>
        <p:spPr>
          <a:xfrm>
            <a:off x="969226" y="2134507"/>
            <a:ext cx="99263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4"/>
                </a:solidFill>
              </a:rPr>
              <a:t>Trans-</a:t>
            </a:r>
            <a:br>
              <a:rPr lang="en-US" sz="1400" b="1" dirty="0">
                <a:solidFill>
                  <a:schemeClr val="accent4"/>
                </a:solidFill>
              </a:rPr>
            </a:br>
            <a:r>
              <a:rPr lang="en-US" sz="1400" b="1" dirty="0" err="1">
                <a:solidFill>
                  <a:schemeClr val="accent4"/>
                </a:solidFill>
              </a:rPr>
              <a:t>portation</a:t>
            </a:r>
            <a:endParaRPr lang="en-US" sz="1400" b="1" dirty="0">
              <a:solidFill>
                <a:schemeClr val="accent4"/>
              </a:solidFill>
            </a:endParaRPr>
          </a:p>
        </p:txBody>
      </p:sp>
      <p:sp>
        <p:nvSpPr>
          <p:cNvPr id="461" name="TextBox 460"/>
          <p:cNvSpPr txBox="1"/>
          <p:nvPr/>
        </p:nvSpPr>
        <p:spPr>
          <a:xfrm>
            <a:off x="969226" y="1229146"/>
            <a:ext cx="992635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</a:rPr>
              <a:t>Power generation</a:t>
            </a:r>
          </a:p>
        </p:txBody>
      </p:sp>
    </p:spTree>
    <p:extLst>
      <p:ext uri="{BB962C8B-B14F-4D97-AF65-F5344CB8AC3E}">
        <p14:creationId xmlns:p14="http://schemas.microsoft.com/office/powerpoint/2010/main" val="34359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006415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23" name="think-cell Slide" r:id="rId17" imgW="530" imgH="528" progId="TCLayout.ActiveDocument.1">
                  <p:embed/>
                </p:oleObj>
              </mc:Choice>
              <mc:Fallback>
                <p:oleObj name="think-cell Slide" r:id="rId17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012" y="300371"/>
            <a:ext cx="11749088" cy="923330"/>
          </a:xfrm>
        </p:spPr>
        <p:txBody>
          <a:bodyPr/>
          <a:lstStyle/>
          <a:p>
            <a:r>
              <a:rPr lang="en-US" dirty="0"/>
              <a:t>In transport, industry and buildings hydrogen could contribute</a:t>
            </a:r>
            <a:br>
              <a:rPr lang="en-US" dirty="0"/>
            </a:br>
            <a:r>
              <a:rPr lang="en-US" dirty="0"/>
              <a:t>40-60% of required CO</a:t>
            </a:r>
            <a:r>
              <a:rPr lang="en-US" baseline="-25000" dirty="0"/>
              <a:t>2</a:t>
            </a:r>
            <a:r>
              <a:rPr lang="en-US" dirty="0"/>
              <a:t> abatement</a:t>
            </a:r>
          </a:p>
        </p:txBody>
      </p: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gray">
          <a:xfrm>
            <a:off x="5362575" y="3448050"/>
            <a:ext cx="0" cy="17145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gray">
          <a:xfrm>
            <a:off x="4800600" y="2828925"/>
            <a:ext cx="0" cy="17145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 bwMode="gray">
          <a:xfrm>
            <a:off x="5915025" y="4676775"/>
            <a:ext cx="0" cy="17145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7"/>
            </p:custDataLst>
          </p:nvPr>
        </p:nvCxnSpPr>
        <p:spPr bwMode="gray">
          <a:xfrm>
            <a:off x="6143625" y="5295900"/>
            <a:ext cx="0" cy="17145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8"/>
            </p:custDataLst>
          </p:nvPr>
        </p:nvCxnSpPr>
        <p:spPr bwMode="gray">
          <a:xfrm>
            <a:off x="5810250" y="4067175"/>
            <a:ext cx="0" cy="17145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21184124"/>
              </p:ext>
            </p:extLst>
          </p:nvPr>
        </p:nvGraphicFramePr>
        <p:xfrm>
          <a:off x="3429000" y="2171700"/>
          <a:ext cx="2819514" cy="39338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24" name="Chart" r:id="rId19" imgW="2819514" imgH="3933831" progId="MSGraph.Chart.8">
                  <p:embed followColorScheme="full"/>
                </p:oleObj>
              </mc:Choice>
              <mc:Fallback>
                <p:oleObj name="Chart" r:id="rId19" imgW="2819514" imgH="393383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3429000" y="2171700"/>
                        <a:ext cx="2819514" cy="39338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37125" y="3117850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2E77E89-38CC-41C5-B0A5-582AE9CAD20A}" type="datetime'5''.8'''''">
              <a:rPr lang="de-DE" altLang="en-US">
                <a:solidFill>
                  <a:schemeClr val="bg1"/>
                </a:solidFill>
              </a:rPr>
              <a:pPr/>
              <a:t>5.8</a:t>
            </a:fld>
            <a:endParaRPr lang="de-DE" dirty="0">
              <a:solidFill>
                <a:schemeClr val="bg1"/>
              </a:solidFill>
              <a:sym typeface="+mn-lt"/>
            </a:endParaRPr>
          </a:p>
        </p:txBody>
      </p:sp>
      <p:sp useBgFill="1">
        <p:nvSpPr>
          <p:cNvPr id="4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718175" y="4351338"/>
            <a:ext cx="290513" cy="212725"/>
          </a:xfrm>
          <a:prstGeom prst="rect">
            <a:avLst/>
          </a:prstGeom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231D2A1-0C95-486B-9E1D-963646D2FBB4}" type="datetime'''1''''''''.''''''''''''''''''''''''''''''''''1'''''''">
              <a:rPr lang="de-DE" altLang="en-US"/>
              <a:pPr/>
              <a:t>1.1</a:t>
            </a:fld>
            <a:endParaRPr lang="de-DE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884863" y="4965700"/>
            <a:ext cx="290513" cy="212725"/>
          </a:xfrm>
          <a:prstGeom prst="rect">
            <a:avLst/>
          </a:prstGeom>
          <a:solidFill>
            <a:schemeClr val="accent1"/>
          </a:solidFill>
          <a:ex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01E52B9-0119-42B8-A896-97149A8C6CC2}" type="datetime'''''''2''.''''''''3'">
              <a:rPr lang="de-DE" altLang="en-US"/>
              <a:pPr/>
              <a:t>2.3</a:t>
            </a:fld>
            <a:endParaRPr lang="de-DE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41950" y="37369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385B2F4-AF38-4798-B4C4-733E902691D0}" type="datetime'''''4''''''''.''''6'''''''''''''''''''''''''''''">
              <a:rPr lang="de-DE" altLang="en-US">
                <a:solidFill>
                  <a:schemeClr val="bg1"/>
                </a:solidFill>
              </a:rPr>
              <a:pPr/>
              <a:t>4.6</a:t>
            </a:fld>
            <a:endParaRPr lang="de-DE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169025" y="558482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AF3B4FF-48FC-4215-BD9E-B65A43863258}" type="datetime'2''''''''''''6''.''''''''''''''''''''6'''''''''''''''">
              <a:rPr lang="de-DE" altLang="en-US"/>
              <a:pPr/>
              <a:t>26.6</a:t>
            </a:fld>
            <a:endParaRPr lang="de-DE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26000" y="2498725"/>
            <a:ext cx="388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EAA9447-544C-4717-BE17-E58523D82C7B}" type="datetime'''''''1''''''''''''''''''2.''''''9'''''''''''''''''''''''''">
              <a:rPr lang="de-DE" altLang="en-US"/>
              <a:pPr/>
              <a:t>12.9</a:t>
            </a:fld>
            <a:endParaRPr lang="de-DE" dirty="0">
              <a:sym typeface="+mn-lt"/>
            </a:endParaRPr>
          </a:p>
        </p:txBody>
      </p:sp>
      <p:sp>
        <p:nvSpPr>
          <p:cNvPr id="11" name="5. Source">
            <a:extLst>
              <a:ext uri="{FF2B5EF4-FFF2-40B4-BE49-F238E27FC236}">
                <a16:creationId xmlns:a16="http://schemas.microsoft.com/office/drawing/2014/main" id="{F0B8864D-4BB2-436D-B970-B965588AF98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8758" y="6508272"/>
            <a:ext cx="878143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de-DE" sz="800" dirty="0" err="1" smtClean="0">
                <a:solidFill>
                  <a:schemeClr val="accent6"/>
                </a:solidFill>
                <a:latin typeface="Arial" panose="020B0604020202020204" pitchFamily="34" charset="0"/>
              </a:rPr>
              <a:t>SOURCES</a:t>
            </a:r>
            <a:r>
              <a:rPr lang="de-DE" sz="800" dirty="0" smtClean="0">
                <a:solidFill>
                  <a:schemeClr val="accent6"/>
                </a:solidFill>
                <a:latin typeface="Arial" panose="020B0604020202020204" pitchFamily="34" charset="0"/>
              </a:rPr>
              <a:t>: </a:t>
            </a:r>
            <a:r>
              <a:rPr lang="de-DE" sz="800" dirty="0" err="1">
                <a:solidFill>
                  <a:schemeClr val="accent6"/>
                </a:solidFill>
                <a:latin typeface="Arial" panose="020B0604020202020204" pitchFamily="34" charset="0"/>
              </a:rPr>
              <a:t>IEA</a:t>
            </a:r>
            <a:r>
              <a:rPr lang="de-DE" sz="800" dirty="0">
                <a:solidFill>
                  <a:schemeClr val="accent6"/>
                </a:solidFill>
                <a:latin typeface="Arial" panose="020B0604020202020204" pitchFamily="34" charset="0"/>
              </a:rPr>
              <a:t>, Hydrogen Council</a:t>
            </a:r>
            <a:endParaRPr lang="x-none" sz="80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5BEC87-7F0B-46A4-B565-0954F5FA25A1}"/>
              </a:ext>
            </a:extLst>
          </p:cNvPr>
          <p:cNvSpPr txBox="1">
            <a:spLocks/>
          </p:cNvSpPr>
          <p:nvPr/>
        </p:nvSpPr>
        <p:spPr>
          <a:xfrm>
            <a:off x="1589088" y="3171825"/>
            <a:ext cx="146640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4"/>
                </a:solidFill>
              </a:rPr>
              <a:t>Transportation</a:t>
            </a:r>
            <a:endParaRPr lang="en-US" b="1" baseline="30000" dirty="0">
              <a:solidFill>
                <a:schemeClr val="accent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23D090-9C2A-4440-A0F6-C0619F7AF963}"/>
              </a:ext>
            </a:extLst>
          </p:cNvPr>
          <p:cNvSpPr txBox="1">
            <a:spLocks/>
          </p:cNvSpPr>
          <p:nvPr/>
        </p:nvSpPr>
        <p:spPr>
          <a:xfrm>
            <a:off x="1589088" y="3708400"/>
            <a:ext cx="146640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Industry energ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3F4E06-0AD3-425D-B002-A941FE99B396}"/>
              </a:ext>
            </a:extLst>
          </p:cNvPr>
          <p:cNvGrpSpPr>
            <a:grpSpLocks/>
          </p:cNvGrpSpPr>
          <p:nvPr/>
        </p:nvGrpSpPr>
        <p:grpSpPr>
          <a:xfrm>
            <a:off x="784225" y="2986088"/>
            <a:ext cx="680521" cy="583939"/>
            <a:chOff x="9316389" y="2922570"/>
            <a:chExt cx="730348" cy="626694"/>
          </a:xfrm>
        </p:grpSpPr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9ABD30CB-1A36-4F23-BDA1-4924DF24A06C}"/>
                </a:ext>
              </a:extLst>
            </p:cNvPr>
            <p:cNvSpPr>
              <a:spLocks/>
            </p:cNvSpPr>
            <p:nvPr/>
          </p:nvSpPr>
          <p:spPr>
            <a:xfrm>
              <a:off x="9316389" y="2922570"/>
              <a:ext cx="690046" cy="586392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B0063FA-A27B-4EA4-9633-C98C0396D8CC}"/>
                </a:ext>
              </a:extLst>
            </p:cNvPr>
            <p:cNvPicPr>
              <a:picLocks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38" t="6145" r="11638" b="17131"/>
            <a:stretch/>
          </p:blipFill>
          <p:spPr>
            <a:xfrm>
              <a:off x="9356691" y="2962872"/>
              <a:ext cx="690046" cy="586392"/>
            </a:xfrm>
            <a:prstGeom prst="hexagon">
              <a:avLst>
                <a:gd name="adj" fmla="val 28490"/>
                <a:gd name="vf" fmla="val 115470"/>
              </a:avLst>
            </a:prstGeom>
            <a:ln w="6350">
              <a:solidFill>
                <a:schemeClr val="accent6">
                  <a:lumMod val="50000"/>
                </a:schemeClr>
              </a:solidFill>
            </a:ln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287A164-DA69-4423-A613-488B2F21492E}"/>
              </a:ext>
            </a:extLst>
          </p:cNvPr>
          <p:cNvGrpSpPr/>
          <p:nvPr/>
        </p:nvGrpSpPr>
        <p:grpSpPr>
          <a:xfrm>
            <a:off x="784225" y="3675063"/>
            <a:ext cx="680521" cy="583939"/>
            <a:chOff x="9316389" y="3616786"/>
            <a:chExt cx="730348" cy="626694"/>
          </a:xfrm>
        </p:grpSpPr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8647A192-A6AA-416C-8D67-CA6E9D789D9C}"/>
                </a:ext>
              </a:extLst>
            </p:cNvPr>
            <p:cNvSpPr>
              <a:spLocks/>
            </p:cNvSpPr>
            <p:nvPr/>
          </p:nvSpPr>
          <p:spPr>
            <a:xfrm>
              <a:off x="9316389" y="3616786"/>
              <a:ext cx="690046" cy="586392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87C3DDC-D8AF-4DEE-A2F8-15EE0B0BC26F}"/>
                </a:ext>
              </a:extLst>
            </p:cNvPr>
            <p:cNvPicPr>
              <a:picLocks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4583" r="11710" b="18837"/>
            <a:stretch/>
          </p:blipFill>
          <p:spPr>
            <a:xfrm>
              <a:off x="9356691" y="3657088"/>
              <a:ext cx="690046" cy="586392"/>
            </a:xfrm>
            <a:prstGeom prst="hexagon">
              <a:avLst>
                <a:gd name="adj" fmla="val 29027"/>
                <a:gd name="vf" fmla="val 115470"/>
              </a:avLst>
            </a:prstGeom>
            <a:ln w="6350">
              <a:solidFill>
                <a:schemeClr val="accent6"/>
              </a:solidFill>
            </a:ln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47DB9A2-F99B-4F80-9C19-BFB44309845B}"/>
              </a:ext>
            </a:extLst>
          </p:cNvPr>
          <p:cNvGrpSpPr/>
          <p:nvPr/>
        </p:nvGrpSpPr>
        <p:grpSpPr>
          <a:xfrm>
            <a:off x="784225" y="2303463"/>
            <a:ext cx="689396" cy="615170"/>
            <a:chOff x="6026684" y="1682248"/>
            <a:chExt cx="739873" cy="660212"/>
          </a:xfrm>
        </p:grpSpPr>
        <p:sp>
          <p:nvSpPr>
            <p:cNvPr id="30" name="Hexagon 29">
              <a:extLst>
                <a:ext uri="{FF2B5EF4-FFF2-40B4-BE49-F238E27FC236}">
                  <a16:creationId xmlns:a16="http://schemas.microsoft.com/office/drawing/2014/main" id="{F2642661-19DF-4CC3-89F3-4366BBAB0F44}"/>
                </a:ext>
              </a:extLst>
            </p:cNvPr>
            <p:cNvSpPr>
              <a:spLocks/>
            </p:cNvSpPr>
            <p:nvPr/>
          </p:nvSpPr>
          <p:spPr>
            <a:xfrm>
              <a:off x="6026684" y="1682248"/>
              <a:ext cx="690046" cy="586392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D1BA1F09-9961-4B37-93F3-7416EB93CAA7}"/>
                </a:ext>
              </a:extLst>
            </p:cNvPr>
            <p:cNvPicPr>
              <a:picLocks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61" t="2503" r="8761" b="20093"/>
            <a:stretch/>
          </p:blipFill>
          <p:spPr>
            <a:xfrm>
              <a:off x="6036209" y="1715766"/>
              <a:ext cx="730348" cy="626694"/>
            </a:xfrm>
            <a:prstGeom prst="hexagon">
              <a:avLst>
                <a:gd name="adj" fmla="val 29028"/>
                <a:gd name="vf" fmla="val 115470"/>
              </a:avLst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71C158CE-C22F-4E61-9AF7-4279F5D5A52C}"/>
              </a:ext>
            </a:extLst>
          </p:cNvPr>
          <p:cNvSpPr txBox="1">
            <a:spLocks/>
          </p:cNvSpPr>
          <p:nvPr/>
        </p:nvSpPr>
        <p:spPr>
          <a:xfrm>
            <a:off x="1589087" y="2378075"/>
            <a:ext cx="1684337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2"/>
                </a:solidFill>
              </a:rPr>
              <a:t>Power generation</a:t>
            </a:r>
            <a:r>
              <a:rPr lang="en-US" b="1" dirty="0">
                <a:solidFill>
                  <a:schemeClr val="accent2"/>
                </a:solidFill>
              </a:rPr>
              <a:t>, buffer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6FE38EE-9C69-4702-A590-C8E5ED69BC11}"/>
              </a:ext>
            </a:extLst>
          </p:cNvPr>
          <p:cNvSpPr txBox="1">
            <a:spLocks/>
          </p:cNvSpPr>
          <p:nvPr/>
        </p:nvSpPr>
        <p:spPr>
          <a:xfrm>
            <a:off x="820738" y="2986088"/>
            <a:ext cx="234798" cy="195059"/>
          </a:xfrm>
          <a:prstGeom prst="hexagon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00166C5-DECB-40D9-B9E4-8E8A9682A950}"/>
              </a:ext>
            </a:extLst>
          </p:cNvPr>
          <p:cNvSpPr txBox="1">
            <a:spLocks/>
          </p:cNvSpPr>
          <p:nvPr/>
        </p:nvSpPr>
        <p:spPr>
          <a:xfrm>
            <a:off x="827088" y="2254250"/>
            <a:ext cx="234798" cy="195059"/>
          </a:xfrm>
          <a:prstGeom prst="hexagon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1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D19DCE7-356B-46FA-8849-388176ED582A}"/>
              </a:ext>
            </a:extLst>
          </p:cNvPr>
          <p:cNvSpPr txBox="1">
            <a:spLocks/>
          </p:cNvSpPr>
          <p:nvPr/>
        </p:nvSpPr>
        <p:spPr>
          <a:xfrm>
            <a:off x="827088" y="3635375"/>
            <a:ext cx="234798" cy="195059"/>
          </a:xfrm>
          <a:prstGeom prst="hexagon">
            <a:avLst/>
          </a:prstGeom>
          <a:solidFill>
            <a:schemeClr val="accent6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5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84225" y="4313238"/>
            <a:ext cx="2260158" cy="610927"/>
            <a:chOff x="157855" y="3727976"/>
            <a:chExt cx="2260158" cy="61092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F6D468D-9D85-4753-B20D-B0F8A9DAE18D}"/>
                </a:ext>
              </a:extLst>
            </p:cNvPr>
            <p:cNvSpPr txBox="1">
              <a:spLocks/>
            </p:cNvSpPr>
            <p:nvPr/>
          </p:nvSpPr>
          <p:spPr>
            <a:xfrm>
              <a:off x="951605" y="3822551"/>
              <a:ext cx="1466408" cy="43088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rgbClr val="EE9D44"/>
                  </a:solidFill>
                </a:rPr>
                <a:t>Building heating</a:t>
              </a:r>
            </a:p>
            <a:p>
              <a:r>
                <a:rPr lang="en-US" b="1" dirty="0">
                  <a:solidFill>
                    <a:srgbClr val="EE9D44"/>
                  </a:solidFill>
                </a:rPr>
                <a:t>and power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1E3B1B4-9E2A-4490-BFF6-593B8C8A8374}"/>
                </a:ext>
              </a:extLst>
            </p:cNvPr>
            <p:cNvGrpSpPr/>
            <p:nvPr/>
          </p:nvGrpSpPr>
          <p:grpSpPr>
            <a:xfrm>
              <a:off x="157855" y="3754963"/>
              <a:ext cx="680521" cy="583940"/>
              <a:chOff x="9316389" y="4311002"/>
              <a:chExt cx="730348" cy="626695"/>
            </a:xfrm>
          </p:grpSpPr>
          <p:sp>
            <p:nvSpPr>
              <p:cNvPr id="27" name="Hexagon 26">
                <a:extLst>
                  <a:ext uri="{FF2B5EF4-FFF2-40B4-BE49-F238E27FC236}">
                    <a16:creationId xmlns:a16="http://schemas.microsoft.com/office/drawing/2014/main" id="{EA6D86EE-E40F-42FE-943A-14EF352C38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316389" y="4311002"/>
                <a:ext cx="690046" cy="586392"/>
              </a:xfrm>
              <a:prstGeom prst="hexagon">
                <a:avLst>
                  <a:gd name="adj" fmla="val 28619"/>
                  <a:gd name="vf" fmla="val 115470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2038A0A1-7466-4AAF-A171-19626E73C0B8}"/>
                  </a:ext>
                </a:extLst>
              </p:cNvPr>
              <p:cNvPicPr>
                <a:picLocks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710" t="11710" r="11710" b="11710"/>
              <a:stretch>
                <a:fillRect/>
              </a:stretch>
            </p:blipFill>
            <p:spPr>
              <a:xfrm>
                <a:off x="9356691" y="4351305"/>
                <a:ext cx="690046" cy="586392"/>
              </a:xfrm>
              <a:prstGeom prst="hexagon">
                <a:avLst>
                  <a:gd name="adj" fmla="val 29027"/>
                  <a:gd name="vf" fmla="val 115470"/>
                </a:avLst>
              </a:prstGeom>
              <a:ln w="6350">
                <a:solidFill>
                  <a:srgbClr val="EE9D44"/>
                </a:solidFill>
              </a:ln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4A1C200-4BE7-4A4F-9E22-C4C7D9EA4345}"/>
                </a:ext>
              </a:extLst>
            </p:cNvPr>
            <p:cNvSpPr txBox="1">
              <a:spLocks/>
            </p:cNvSpPr>
            <p:nvPr/>
          </p:nvSpPr>
          <p:spPr>
            <a:xfrm>
              <a:off x="200717" y="3727976"/>
              <a:ext cx="234798" cy="195059"/>
            </a:xfrm>
            <a:prstGeom prst="hexagon">
              <a:avLst/>
            </a:prstGeom>
            <a:solidFill>
              <a:srgbClr val="EE9D4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1200" dirty="0">
                  <a:solidFill>
                    <a:schemeClr val="lt1"/>
                  </a:solidFill>
                </a:rPr>
                <a:t>6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FC414C7C-0253-4696-919D-8B25D73786C4}"/>
              </a:ext>
            </a:extLst>
          </p:cNvPr>
          <p:cNvSpPr txBox="1">
            <a:spLocks/>
          </p:cNvSpPr>
          <p:nvPr/>
        </p:nvSpPr>
        <p:spPr>
          <a:xfrm>
            <a:off x="1589088" y="3967163"/>
            <a:ext cx="1729742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Industry feedstock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61D3CEF-6226-4264-A386-0D3A3CC91539}"/>
              </a:ext>
            </a:extLst>
          </p:cNvPr>
          <p:cNvSpPr txBox="1">
            <a:spLocks/>
          </p:cNvSpPr>
          <p:nvPr/>
        </p:nvSpPr>
        <p:spPr>
          <a:xfrm>
            <a:off x="982663" y="3635375"/>
            <a:ext cx="234798" cy="195059"/>
          </a:xfrm>
          <a:prstGeom prst="hexagon">
            <a:avLst/>
          </a:prstGeom>
          <a:solidFill>
            <a:schemeClr val="accent3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7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C414C7C-0253-4696-919D-8B25D73786C4}"/>
              </a:ext>
            </a:extLst>
          </p:cNvPr>
          <p:cNvSpPr txBox="1">
            <a:spLocks/>
          </p:cNvSpPr>
          <p:nvPr/>
        </p:nvSpPr>
        <p:spPr>
          <a:xfrm>
            <a:off x="1589088" y="5543550"/>
            <a:ext cx="1357207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b="1" dirty="0"/>
              <a:t>Total</a:t>
            </a:r>
          </a:p>
        </p:txBody>
      </p:sp>
      <p:sp>
        <p:nvSpPr>
          <p:cNvPr id="76" name="4. Footnote"/>
          <p:cNvSpPr txBox="1">
            <a:spLocks noChangeArrowheads="1"/>
          </p:cNvSpPr>
          <p:nvPr/>
        </p:nvSpPr>
        <p:spPr bwMode="gray">
          <a:xfrm>
            <a:off x="158758" y="6153486"/>
            <a:ext cx="878143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1 Aviation, shipping, rail, material handling</a:t>
            </a:r>
          </a:p>
          <a:p>
            <a:pPr>
              <a:defRPr lang="x-none"/>
            </a:pPr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2 Difference between </a:t>
            </a:r>
            <a:r>
              <a:rPr lang="en-US" sz="800" dirty="0" err="1">
                <a:solidFill>
                  <a:schemeClr val="accent6"/>
                </a:solidFill>
                <a:latin typeface="Arial" panose="020B0604020202020204" pitchFamily="34" charset="0"/>
              </a:rPr>
              <a:t>IEA</a:t>
            </a:r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 Reference Technology and 2 degree scenario</a:t>
            </a:r>
            <a:endParaRPr lang="x-none" sz="80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72" name="ACET"/>
          <p:cNvSpPr>
            <a:spLocks noChangeArrowheads="1"/>
          </p:cNvSpPr>
          <p:nvPr/>
        </p:nvSpPr>
        <p:spPr bwMode="gray">
          <a:xfrm>
            <a:off x="3535363" y="1709738"/>
            <a:ext cx="3362961" cy="51117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baseline="0" noProof="0" dirty="0">
                <a:latin typeface="+mn-lt"/>
                <a:ea typeface="+mn-ea"/>
              </a:rPr>
              <a:t>Required CO</a:t>
            </a:r>
            <a:r>
              <a:rPr lang="en-US" b="1" baseline="-25000" noProof="0" dirty="0">
                <a:latin typeface="+mn-lt"/>
                <a:ea typeface="+mn-ea"/>
              </a:rPr>
              <a:t>2</a:t>
            </a:r>
            <a:r>
              <a:rPr lang="en-US" b="1" baseline="0" noProof="0" dirty="0">
                <a:latin typeface="+mn-lt"/>
                <a:ea typeface="+mn-ea"/>
              </a:rPr>
              <a:t> abatement for 2DS</a:t>
            </a:r>
            <a:r>
              <a:rPr lang="en-US" b="1" baseline="30000" noProof="0" dirty="0">
                <a:latin typeface="+mn-lt"/>
                <a:ea typeface="+mn-ea"/>
              </a:rPr>
              <a:t>2</a:t>
            </a:r>
          </a:p>
          <a:p>
            <a:r>
              <a:rPr lang="en-US" baseline="0" noProof="0" dirty="0">
                <a:solidFill>
                  <a:schemeClr val="accent6"/>
                </a:solidFill>
                <a:latin typeface="+mn-lt"/>
                <a:ea typeface="+mn-ea"/>
              </a:rPr>
              <a:t>Gt</a:t>
            </a:r>
            <a:r>
              <a:rPr lang="en-US" noProof="0" dirty="0">
                <a:solidFill>
                  <a:schemeClr val="accent6"/>
                </a:solidFill>
                <a:latin typeface="+mn-lt"/>
                <a:ea typeface="+mn-ea"/>
              </a:rPr>
              <a:t> </a:t>
            </a:r>
          </a:p>
        </p:txBody>
      </p:sp>
      <p:sp>
        <p:nvSpPr>
          <p:cNvPr id="89" name="ACET"/>
          <p:cNvSpPr>
            <a:spLocks noChangeArrowheads="1"/>
          </p:cNvSpPr>
          <p:nvPr/>
        </p:nvSpPr>
        <p:spPr bwMode="gray">
          <a:xfrm>
            <a:off x="7148513" y="1709738"/>
            <a:ext cx="3689986" cy="51117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baseline="0" noProof="0" dirty="0">
                <a:latin typeface="+mn-lt"/>
                <a:ea typeface="+mn-ea"/>
              </a:rPr>
              <a:t>Potential contribution</a:t>
            </a:r>
            <a:r>
              <a:rPr lang="en-US" b="1" noProof="0" dirty="0">
                <a:latin typeface="+mn-lt"/>
                <a:ea typeface="+mn-ea"/>
              </a:rPr>
              <a:t> </a:t>
            </a:r>
            <a:r>
              <a:rPr lang="en-US" b="1" baseline="0" noProof="0" dirty="0">
                <a:latin typeface="+mn-lt"/>
                <a:ea typeface="+mn-ea"/>
              </a:rPr>
              <a:t>from hydrogen</a:t>
            </a:r>
            <a:endParaRPr lang="en-US" b="1" baseline="30000" noProof="0" dirty="0">
              <a:latin typeface="+mn-lt"/>
              <a:ea typeface="+mn-ea"/>
            </a:endParaRPr>
          </a:p>
          <a:p>
            <a:r>
              <a:rPr lang="en-US" baseline="0" noProof="0" dirty="0" smtClean="0">
                <a:solidFill>
                  <a:schemeClr val="accent6"/>
                </a:solidFill>
                <a:latin typeface="+mn-lt"/>
                <a:ea typeface="+mn-ea"/>
              </a:rPr>
              <a:t>Share of </a:t>
            </a:r>
            <a:r>
              <a:rPr lang="en-US" baseline="0" noProof="0" dirty="0">
                <a:solidFill>
                  <a:schemeClr val="accent6"/>
                </a:solidFill>
                <a:latin typeface="+mn-lt"/>
                <a:ea typeface="+mn-ea"/>
              </a:rPr>
              <a:t>required CO2 abatement</a:t>
            </a:r>
            <a:endParaRPr lang="en-US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F6D468D-9D85-4753-B20D-B0F8A9DAE18D}"/>
              </a:ext>
            </a:extLst>
          </p:cNvPr>
          <p:cNvSpPr txBox="1">
            <a:spLocks/>
          </p:cNvSpPr>
          <p:nvPr/>
        </p:nvSpPr>
        <p:spPr>
          <a:xfrm>
            <a:off x="1577975" y="5045075"/>
            <a:ext cx="1466408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dirty="0"/>
              <a:t>Other</a:t>
            </a:r>
          </a:p>
        </p:txBody>
      </p:sp>
      <p:sp>
        <p:nvSpPr>
          <p:cNvPr id="6" name="Oval 5"/>
          <p:cNvSpPr/>
          <p:nvPr/>
        </p:nvSpPr>
        <p:spPr>
          <a:xfrm>
            <a:off x="8686483" y="2563813"/>
            <a:ext cx="94078" cy="94078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223058" y="2487613"/>
            <a:ext cx="47716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~ 3</a:t>
            </a:r>
          </a:p>
        </p:txBody>
      </p:sp>
      <p:sp>
        <p:nvSpPr>
          <p:cNvPr id="60" name="Oval 59"/>
          <p:cNvSpPr/>
          <p:nvPr/>
        </p:nvSpPr>
        <p:spPr>
          <a:xfrm>
            <a:off x="8535670" y="2998788"/>
            <a:ext cx="396000" cy="39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9067483" y="3097213"/>
            <a:ext cx="6320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~ 40</a:t>
            </a:r>
          </a:p>
        </p:txBody>
      </p:sp>
      <p:sp>
        <p:nvSpPr>
          <p:cNvPr id="62" name="Oval 61"/>
          <p:cNvSpPr/>
          <p:nvPr/>
        </p:nvSpPr>
        <p:spPr>
          <a:xfrm>
            <a:off x="8535670" y="3638550"/>
            <a:ext cx="396000" cy="39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9067483" y="3708400"/>
            <a:ext cx="6320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~ 40</a:t>
            </a:r>
          </a:p>
        </p:txBody>
      </p:sp>
      <p:sp>
        <p:nvSpPr>
          <p:cNvPr id="65" name="Oval 64"/>
          <p:cNvSpPr/>
          <p:nvPr/>
        </p:nvSpPr>
        <p:spPr>
          <a:xfrm>
            <a:off x="8481695" y="4221163"/>
            <a:ext cx="504000" cy="504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9067483" y="4318000"/>
            <a:ext cx="6320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~ 60</a:t>
            </a:r>
          </a:p>
        </p:txBody>
      </p:sp>
      <p:sp>
        <p:nvSpPr>
          <p:cNvPr id="67" name="Oval 66"/>
          <p:cNvSpPr/>
          <p:nvPr/>
        </p:nvSpPr>
        <p:spPr>
          <a:xfrm>
            <a:off x="8589645" y="5514975"/>
            <a:ext cx="288000" cy="2880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9067483" y="5538788"/>
            <a:ext cx="63209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/>
              <a:t>~ 20</a:t>
            </a:r>
          </a:p>
        </p:txBody>
      </p:sp>
    </p:spTree>
    <p:extLst>
      <p:ext uri="{BB962C8B-B14F-4D97-AF65-F5344CB8AC3E}">
        <p14:creationId xmlns:p14="http://schemas.microsoft.com/office/powerpoint/2010/main" val="16991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153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3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461665"/>
          </a:xfrm>
        </p:spPr>
        <p:txBody>
          <a:bodyPr/>
          <a:lstStyle/>
          <a:p>
            <a:r>
              <a:rPr lang="en-US" dirty="0"/>
              <a:t>Milestones for 2030 on the path to the 2050 vision</a:t>
            </a:r>
          </a:p>
        </p:txBody>
      </p:sp>
      <p:sp>
        <p:nvSpPr>
          <p:cNvPr id="119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>
                <a:solidFill>
                  <a:schemeClr val="accent6"/>
                </a:solidFill>
                <a:latin typeface="Arial" panose="020B0604020202020204" pitchFamily="34" charset="0"/>
              </a:rPr>
              <a:t>SOURCE: Hydrogen Council</a:t>
            </a:r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2221254" y="1291081"/>
            <a:ext cx="8686231" cy="1044000"/>
          </a:xfrm>
          <a:prstGeom prst="rect">
            <a:avLst/>
          </a:prstGeom>
          <a:gradFill flip="none" rotWithShape="1">
            <a:gsLst>
              <a:gs pos="0">
                <a:srgbClr val="F3F7F6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2221254" y="2434365"/>
            <a:ext cx="8686231" cy="1044000"/>
          </a:xfrm>
          <a:prstGeom prst="rect">
            <a:avLst/>
          </a:prstGeom>
          <a:gradFill flip="none" rotWithShape="1">
            <a:gsLst>
              <a:gs pos="0">
                <a:srgbClr val="F3F7F6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>
            <a:spLocks/>
          </p:cNvSpPr>
          <p:nvPr/>
        </p:nvSpPr>
        <p:spPr>
          <a:xfrm>
            <a:off x="2221254" y="3577649"/>
            <a:ext cx="8686231" cy="1044000"/>
          </a:xfrm>
          <a:prstGeom prst="rect">
            <a:avLst/>
          </a:prstGeom>
          <a:gradFill flip="none" rotWithShape="1">
            <a:gsLst>
              <a:gs pos="0">
                <a:srgbClr val="F3F7F6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>
            <a:spLocks/>
          </p:cNvSpPr>
          <p:nvPr/>
        </p:nvSpPr>
        <p:spPr>
          <a:xfrm>
            <a:off x="2221254" y="4720933"/>
            <a:ext cx="8686231" cy="1044000"/>
          </a:xfrm>
          <a:prstGeom prst="rect">
            <a:avLst/>
          </a:prstGeom>
          <a:gradFill flip="none" rotWithShape="1">
            <a:gsLst>
              <a:gs pos="0">
                <a:srgbClr val="F3F7F6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52" name="Picture 151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13"/>
          <a:stretch/>
        </p:blipFill>
        <p:spPr>
          <a:xfrm>
            <a:off x="1728025" y="1291081"/>
            <a:ext cx="1044000" cy="1044000"/>
          </a:xfrm>
          <a:prstGeom prst="ellipse">
            <a:avLst/>
          </a:prstGeom>
        </p:spPr>
      </p:pic>
      <p:sp>
        <p:nvSpPr>
          <p:cNvPr id="153" name="Oval 152"/>
          <p:cNvSpPr>
            <a:spLocks/>
          </p:cNvSpPr>
          <p:nvPr/>
        </p:nvSpPr>
        <p:spPr>
          <a:xfrm>
            <a:off x="1728025" y="2434365"/>
            <a:ext cx="1044000" cy="1044000"/>
          </a:xfrm>
          <a:prstGeom prst="ellipse">
            <a:avLst/>
          </a:prstGeo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4" name="Oval 153"/>
          <p:cNvSpPr>
            <a:spLocks/>
          </p:cNvSpPr>
          <p:nvPr/>
        </p:nvSpPr>
        <p:spPr>
          <a:xfrm>
            <a:off x="1728025" y="4720933"/>
            <a:ext cx="1044000" cy="1044000"/>
          </a:xfrm>
          <a:prstGeom prst="ellipse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62" name="Picture 161"/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13"/>
          <a:stretch/>
        </p:blipFill>
        <p:spPr>
          <a:xfrm>
            <a:off x="1728025" y="3577649"/>
            <a:ext cx="1044000" cy="1044000"/>
          </a:xfrm>
          <a:prstGeom prst="ellipse">
            <a:avLst/>
          </a:prstGeom>
        </p:spPr>
      </p:pic>
      <p:sp>
        <p:nvSpPr>
          <p:cNvPr id="144" name="TextBox 143"/>
          <p:cNvSpPr txBox="1">
            <a:spLocks/>
          </p:cNvSpPr>
          <p:nvPr/>
        </p:nvSpPr>
        <p:spPr>
          <a:xfrm>
            <a:off x="2930659" y="1505305"/>
            <a:ext cx="7518433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lvl="1"/>
            <a:r>
              <a:rPr lang="en-US" sz="2000" b="1" dirty="0">
                <a:solidFill>
                  <a:schemeClr val="accent4"/>
                </a:solidFill>
              </a:rPr>
              <a:t>1 in 12 passenger cars </a:t>
            </a:r>
            <a:r>
              <a:rPr lang="en-US" sz="2000" b="1" dirty="0" smtClean="0">
                <a:solidFill>
                  <a:schemeClr val="accent4"/>
                </a:solidFill>
              </a:rPr>
              <a:t>sold powered </a:t>
            </a:r>
            <a:r>
              <a:rPr lang="en-US" sz="2000" b="1" dirty="0">
                <a:solidFill>
                  <a:schemeClr val="accent4"/>
                </a:solidFill>
              </a:rPr>
              <a:t>by fuel cells </a:t>
            </a:r>
            <a:r>
              <a:rPr lang="en-US" sz="2000" dirty="0"/>
              <a:t>in early-adoption markets: Germany, California, Japan and South Korea</a:t>
            </a:r>
          </a:p>
        </p:txBody>
      </p:sp>
      <p:sp>
        <p:nvSpPr>
          <p:cNvPr id="146" name="TextBox 145"/>
          <p:cNvSpPr txBox="1">
            <a:spLocks/>
          </p:cNvSpPr>
          <p:nvPr/>
        </p:nvSpPr>
        <p:spPr>
          <a:xfrm>
            <a:off x="2930659" y="3791873"/>
            <a:ext cx="7518433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lvl="1"/>
            <a:r>
              <a:rPr lang="en-US" sz="2000" b="1" dirty="0">
                <a:solidFill>
                  <a:srgbClr val="EE9D44"/>
                </a:solidFill>
              </a:rPr>
              <a:t>50 million households </a:t>
            </a:r>
            <a:r>
              <a:rPr lang="en-US" sz="2000" dirty="0"/>
              <a:t>connected to a network safely blending hydrogen and natural gas</a:t>
            </a:r>
            <a:endParaRPr lang="en-US" sz="2000" b="1" dirty="0">
              <a:solidFill>
                <a:schemeClr val="accent4"/>
              </a:solidFill>
            </a:endParaRPr>
          </a:p>
        </p:txBody>
      </p:sp>
      <p:sp>
        <p:nvSpPr>
          <p:cNvPr id="147" name="TextBox 146"/>
          <p:cNvSpPr txBox="1">
            <a:spLocks/>
          </p:cNvSpPr>
          <p:nvPr/>
        </p:nvSpPr>
        <p:spPr>
          <a:xfrm>
            <a:off x="2930659" y="4935157"/>
            <a:ext cx="7518433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lvl="1"/>
            <a:r>
              <a:rPr lang="en-US" sz="2000" b="1" dirty="0">
                <a:solidFill>
                  <a:schemeClr val="accent3"/>
                </a:solidFill>
              </a:rPr>
              <a:t>20 Mt CO</a:t>
            </a:r>
            <a:r>
              <a:rPr lang="en-US" sz="2000" b="1" baseline="-25000" dirty="0">
                <a:solidFill>
                  <a:schemeClr val="accent3"/>
                </a:solidFill>
              </a:rPr>
              <a:t>2 </a:t>
            </a:r>
            <a:r>
              <a:rPr lang="en-US" sz="2000" dirty="0"/>
              <a:t>converted to chemicals and intermediates such as </a:t>
            </a:r>
            <a:r>
              <a:rPr lang="en-US" sz="2000" b="1" dirty="0">
                <a:solidFill>
                  <a:schemeClr val="accent3"/>
                </a:solidFill>
              </a:rPr>
              <a:t>methanol</a:t>
            </a:r>
            <a:r>
              <a:rPr lang="en-US" sz="2000" dirty="0"/>
              <a:t> using hydrogen</a:t>
            </a:r>
            <a:endParaRPr lang="en-US" sz="2000" b="1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2930659" y="2648589"/>
            <a:ext cx="7518433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lvl="1"/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3.5 Mt </a:t>
            </a:r>
            <a:r>
              <a:rPr lang="en-US" sz="2000" dirty="0"/>
              <a:t>hydrogen</a:t>
            </a:r>
            <a:r>
              <a:rPr lang="en-US" sz="2000" b="1" dirty="0">
                <a:solidFill>
                  <a:schemeClr val="tx2"/>
                </a:solidFill>
              </a:rPr>
              <a:t> </a:t>
            </a:r>
            <a:r>
              <a:rPr lang="en-US" sz="2000" dirty="0"/>
              <a:t>used for 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high-grade heat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in first large-scale projects</a:t>
            </a:r>
          </a:p>
        </p:txBody>
      </p:sp>
      <p:pic>
        <p:nvPicPr>
          <p:cNvPr id="29" name="Picture 28"/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8" t="6145" r="11638" b="17131"/>
          <a:stretch/>
        </p:blipFill>
        <p:spPr>
          <a:xfrm>
            <a:off x="363008" y="1437740"/>
            <a:ext cx="1103983" cy="882717"/>
          </a:xfrm>
          <a:prstGeom prst="hexagon">
            <a:avLst>
              <a:gd name="adj" fmla="val 28490"/>
              <a:gd name="vf" fmla="val 115470"/>
            </a:avLst>
          </a:prstGeom>
          <a:ln w="12700">
            <a:solidFill>
              <a:schemeClr val="accent4"/>
            </a:solidFill>
          </a:ln>
        </p:spPr>
      </p:pic>
      <p:sp>
        <p:nvSpPr>
          <p:cNvPr id="30" name="TextBox 29"/>
          <p:cNvSpPr txBox="1">
            <a:spLocks/>
          </p:cNvSpPr>
          <p:nvPr/>
        </p:nvSpPr>
        <p:spPr>
          <a:xfrm>
            <a:off x="556938" y="1371336"/>
            <a:ext cx="324000" cy="252000"/>
          </a:xfrm>
          <a:prstGeom prst="hexagon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4</a:t>
            </a:r>
          </a:p>
        </p:txBody>
      </p:sp>
      <p:pic>
        <p:nvPicPr>
          <p:cNvPr id="33" name="Picture 32"/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t="4583" r="11710" b="18837"/>
          <a:stretch/>
        </p:blipFill>
        <p:spPr>
          <a:xfrm>
            <a:off x="363008" y="2596376"/>
            <a:ext cx="1103983" cy="882717"/>
          </a:xfrm>
          <a:prstGeom prst="hexagon">
            <a:avLst>
              <a:gd name="adj" fmla="val 29027"/>
              <a:gd name="vf" fmla="val 115470"/>
            </a:avLst>
          </a:prstGeom>
          <a:ln w="12700">
            <a:solidFill>
              <a:schemeClr val="accent6"/>
            </a:solidFill>
          </a:ln>
        </p:spPr>
      </p:pic>
      <p:sp>
        <p:nvSpPr>
          <p:cNvPr id="34" name="TextBox 33"/>
          <p:cNvSpPr txBox="1">
            <a:spLocks/>
          </p:cNvSpPr>
          <p:nvPr/>
        </p:nvSpPr>
        <p:spPr>
          <a:xfrm>
            <a:off x="567257" y="2516894"/>
            <a:ext cx="324000" cy="252000"/>
          </a:xfrm>
          <a:prstGeom prst="hexagon">
            <a:avLst/>
          </a:prstGeom>
          <a:solidFill>
            <a:schemeClr val="accent6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5</a:t>
            </a:r>
          </a:p>
        </p:txBody>
      </p:sp>
      <p:pic>
        <p:nvPicPr>
          <p:cNvPr id="35" name="Picture 34"/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t="11710" r="11710" b="11710"/>
          <a:stretch>
            <a:fillRect/>
          </a:stretch>
        </p:blipFill>
        <p:spPr>
          <a:xfrm>
            <a:off x="363008" y="3708055"/>
            <a:ext cx="1103983" cy="882717"/>
          </a:xfrm>
          <a:prstGeom prst="hexagon">
            <a:avLst>
              <a:gd name="adj" fmla="val 29027"/>
              <a:gd name="vf" fmla="val 115470"/>
            </a:avLst>
          </a:prstGeom>
          <a:ln w="12700">
            <a:solidFill>
              <a:srgbClr val="EE9D44"/>
            </a:solidFill>
          </a:ln>
        </p:spPr>
      </p:pic>
      <p:sp>
        <p:nvSpPr>
          <p:cNvPr id="36" name="TextBox 35"/>
          <p:cNvSpPr txBox="1">
            <a:spLocks/>
          </p:cNvSpPr>
          <p:nvPr/>
        </p:nvSpPr>
        <p:spPr>
          <a:xfrm>
            <a:off x="567257" y="3631978"/>
            <a:ext cx="324000" cy="252000"/>
          </a:xfrm>
          <a:prstGeom prst="hexagon">
            <a:avLst/>
          </a:prstGeom>
          <a:solidFill>
            <a:srgbClr val="EE9D44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6</a:t>
            </a:r>
          </a:p>
        </p:txBody>
      </p:sp>
      <p:pic>
        <p:nvPicPr>
          <p:cNvPr id="37" name="Picture 36"/>
          <p:cNvPicPr>
            <a:picLocks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0" t="6227" r="11710" b="17192"/>
          <a:stretch/>
        </p:blipFill>
        <p:spPr>
          <a:xfrm>
            <a:off x="419793" y="4832834"/>
            <a:ext cx="1103983" cy="882717"/>
          </a:xfrm>
          <a:prstGeom prst="hexagon">
            <a:avLst>
              <a:gd name="adj" fmla="val 28490"/>
              <a:gd name="vf" fmla="val 115470"/>
            </a:avLst>
          </a:prstGeom>
          <a:ln w="12700">
            <a:solidFill>
              <a:schemeClr val="accent3"/>
            </a:solidFill>
          </a:ln>
        </p:spPr>
      </p:pic>
      <p:sp>
        <p:nvSpPr>
          <p:cNvPr id="39" name="TextBox 38"/>
          <p:cNvSpPr txBox="1">
            <a:spLocks/>
          </p:cNvSpPr>
          <p:nvPr/>
        </p:nvSpPr>
        <p:spPr>
          <a:xfrm>
            <a:off x="624042" y="4736353"/>
            <a:ext cx="324000" cy="252000"/>
          </a:xfrm>
          <a:prstGeom prst="hexagon">
            <a:avLst/>
          </a:prstGeom>
          <a:solidFill>
            <a:schemeClr val="accent3"/>
          </a:solidFill>
        </p:spPr>
        <p:txBody>
          <a:bodyPr vert="horz" wrap="square" lIns="0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algn="ctr">
              <a:buClr>
                <a:schemeClr val="bg2"/>
              </a:buClr>
            </a:pPr>
            <a:r>
              <a:rPr lang="en-US" sz="1200" dirty="0">
                <a:solidFill>
                  <a:schemeClr val="lt1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40159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68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26"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1CD7D6B-38B8-4FE4-B5F6-008ACD1F12D6}"/>
              </a:ext>
            </a:extLst>
          </p:cNvPr>
          <p:cNvSpPr/>
          <p:nvPr/>
        </p:nvSpPr>
        <p:spPr>
          <a:xfrm>
            <a:off x="207963" y="4289425"/>
            <a:ext cx="6637336" cy="205846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4902E3A-B5F3-4E1D-B983-E862CB8DC538}"/>
              </a:ext>
            </a:extLst>
          </p:cNvPr>
          <p:cNvGrpSpPr/>
          <p:nvPr/>
        </p:nvGrpSpPr>
        <p:grpSpPr>
          <a:xfrm>
            <a:off x="7793852" y="2813050"/>
            <a:ext cx="1558177" cy="3157964"/>
            <a:chOff x="9407003" y="2549904"/>
            <a:chExt cx="1320801" cy="3157964"/>
          </a:xfrm>
        </p:grpSpPr>
        <p:sp>
          <p:nvSpPr>
            <p:cNvPr id="71" name="Freeform 3">
              <a:extLst>
                <a:ext uri="{FF2B5EF4-FFF2-40B4-BE49-F238E27FC236}">
                  <a16:creationId xmlns:a16="http://schemas.microsoft.com/office/drawing/2014/main" id="{FA55ACD5-49F3-49A2-83E8-6D394FFF9750}"/>
                </a:ext>
              </a:extLst>
            </p:cNvPr>
            <p:cNvSpPr/>
            <p:nvPr/>
          </p:nvSpPr>
          <p:spPr>
            <a:xfrm>
              <a:off x="9407003" y="2549904"/>
              <a:ext cx="1320801" cy="1579379"/>
            </a:xfrm>
            <a:custGeom>
              <a:avLst/>
              <a:gdLst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7045"/>
                <a:gd name="connsiteX1" fmla="*/ 800100 w 1540934"/>
                <a:gd name="connsiteY1" fmla="*/ 1134533 h 1587045"/>
                <a:gd name="connsiteX2" fmla="*/ 791634 w 1540934"/>
                <a:gd name="connsiteY2" fmla="*/ 431800 h 1587045"/>
                <a:gd name="connsiteX3" fmla="*/ 1244600 w 1540934"/>
                <a:gd name="connsiteY3" fmla="*/ 0 h 1587045"/>
                <a:gd name="connsiteX4" fmla="*/ 1540934 w 1540934"/>
                <a:gd name="connsiteY4" fmla="*/ 0 h 1587045"/>
                <a:gd name="connsiteX0" fmla="*/ 0 w 1540934"/>
                <a:gd name="connsiteY0" fmla="*/ 1583266 h 1586189"/>
                <a:gd name="connsiteX1" fmla="*/ 800100 w 1540934"/>
                <a:gd name="connsiteY1" fmla="*/ 1134533 h 1586189"/>
                <a:gd name="connsiteX2" fmla="*/ 791634 w 1540934"/>
                <a:gd name="connsiteY2" fmla="*/ 431800 h 1586189"/>
                <a:gd name="connsiteX3" fmla="*/ 1244600 w 1540934"/>
                <a:gd name="connsiteY3" fmla="*/ 0 h 1586189"/>
                <a:gd name="connsiteX4" fmla="*/ 1540934 w 1540934"/>
                <a:gd name="connsiteY4" fmla="*/ 0 h 1586189"/>
                <a:gd name="connsiteX0" fmla="*/ 0 w 1540934"/>
                <a:gd name="connsiteY0" fmla="*/ 1583266 h 1585511"/>
                <a:gd name="connsiteX1" fmla="*/ 800100 w 1540934"/>
                <a:gd name="connsiteY1" fmla="*/ 1134533 h 1585511"/>
                <a:gd name="connsiteX2" fmla="*/ 791634 w 1540934"/>
                <a:gd name="connsiteY2" fmla="*/ 431800 h 1585511"/>
                <a:gd name="connsiteX3" fmla="*/ 1244600 w 1540934"/>
                <a:gd name="connsiteY3" fmla="*/ 0 h 1585511"/>
                <a:gd name="connsiteX4" fmla="*/ 1540934 w 1540934"/>
                <a:gd name="connsiteY4" fmla="*/ 0 h 1585511"/>
                <a:gd name="connsiteX0" fmla="*/ 0 w 1320801"/>
                <a:gd name="connsiteY0" fmla="*/ 1579033 h 1581321"/>
                <a:gd name="connsiteX1" fmla="*/ 579967 w 1320801"/>
                <a:gd name="connsiteY1" fmla="*/ 1134533 h 1581321"/>
                <a:gd name="connsiteX2" fmla="*/ 571501 w 1320801"/>
                <a:gd name="connsiteY2" fmla="*/ 431800 h 1581321"/>
                <a:gd name="connsiteX3" fmla="*/ 1024467 w 1320801"/>
                <a:gd name="connsiteY3" fmla="*/ 0 h 1581321"/>
                <a:gd name="connsiteX4" fmla="*/ 1320801 w 1320801"/>
                <a:gd name="connsiteY4" fmla="*/ 0 h 1581321"/>
                <a:gd name="connsiteX0" fmla="*/ 0 w 1320801"/>
                <a:gd name="connsiteY0" fmla="*/ 1579033 h 1579212"/>
                <a:gd name="connsiteX1" fmla="*/ 579967 w 1320801"/>
                <a:gd name="connsiteY1" fmla="*/ 1134533 h 1579212"/>
                <a:gd name="connsiteX2" fmla="*/ 571501 w 1320801"/>
                <a:gd name="connsiteY2" fmla="*/ 431800 h 1579212"/>
                <a:gd name="connsiteX3" fmla="*/ 1024467 w 1320801"/>
                <a:gd name="connsiteY3" fmla="*/ 0 h 1579212"/>
                <a:gd name="connsiteX4" fmla="*/ 1320801 w 1320801"/>
                <a:gd name="connsiteY4" fmla="*/ 0 h 1579212"/>
                <a:gd name="connsiteX0" fmla="*/ 0 w 1320801"/>
                <a:gd name="connsiteY0" fmla="*/ 1579033 h 1579379"/>
                <a:gd name="connsiteX1" fmla="*/ 579967 w 1320801"/>
                <a:gd name="connsiteY1" fmla="*/ 1134533 h 1579379"/>
                <a:gd name="connsiteX2" fmla="*/ 571501 w 1320801"/>
                <a:gd name="connsiteY2" fmla="*/ 431800 h 1579379"/>
                <a:gd name="connsiteX3" fmla="*/ 1024467 w 1320801"/>
                <a:gd name="connsiteY3" fmla="*/ 0 h 1579379"/>
                <a:gd name="connsiteX4" fmla="*/ 1320801 w 1320801"/>
                <a:gd name="connsiteY4" fmla="*/ 0 h 157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801" h="1579379">
                  <a:moveTo>
                    <a:pt x="0" y="1579033"/>
                  </a:moveTo>
                  <a:cubicBezTo>
                    <a:pt x="431800" y="1585559"/>
                    <a:pt x="583142" y="1502128"/>
                    <a:pt x="579967" y="1134533"/>
                  </a:cubicBezTo>
                  <a:lnTo>
                    <a:pt x="571501" y="431800"/>
                  </a:lnTo>
                  <a:cubicBezTo>
                    <a:pt x="570090" y="237066"/>
                    <a:pt x="732191" y="1058"/>
                    <a:pt x="1024467" y="0"/>
                  </a:cubicBezTo>
                  <a:lnTo>
                    <a:pt x="1320801" y="0"/>
                  </a:lnTo>
                </a:path>
              </a:pathLst>
            </a:custGeom>
            <a:noFill/>
            <a:ln w="2063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Freeform 48">
              <a:extLst>
                <a:ext uri="{FF2B5EF4-FFF2-40B4-BE49-F238E27FC236}">
                  <a16:creationId xmlns:a16="http://schemas.microsoft.com/office/drawing/2014/main" id="{07D407A4-E095-43F9-AD99-E3C883205011}"/>
                </a:ext>
              </a:extLst>
            </p:cNvPr>
            <p:cNvSpPr/>
            <p:nvPr/>
          </p:nvSpPr>
          <p:spPr>
            <a:xfrm flipV="1">
              <a:off x="9407003" y="4128489"/>
              <a:ext cx="1320801" cy="1579379"/>
            </a:xfrm>
            <a:custGeom>
              <a:avLst/>
              <a:gdLst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7045"/>
                <a:gd name="connsiteX1" fmla="*/ 800100 w 1540934"/>
                <a:gd name="connsiteY1" fmla="*/ 1134533 h 1587045"/>
                <a:gd name="connsiteX2" fmla="*/ 791634 w 1540934"/>
                <a:gd name="connsiteY2" fmla="*/ 431800 h 1587045"/>
                <a:gd name="connsiteX3" fmla="*/ 1244600 w 1540934"/>
                <a:gd name="connsiteY3" fmla="*/ 0 h 1587045"/>
                <a:gd name="connsiteX4" fmla="*/ 1540934 w 1540934"/>
                <a:gd name="connsiteY4" fmla="*/ 0 h 1587045"/>
                <a:gd name="connsiteX0" fmla="*/ 0 w 1540934"/>
                <a:gd name="connsiteY0" fmla="*/ 1583266 h 1586189"/>
                <a:gd name="connsiteX1" fmla="*/ 800100 w 1540934"/>
                <a:gd name="connsiteY1" fmla="*/ 1134533 h 1586189"/>
                <a:gd name="connsiteX2" fmla="*/ 791634 w 1540934"/>
                <a:gd name="connsiteY2" fmla="*/ 431800 h 1586189"/>
                <a:gd name="connsiteX3" fmla="*/ 1244600 w 1540934"/>
                <a:gd name="connsiteY3" fmla="*/ 0 h 1586189"/>
                <a:gd name="connsiteX4" fmla="*/ 1540934 w 1540934"/>
                <a:gd name="connsiteY4" fmla="*/ 0 h 1586189"/>
                <a:gd name="connsiteX0" fmla="*/ 0 w 1540934"/>
                <a:gd name="connsiteY0" fmla="*/ 1583266 h 1585511"/>
                <a:gd name="connsiteX1" fmla="*/ 800100 w 1540934"/>
                <a:gd name="connsiteY1" fmla="*/ 1134533 h 1585511"/>
                <a:gd name="connsiteX2" fmla="*/ 791634 w 1540934"/>
                <a:gd name="connsiteY2" fmla="*/ 431800 h 1585511"/>
                <a:gd name="connsiteX3" fmla="*/ 1244600 w 1540934"/>
                <a:gd name="connsiteY3" fmla="*/ 0 h 1585511"/>
                <a:gd name="connsiteX4" fmla="*/ 1540934 w 1540934"/>
                <a:gd name="connsiteY4" fmla="*/ 0 h 1585511"/>
                <a:gd name="connsiteX0" fmla="*/ 0 w 1320801"/>
                <a:gd name="connsiteY0" fmla="*/ 1579033 h 1581321"/>
                <a:gd name="connsiteX1" fmla="*/ 579967 w 1320801"/>
                <a:gd name="connsiteY1" fmla="*/ 1134533 h 1581321"/>
                <a:gd name="connsiteX2" fmla="*/ 571501 w 1320801"/>
                <a:gd name="connsiteY2" fmla="*/ 431800 h 1581321"/>
                <a:gd name="connsiteX3" fmla="*/ 1024467 w 1320801"/>
                <a:gd name="connsiteY3" fmla="*/ 0 h 1581321"/>
                <a:gd name="connsiteX4" fmla="*/ 1320801 w 1320801"/>
                <a:gd name="connsiteY4" fmla="*/ 0 h 1581321"/>
                <a:gd name="connsiteX0" fmla="*/ 0 w 1320801"/>
                <a:gd name="connsiteY0" fmla="*/ 1579033 h 1579212"/>
                <a:gd name="connsiteX1" fmla="*/ 579967 w 1320801"/>
                <a:gd name="connsiteY1" fmla="*/ 1134533 h 1579212"/>
                <a:gd name="connsiteX2" fmla="*/ 571501 w 1320801"/>
                <a:gd name="connsiteY2" fmla="*/ 431800 h 1579212"/>
                <a:gd name="connsiteX3" fmla="*/ 1024467 w 1320801"/>
                <a:gd name="connsiteY3" fmla="*/ 0 h 1579212"/>
                <a:gd name="connsiteX4" fmla="*/ 1320801 w 1320801"/>
                <a:gd name="connsiteY4" fmla="*/ 0 h 1579212"/>
                <a:gd name="connsiteX0" fmla="*/ 0 w 1320801"/>
                <a:gd name="connsiteY0" fmla="*/ 1579033 h 1579379"/>
                <a:gd name="connsiteX1" fmla="*/ 579967 w 1320801"/>
                <a:gd name="connsiteY1" fmla="*/ 1134533 h 1579379"/>
                <a:gd name="connsiteX2" fmla="*/ 571501 w 1320801"/>
                <a:gd name="connsiteY2" fmla="*/ 431800 h 1579379"/>
                <a:gd name="connsiteX3" fmla="*/ 1024467 w 1320801"/>
                <a:gd name="connsiteY3" fmla="*/ 0 h 1579379"/>
                <a:gd name="connsiteX4" fmla="*/ 1320801 w 1320801"/>
                <a:gd name="connsiteY4" fmla="*/ 0 h 157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801" h="1579379">
                  <a:moveTo>
                    <a:pt x="0" y="1579033"/>
                  </a:moveTo>
                  <a:cubicBezTo>
                    <a:pt x="431800" y="1585559"/>
                    <a:pt x="583142" y="1502128"/>
                    <a:pt x="579967" y="1134533"/>
                  </a:cubicBezTo>
                  <a:lnTo>
                    <a:pt x="571501" y="431800"/>
                  </a:lnTo>
                  <a:cubicBezTo>
                    <a:pt x="570090" y="237066"/>
                    <a:pt x="732191" y="1058"/>
                    <a:pt x="1024467" y="0"/>
                  </a:cubicBezTo>
                  <a:lnTo>
                    <a:pt x="1320801" y="0"/>
                  </a:lnTo>
                </a:path>
              </a:pathLst>
            </a:custGeom>
            <a:noFill/>
            <a:ln w="2063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8FFEB7B-202B-4A0D-83E2-953A0215ACBF}"/>
                </a:ext>
              </a:extLst>
            </p:cNvPr>
            <p:cNvCxnSpPr/>
            <p:nvPr/>
          </p:nvCxnSpPr>
          <p:spPr>
            <a:xfrm>
              <a:off x="10022429" y="4673528"/>
              <a:ext cx="654044" cy="0"/>
            </a:xfrm>
            <a:prstGeom prst="line">
              <a:avLst/>
            </a:prstGeom>
            <a:ln w="2063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BD2CD92-2BAF-4C51-8C70-C3B0A6EE501F}"/>
                </a:ext>
              </a:extLst>
            </p:cNvPr>
            <p:cNvCxnSpPr/>
            <p:nvPr/>
          </p:nvCxnSpPr>
          <p:spPr>
            <a:xfrm>
              <a:off x="10022429" y="3620651"/>
              <a:ext cx="654044" cy="0"/>
            </a:xfrm>
            <a:prstGeom prst="line">
              <a:avLst/>
            </a:prstGeom>
            <a:ln w="2063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9" name="Rectangle 118">
            <a:extLst>
              <a:ext uri="{FF2B5EF4-FFF2-40B4-BE49-F238E27FC236}">
                <a16:creationId xmlns:a16="http://schemas.microsoft.com/office/drawing/2014/main" id="{A7189206-750C-4B0F-9346-9546F58FD14F}"/>
              </a:ext>
            </a:extLst>
          </p:cNvPr>
          <p:cNvSpPr/>
          <p:nvPr/>
        </p:nvSpPr>
        <p:spPr>
          <a:xfrm>
            <a:off x="6845300" y="4289425"/>
            <a:ext cx="1457649" cy="205846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CA1B5BD0-E69B-4140-974D-14C6134BAB3D}"/>
              </a:ext>
            </a:extLst>
          </p:cNvPr>
          <p:cNvSpPr/>
          <p:nvPr/>
        </p:nvSpPr>
        <p:spPr>
          <a:xfrm>
            <a:off x="158759" y="1642241"/>
            <a:ext cx="11493491" cy="4825990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9DD66BA-5016-4EB3-B876-E1838DFF762D}"/>
              </a:ext>
            </a:extLst>
          </p:cNvPr>
          <p:cNvSpPr/>
          <p:nvPr/>
        </p:nvSpPr>
        <p:spPr>
          <a:xfrm rot="5400000" flipV="1">
            <a:off x="5191125" y="4978400"/>
            <a:ext cx="1181048" cy="20505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60" y="230189"/>
            <a:ext cx="11491891" cy="9233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Investing $280 billion until 2030 would create a market worth more than $140 billion annually</a:t>
            </a:r>
          </a:p>
        </p:txBody>
      </p:sp>
      <p:sp>
        <p:nvSpPr>
          <p:cNvPr id="169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>
                <a:solidFill>
                  <a:schemeClr val="accent6"/>
                </a:solidFill>
                <a:latin typeface="+mn-lt"/>
              </a:rPr>
              <a:t>SOURCE: Hydrogen Council</a:t>
            </a:r>
          </a:p>
        </p:txBody>
      </p:sp>
      <p:sp>
        <p:nvSpPr>
          <p:cNvPr id="109" name="3. Unit of measure"/>
          <p:cNvSpPr txBox="1">
            <a:spLocks noChangeArrowheads="1"/>
          </p:cNvSpPr>
          <p:nvPr/>
        </p:nvSpPr>
        <p:spPr bwMode="gray">
          <a:xfrm>
            <a:off x="158759" y="1144642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$ billion</a:t>
            </a:r>
            <a:r>
              <a:rPr lang="de-DE" sz="1600" baseline="30000" dirty="0">
                <a:solidFill>
                  <a:schemeClr val="accent6"/>
                </a:solidFill>
                <a:sym typeface="+mn-lt"/>
              </a:rPr>
              <a:t>1</a:t>
            </a:r>
            <a:endParaRPr lang="en-US" sz="1600" baseline="0" noProof="0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72BD6B4-A762-4A03-AB5D-B65F4F76F84D}"/>
              </a:ext>
            </a:extLst>
          </p:cNvPr>
          <p:cNvGrpSpPr/>
          <p:nvPr/>
        </p:nvGrpSpPr>
        <p:grpSpPr>
          <a:xfrm>
            <a:off x="9160039" y="2397125"/>
            <a:ext cx="889736" cy="818536"/>
            <a:chOff x="10597008" y="2063544"/>
            <a:chExt cx="1043747" cy="960223"/>
          </a:xfrm>
        </p:grpSpPr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72046F57-8F6E-4B9F-826B-E47DA768C8C1}"/>
                </a:ext>
              </a:extLst>
            </p:cNvPr>
            <p:cNvPicPr>
              <a:picLocks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38" t="6145" r="11638" b="17131"/>
            <a:stretch/>
          </p:blipFill>
          <p:spPr>
            <a:xfrm>
              <a:off x="10597008" y="2136804"/>
              <a:ext cx="1043747" cy="886963"/>
            </a:xfrm>
            <a:prstGeom prst="hexagon">
              <a:avLst>
                <a:gd name="adj" fmla="val 28490"/>
                <a:gd name="vf" fmla="val 115470"/>
              </a:avLst>
            </a:prstGeom>
            <a:ln w="6350">
              <a:solidFill>
                <a:schemeClr val="accent6">
                  <a:lumMod val="50000"/>
                </a:schemeClr>
              </a:solidFill>
            </a:ln>
          </p:spPr>
        </p:pic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F9504C9-67C7-4446-8774-8F0E95F560A1}"/>
                </a:ext>
              </a:extLst>
            </p:cNvPr>
            <p:cNvSpPr txBox="1">
              <a:spLocks/>
            </p:cNvSpPr>
            <p:nvPr/>
          </p:nvSpPr>
          <p:spPr>
            <a:xfrm>
              <a:off x="10700857" y="2063544"/>
              <a:ext cx="396676" cy="329540"/>
            </a:xfrm>
            <a:prstGeom prst="hexagon">
              <a:avLst/>
            </a:prstGeom>
            <a:solidFill>
              <a:schemeClr val="accent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2000" dirty="0">
                  <a:solidFill>
                    <a:schemeClr val="lt1"/>
                  </a:solidFill>
                </a:rPr>
                <a:t>4</a:t>
              </a:r>
              <a:endParaRPr lang="en-US" sz="110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30D5BDA-7AF1-4AB5-BAB0-BE2FD824841F}"/>
              </a:ext>
            </a:extLst>
          </p:cNvPr>
          <p:cNvGrpSpPr/>
          <p:nvPr/>
        </p:nvGrpSpPr>
        <p:grpSpPr>
          <a:xfrm>
            <a:off x="9160039" y="5546725"/>
            <a:ext cx="889736" cy="818536"/>
            <a:chOff x="10597008" y="5213709"/>
            <a:chExt cx="1043747" cy="960223"/>
          </a:xfrm>
        </p:grpSpPr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D19DF98C-2234-4371-9305-317574EB369F}"/>
                </a:ext>
              </a:extLst>
            </p:cNvPr>
            <p:cNvPicPr>
              <a:picLocks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6227" r="11710" b="17192"/>
            <a:stretch/>
          </p:blipFill>
          <p:spPr>
            <a:xfrm>
              <a:off x="10597008" y="5286969"/>
              <a:ext cx="1043747" cy="886963"/>
            </a:xfrm>
            <a:prstGeom prst="hexagon">
              <a:avLst>
                <a:gd name="adj" fmla="val 28490"/>
                <a:gd name="vf" fmla="val 115470"/>
              </a:avLst>
            </a:prstGeom>
            <a:ln w="6350">
              <a:solidFill>
                <a:schemeClr val="accent3"/>
              </a:solidFill>
            </a:ln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AC4EE248-510C-4269-AC6B-CF25FEAAA1B5}"/>
                </a:ext>
              </a:extLst>
            </p:cNvPr>
            <p:cNvSpPr txBox="1">
              <a:spLocks/>
            </p:cNvSpPr>
            <p:nvPr/>
          </p:nvSpPr>
          <p:spPr>
            <a:xfrm>
              <a:off x="10700857" y="5213709"/>
              <a:ext cx="396676" cy="329540"/>
            </a:xfrm>
            <a:prstGeom prst="hexagon">
              <a:avLst/>
            </a:prstGeom>
            <a:solidFill>
              <a:schemeClr val="accent3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2000" dirty="0">
                  <a:solidFill>
                    <a:schemeClr val="lt1"/>
                  </a:solidFill>
                </a:rPr>
                <a:t>7</a:t>
              </a:r>
              <a:endParaRPr lang="en-US" sz="110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60C3013-FCCA-479D-B849-1F076036FDF9}"/>
              </a:ext>
            </a:extLst>
          </p:cNvPr>
          <p:cNvGrpSpPr/>
          <p:nvPr/>
        </p:nvGrpSpPr>
        <p:grpSpPr>
          <a:xfrm>
            <a:off x="9160039" y="3448050"/>
            <a:ext cx="889736" cy="817952"/>
            <a:chOff x="10597008" y="3114284"/>
            <a:chExt cx="1043747" cy="959538"/>
          </a:xfrm>
        </p:grpSpPr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64D2FF38-4A49-462C-8E5A-E7A578714C6F}"/>
                </a:ext>
              </a:extLst>
            </p:cNvPr>
            <p:cNvPicPr>
              <a:picLocks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4583" r="11710" b="18837"/>
            <a:stretch/>
          </p:blipFill>
          <p:spPr>
            <a:xfrm>
              <a:off x="10597008" y="3186859"/>
              <a:ext cx="1043747" cy="886963"/>
            </a:xfrm>
            <a:prstGeom prst="hexagon">
              <a:avLst>
                <a:gd name="adj" fmla="val 29027"/>
                <a:gd name="vf" fmla="val 115470"/>
              </a:avLst>
            </a:prstGeom>
            <a:ln w="6350">
              <a:solidFill>
                <a:schemeClr val="accent6"/>
              </a:solidFill>
            </a:ln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73A00672-4472-4015-9F40-E9FDF3BC8946}"/>
                </a:ext>
              </a:extLst>
            </p:cNvPr>
            <p:cNvSpPr txBox="1">
              <a:spLocks/>
            </p:cNvSpPr>
            <p:nvPr/>
          </p:nvSpPr>
          <p:spPr>
            <a:xfrm>
              <a:off x="10700857" y="3114284"/>
              <a:ext cx="396676" cy="329540"/>
            </a:xfrm>
            <a:prstGeom prst="hexagon">
              <a:avLst/>
            </a:prstGeom>
            <a:solidFill>
              <a:schemeClr val="accent6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2000" dirty="0">
                  <a:solidFill>
                    <a:schemeClr val="lt1"/>
                  </a:solidFill>
                </a:rPr>
                <a:t>5</a:t>
              </a:r>
              <a:endParaRPr lang="en-US" sz="110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036273E-32B9-43D1-8330-B2689B5A601C}"/>
              </a:ext>
            </a:extLst>
          </p:cNvPr>
          <p:cNvGrpSpPr/>
          <p:nvPr/>
        </p:nvGrpSpPr>
        <p:grpSpPr>
          <a:xfrm>
            <a:off x="9160039" y="4500563"/>
            <a:ext cx="889736" cy="814964"/>
            <a:chOff x="10597008" y="4167844"/>
            <a:chExt cx="1043747" cy="956033"/>
          </a:xfrm>
        </p:grpSpPr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B105CFE1-C7DB-4DE0-9767-5B36DF82E800}"/>
                </a:ext>
              </a:extLst>
            </p:cNvPr>
            <p:cNvPicPr>
              <a:picLocks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11710" r="11710" b="11710"/>
            <a:stretch>
              <a:fillRect/>
            </a:stretch>
          </p:blipFill>
          <p:spPr>
            <a:xfrm>
              <a:off x="10597008" y="4236914"/>
              <a:ext cx="1043747" cy="886963"/>
            </a:xfrm>
            <a:prstGeom prst="hexagon">
              <a:avLst>
                <a:gd name="adj" fmla="val 29027"/>
                <a:gd name="vf" fmla="val 115470"/>
              </a:avLst>
            </a:prstGeom>
            <a:ln w="6350">
              <a:solidFill>
                <a:srgbClr val="EE9D44"/>
              </a:solidFill>
            </a:ln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781F5AF9-30C9-4F82-B267-86346263A7A7}"/>
                </a:ext>
              </a:extLst>
            </p:cNvPr>
            <p:cNvSpPr txBox="1">
              <a:spLocks/>
            </p:cNvSpPr>
            <p:nvPr/>
          </p:nvSpPr>
          <p:spPr>
            <a:xfrm>
              <a:off x="10700857" y="4167844"/>
              <a:ext cx="396676" cy="329540"/>
            </a:xfrm>
            <a:prstGeom prst="hexagon">
              <a:avLst/>
            </a:prstGeom>
            <a:solidFill>
              <a:srgbClr val="EE9D44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2000" dirty="0">
                  <a:solidFill>
                    <a:schemeClr val="lt1"/>
                  </a:solidFill>
                </a:rPr>
                <a:t>6</a:t>
              </a:r>
              <a:endParaRPr lang="en-US" sz="110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16FF3FC-B0CE-4B82-B336-E8FA91C4F861}"/>
              </a:ext>
            </a:extLst>
          </p:cNvPr>
          <p:cNvGrpSpPr/>
          <p:nvPr/>
        </p:nvGrpSpPr>
        <p:grpSpPr>
          <a:xfrm>
            <a:off x="5337175" y="3968750"/>
            <a:ext cx="889736" cy="793436"/>
            <a:chOff x="6196490" y="3636235"/>
            <a:chExt cx="1043747" cy="930778"/>
          </a:xfrm>
        </p:grpSpPr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7A6A1BE1-F147-4A84-9ABC-2C9B1DB761B4}"/>
                </a:ext>
              </a:extLst>
            </p:cNvPr>
            <p:cNvPicPr>
              <a:picLocks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6490" y="3680050"/>
              <a:ext cx="1043747" cy="886963"/>
            </a:xfrm>
            <a:prstGeom prst="hexagon">
              <a:avLst>
                <a:gd name="adj" fmla="val 29027"/>
                <a:gd name="vf" fmla="val 115470"/>
              </a:avLst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2110E1E-4DA0-463B-A85E-1F95BFDB7765}"/>
                </a:ext>
              </a:extLst>
            </p:cNvPr>
            <p:cNvSpPr txBox="1">
              <a:spLocks/>
            </p:cNvSpPr>
            <p:nvPr/>
          </p:nvSpPr>
          <p:spPr>
            <a:xfrm>
              <a:off x="6305741" y="3636235"/>
              <a:ext cx="396676" cy="329540"/>
            </a:xfrm>
            <a:prstGeom prst="hexagon">
              <a:avLst/>
            </a:prstGeom>
            <a:solidFill>
              <a:schemeClr val="accent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2000" dirty="0">
                  <a:solidFill>
                    <a:schemeClr val="lt1"/>
                  </a:solidFill>
                </a:rPr>
                <a:t>2</a:t>
              </a:r>
              <a:endParaRPr lang="en-US" sz="110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9892E2E-E52F-425D-B85F-855597FE0E6E}"/>
              </a:ext>
            </a:extLst>
          </p:cNvPr>
          <p:cNvGrpSpPr/>
          <p:nvPr/>
        </p:nvGrpSpPr>
        <p:grpSpPr>
          <a:xfrm>
            <a:off x="5337175" y="5373688"/>
            <a:ext cx="889736" cy="793436"/>
            <a:chOff x="6196490" y="5041934"/>
            <a:chExt cx="1043747" cy="930778"/>
          </a:xfrm>
        </p:grpSpPr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CC0072AE-335F-4819-AB8B-9FA6842B35C8}"/>
                </a:ext>
              </a:extLst>
            </p:cNvPr>
            <p:cNvPicPr>
              <a:picLocks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6490" y="5085749"/>
              <a:ext cx="1043747" cy="886963"/>
            </a:xfrm>
            <a:prstGeom prst="hexagon">
              <a:avLst>
                <a:gd name="adj" fmla="val 29296"/>
                <a:gd name="vf" fmla="val 115470"/>
              </a:avLst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71EDF48F-D396-416D-A91F-CCD2A8D0F074}"/>
                </a:ext>
              </a:extLst>
            </p:cNvPr>
            <p:cNvSpPr txBox="1">
              <a:spLocks/>
            </p:cNvSpPr>
            <p:nvPr/>
          </p:nvSpPr>
          <p:spPr>
            <a:xfrm>
              <a:off x="6305741" y="5041934"/>
              <a:ext cx="396676" cy="329540"/>
            </a:xfrm>
            <a:prstGeom prst="hexagon">
              <a:avLst/>
            </a:prstGeom>
            <a:solidFill>
              <a:schemeClr val="accent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2000" dirty="0">
                  <a:solidFill>
                    <a:schemeClr val="lt1"/>
                  </a:solidFill>
                </a:rPr>
                <a:t>3</a:t>
              </a:r>
              <a:endParaRPr lang="en-US" sz="110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61B8641-E16C-4481-819B-D47007C804F9}"/>
              </a:ext>
            </a:extLst>
          </p:cNvPr>
          <p:cNvGrpSpPr/>
          <p:nvPr/>
        </p:nvGrpSpPr>
        <p:grpSpPr>
          <a:xfrm>
            <a:off x="2611438" y="3968750"/>
            <a:ext cx="889736" cy="792554"/>
            <a:chOff x="2811431" y="3636236"/>
            <a:chExt cx="1043747" cy="929743"/>
          </a:xfrm>
        </p:grpSpPr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0827D4A5-A312-4C50-B47C-B5B5D114B89E}"/>
                </a:ext>
              </a:extLst>
            </p:cNvPr>
            <p:cNvPicPr>
              <a:picLocks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61" t="2503" r="8761" b="20093"/>
            <a:stretch/>
          </p:blipFill>
          <p:spPr>
            <a:xfrm>
              <a:off x="2811431" y="3679016"/>
              <a:ext cx="1043747" cy="886963"/>
            </a:xfrm>
            <a:prstGeom prst="hexagon">
              <a:avLst>
                <a:gd name="adj" fmla="val 29028"/>
                <a:gd name="vf" fmla="val 115470"/>
              </a:avLst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</p:pic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F88CDCF9-64D7-419D-9466-A70FECA24734}"/>
                </a:ext>
              </a:extLst>
            </p:cNvPr>
            <p:cNvSpPr txBox="1">
              <a:spLocks/>
            </p:cNvSpPr>
            <p:nvPr/>
          </p:nvSpPr>
          <p:spPr>
            <a:xfrm>
              <a:off x="2945760" y="3636236"/>
              <a:ext cx="396676" cy="329540"/>
            </a:xfrm>
            <a:prstGeom prst="hexagon">
              <a:avLst/>
            </a:prstGeom>
            <a:solidFill>
              <a:schemeClr val="accent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>
                <a:buClr>
                  <a:schemeClr val="bg2"/>
                </a:buClr>
              </a:pPr>
              <a:r>
                <a:rPr lang="en-US" sz="2000" dirty="0">
                  <a:solidFill>
                    <a:schemeClr val="lt1"/>
                  </a:solidFill>
                </a:rPr>
                <a:t>1</a:t>
              </a:r>
              <a:endParaRPr lang="en-US" sz="1100" dirty="0">
                <a:solidFill>
                  <a:schemeClr val="lt1"/>
                </a:solidFill>
              </a:endParaRPr>
            </a:p>
          </p:txBody>
        </p: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C38BB1EE-AB58-44FD-8966-00870476BBE0}"/>
              </a:ext>
            </a:extLst>
          </p:cNvPr>
          <p:cNvSpPr txBox="1">
            <a:spLocks/>
          </p:cNvSpPr>
          <p:nvPr/>
        </p:nvSpPr>
        <p:spPr>
          <a:xfrm>
            <a:off x="4006850" y="1846263"/>
            <a:ext cx="2440240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>
                <a:solidFill>
                  <a:schemeClr val="accent2"/>
                </a:solidFill>
              </a:rPr>
              <a:t>Storage, transport,</a:t>
            </a:r>
            <a:br>
              <a:rPr lang="en-US" sz="1600" dirty="0">
                <a:solidFill>
                  <a:schemeClr val="accent2"/>
                </a:solidFill>
              </a:rPr>
            </a:br>
            <a:r>
              <a:rPr lang="en-US" sz="1600" dirty="0">
                <a:solidFill>
                  <a:schemeClr val="accent2"/>
                </a:solidFill>
              </a:rPr>
              <a:t>and distribution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1902F02C-AFF1-4688-95B4-4BF0CF966F31}"/>
              </a:ext>
            </a:extLst>
          </p:cNvPr>
          <p:cNvSpPr txBox="1">
            <a:spLocks/>
          </p:cNvSpPr>
          <p:nvPr/>
        </p:nvSpPr>
        <p:spPr>
          <a:xfrm>
            <a:off x="1295400" y="1846263"/>
            <a:ext cx="1733984" cy="49244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>
                <a:solidFill>
                  <a:schemeClr val="accent2"/>
                </a:solidFill>
              </a:rPr>
              <a:t>Hydrogen productio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4B53354A-4910-41AA-B1A4-7EC2D7F10089}"/>
              </a:ext>
            </a:extLst>
          </p:cNvPr>
          <p:cNvSpPr txBox="1">
            <a:spLocks/>
          </p:cNvSpPr>
          <p:nvPr/>
        </p:nvSpPr>
        <p:spPr>
          <a:xfrm>
            <a:off x="6745977" y="1846263"/>
            <a:ext cx="330379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>
                <a:solidFill>
                  <a:schemeClr val="accent5"/>
                </a:solidFill>
              </a:rPr>
              <a:t>End-uses in transportation, industry energy, buildings and feedstock</a:t>
            </a:r>
          </a:p>
        </p:txBody>
      </p:sp>
      <p:graphicFrame>
        <p:nvGraphicFramePr>
          <p:cNvPr id="123" name="Object 122">
            <a:extLst>
              <a:ext uri="{FF2B5EF4-FFF2-40B4-BE49-F238E27FC236}">
                <a16:creationId xmlns:a16="http://schemas.microsoft.com/office/drawing/2014/main" id="{46FA0889-CED8-4CB3-88D0-7B7A9D24F311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5071217"/>
              </p:ext>
            </p:extLst>
          </p:nvPr>
        </p:nvGraphicFramePr>
        <p:xfrm>
          <a:off x="1181100" y="3238500"/>
          <a:ext cx="2976438" cy="28216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27" name="Chart" r:id="rId22" imgW="2976438" imgH="2821671" progId="MSGraph.Chart.8">
                  <p:embed followColorScheme="full"/>
                </p:oleObj>
              </mc:Choice>
              <mc:Fallback>
                <p:oleObj name="Chart" r:id="rId22" imgW="2976438" imgH="282167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81100" y="3238500"/>
                        <a:ext cx="2976438" cy="28216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6375" y="3505200"/>
            <a:ext cx="995363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altLang="en-US" dirty="0">
                <a:sym typeface="+mn-lt"/>
              </a:rPr>
              <a:t>Investment</a:t>
            </a:r>
          </a:p>
          <a:p>
            <a:r>
              <a:rPr lang="de-DE" dirty="0">
                <a:sym typeface="+mn-lt"/>
              </a:rPr>
              <a:t>potential</a:t>
            </a:r>
          </a:p>
          <a:p>
            <a:r>
              <a:rPr lang="de-DE" dirty="0">
                <a:sym typeface="+mn-lt"/>
              </a:rPr>
              <a:t>2018-30</a:t>
            </a: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6375" y="4519613"/>
            <a:ext cx="835025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altLang="en-US" dirty="0">
                <a:sym typeface="+mn-lt"/>
              </a:rPr>
              <a:t>Annual </a:t>
            </a:r>
          </a:p>
          <a:p>
            <a:r>
              <a:rPr lang="en-US" dirty="0">
                <a:sym typeface="+mn-lt"/>
              </a:rPr>
              <a:t>revenues</a:t>
            </a:r>
          </a:p>
          <a:p>
            <a:r>
              <a:rPr lang="de-DE" dirty="0">
                <a:sym typeface="+mn-lt"/>
              </a:rPr>
              <a:t>2030</a:t>
            </a:r>
            <a:r>
              <a:rPr lang="de-DE" baseline="30000" dirty="0">
                <a:sym typeface="+mn-lt"/>
              </a:rPr>
              <a:t>1</a:t>
            </a:r>
          </a:p>
        </p:txBody>
      </p:sp>
      <p:graphicFrame>
        <p:nvGraphicFramePr>
          <p:cNvPr id="131" name="Object 130">
            <a:extLst>
              <a:ext uri="{FF2B5EF4-FFF2-40B4-BE49-F238E27FC236}">
                <a16:creationId xmlns:a16="http://schemas.microsoft.com/office/drawing/2014/main" id="{E025A07D-5A37-48B2-BC3A-8D1E4208E711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79836476"/>
              </p:ext>
            </p:extLst>
          </p:nvPr>
        </p:nvGraphicFramePr>
        <p:xfrm>
          <a:off x="3848100" y="3238500"/>
          <a:ext cx="2988365" cy="28216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28" name="Chart" r:id="rId24" imgW="2988365" imgH="2821671" progId="MSGraph.Chart.8">
                  <p:embed followColorScheme="full"/>
                </p:oleObj>
              </mc:Choice>
              <mc:Fallback>
                <p:oleObj name="Chart" r:id="rId24" imgW="2988365" imgH="282167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3848100" y="3238500"/>
                        <a:ext cx="2988365" cy="28216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9" name="Object 138">
            <a:extLst>
              <a:ext uri="{FF2B5EF4-FFF2-40B4-BE49-F238E27FC236}">
                <a16:creationId xmlns:a16="http://schemas.microsoft.com/office/drawing/2014/main" id="{1BA51DC2-453D-4C7F-9CE1-336C6EEE8133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23628584"/>
              </p:ext>
            </p:extLst>
          </p:nvPr>
        </p:nvGraphicFramePr>
        <p:xfrm>
          <a:off x="6629400" y="3238500"/>
          <a:ext cx="2964511" cy="28216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29" name="Chart" r:id="rId26" imgW="2964511" imgH="2821671" progId="MSGraph.Chart.8">
                  <p:embed followColorScheme="full"/>
                </p:oleObj>
              </mc:Choice>
              <mc:Fallback>
                <p:oleObj name="Chart" r:id="rId26" imgW="2964511" imgH="282167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6629400" y="3238500"/>
                        <a:ext cx="2964511" cy="28216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359650" y="3749675"/>
            <a:ext cx="395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139C925-5041-43AD-9986-D806E5B402F7}" type="datetime'''''''''''''''''9''''0'''''''''''''''">
              <a:rPr lang="de-DE" altLang="en-US"/>
              <a:pPr/>
              <a:t>90</a:t>
            </a:fld>
            <a:r>
              <a:rPr lang="de-DE" altLang="en-US">
                <a:sym typeface="+mn-lt"/>
              </a:rPr>
              <a:t>+</a:t>
            </a:r>
            <a:endParaRPr lang="de-DE" dirty="0"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26300" y="4764088"/>
            <a:ext cx="395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22CC53A-7122-4DA7-A98D-920322FFA2F4}" type="datetime'''''''''7''''''''''''''''''''''''''''''''''0'''''''">
              <a:rPr lang="de-DE" altLang="en-US"/>
              <a:pPr/>
              <a:t>70</a:t>
            </a:fld>
            <a:r>
              <a:rPr lang="de-DE" altLang="en-US">
                <a:sym typeface="+mn-lt"/>
              </a:rPr>
              <a:t>+</a:t>
            </a:r>
            <a:endParaRPr lang="de-DE" dirty="0">
              <a:sym typeface="+mn-lt"/>
            </a:endParaRPr>
          </a:p>
        </p:txBody>
      </p: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6935FA73-DDE9-4A86-BC9F-A322777DFBF3}"/>
              </a:ext>
            </a:extLst>
          </p:cNvPr>
          <p:cNvCxnSpPr>
            <a:cxnSpLocks/>
          </p:cNvCxnSpPr>
          <p:nvPr/>
        </p:nvCxnSpPr>
        <p:spPr>
          <a:xfrm>
            <a:off x="3028950" y="2092325"/>
            <a:ext cx="869516" cy="0"/>
          </a:xfrm>
          <a:prstGeom prst="straightConnector1">
            <a:avLst/>
          </a:prstGeom>
          <a:noFill/>
          <a:ln w="15875">
            <a:solidFill>
              <a:schemeClr val="accent2"/>
            </a:solidFill>
            <a:prstDash val="sysDot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CA9BBEE4-36CF-4E55-9F73-E6088F414ABF}"/>
              </a:ext>
            </a:extLst>
          </p:cNvPr>
          <p:cNvCxnSpPr>
            <a:cxnSpLocks/>
          </p:cNvCxnSpPr>
          <p:nvPr/>
        </p:nvCxnSpPr>
        <p:spPr>
          <a:xfrm>
            <a:off x="5839484" y="2092325"/>
            <a:ext cx="768350" cy="0"/>
          </a:xfrm>
          <a:prstGeom prst="straightConnector1">
            <a:avLst/>
          </a:prstGeom>
          <a:noFill/>
          <a:ln w="15875">
            <a:solidFill>
              <a:schemeClr val="accent2"/>
            </a:solidFill>
            <a:prstDash val="sysDot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4" name="Group 3"/>
          <p:cNvGrpSpPr>
            <a:grpSpLocks/>
          </p:cNvGrpSpPr>
          <p:nvPr/>
        </p:nvGrpSpPr>
        <p:grpSpPr>
          <a:xfrm>
            <a:off x="3857625" y="2857500"/>
            <a:ext cx="2726625" cy="3508390"/>
            <a:chOff x="4337050" y="2283222"/>
            <a:chExt cx="2726625" cy="3925491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144C4C0-44EA-43C5-B0E1-EBB8AE2D5193}"/>
                </a:ext>
              </a:extLst>
            </p:cNvPr>
            <p:cNvCxnSpPr/>
            <p:nvPr/>
          </p:nvCxnSpPr>
          <p:spPr>
            <a:xfrm>
              <a:off x="4337050" y="2283222"/>
              <a:ext cx="0" cy="3925491"/>
            </a:xfrm>
            <a:prstGeom prst="line">
              <a:avLst/>
            </a:prstGeom>
            <a:ln w="31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AC87AC5B-1FED-4E5F-9DB2-B753231E39A4}"/>
                </a:ext>
              </a:extLst>
            </p:cNvPr>
            <p:cNvCxnSpPr/>
            <p:nvPr/>
          </p:nvCxnSpPr>
          <p:spPr>
            <a:xfrm>
              <a:off x="7063675" y="2283222"/>
              <a:ext cx="0" cy="3925491"/>
            </a:xfrm>
            <a:prstGeom prst="line">
              <a:avLst/>
            </a:prstGeom>
            <a:ln w="31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TextBox 85">
            <a:extLst>
              <a:ext uri="{FF2B5EF4-FFF2-40B4-BE49-F238E27FC236}">
                <a16:creationId xmlns:a16="http://schemas.microsoft.com/office/drawing/2014/main" id="{16D6DD76-3EF6-48B5-8DB3-A7670E7CEFB2}"/>
              </a:ext>
            </a:extLst>
          </p:cNvPr>
          <p:cNvSpPr txBox="1"/>
          <p:nvPr/>
        </p:nvSpPr>
        <p:spPr>
          <a:xfrm>
            <a:off x="1295400" y="1314450"/>
            <a:ext cx="5334000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400" dirty="0">
                <a:solidFill>
                  <a:schemeClr val="accent2"/>
                </a:solidFill>
              </a:rPr>
              <a:t>Enable the renewable energy system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001A32F7-139F-4263-814F-AD190BCEAE79}"/>
              </a:ext>
            </a:extLst>
          </p:cNvPr>
          <p:cNvCxnSpPr>
            <a:cxnSpLocks/>
          </p:cNvCxnSpPr>
          <p:nvPr/>
        </p:nvCxnSpPr>
        <p:spPr>
          <a:xfrm>
            <a:off x="6350000" y="1522413"/>
            <a:ext cx="257834" cy="0"/>
          </a:xfrm>
          <a:prstGeom prst="straightConnector1">
            <a:avLst/>
          </a:prstGeom>
          <a:noFill/>
          <a:ln w="15875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867F08E1-AD31-4127-8D5F-9B6DC238B1C4}"/>
              </a:ext>
            </a:extLst>
          </p:cNvPr>
          <p:cNvSpPr txBox="1">
            <a:spLocks/>
          </p:cNvSpPr>
          <p:nvPr/>
        </p:nvSpPr>
        <p:spPr>
          <a:xfrm>
            <a:off x="6745976" y="1314450"/>
            <a:ext cx="3303798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Decarbonize end uses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8F39CD3-B973-48EA-AA97-6A4FC33CE0BB}"/>
              </a:ext>
            </a:extLst>
          </p:cNvPr>
          <p:cNvCxnSpPr>
            <a:cxnSpLocks/>
          </p:cNvCxnSpPr>
          <p:nvPr/>
        </p:nvCxnSpPr>
        <p:spPr>
          <a:xfrm>
            <a:off x="9892048" y="1498600"/>
            <a:ext cx="450143" cy="0"/>
          </a:xfrm>
          <a:prstGeom prst="straightConnector1">
            <a:avLst/>
          </a:prstGeom>
          <a:noFill/>
          <a:ln w="15875">
            <a:solidFill>
              <a:schemeClr val="accent5"/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3" name="4. Footnote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Excluding existing feedstock uses, Considering only hydrogen value-added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67F08E1-AD31-4127-8D5F-9B6DC238B1C4}"/>
              </a:ext>
            </a:extLst>
          </p:cNvPr>
          <p:cNvSpPr txBox="1">
            <a:spLocks/>
          </p:cNvSpPr>
          <p:nvPr/>
        </p:nvSpPr>
        <p:spPr>
          <a:xfrm>
            <a:off x="10593818" y="1314450"/>
            <a:ext cx="1029543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400" dirty="0">
                <a:solidFill>
                  <a:schemeClr val="accent4"/>
                </a:solidFill>
              </a:rPr>
              <a:t>Total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10593818" y="3640138"/>
            <a:ext cx="1056833" cy="44131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280+</a:t>
            </a:r>
          </a:p>
        </p:txBody>
      </p:sp>
      <p:sp>
        <p:nvSpPr>
          <p:cNvPr id="93" name="TextBox 92"/>
          <p:cNvSpPr txBox="1">
            <a:spLocks/>
          </p:cNvSpPr>
          <p:nvPr/>
        </p:nvSpPr>
        <p:spPr>
          <a:xfrm>
            <a:off x="10593818" y="4692650"/>
            <a:ext cx="1056833" cy="44131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140+</a:t>
            </a:r>
          </a:p>
        </p:txBody>
      </p:sp>
    </p:spTree>
    <p:extLst>
      <p:ext uri="{BB962C8B-B14F-4D97-AF65-F5344CB8AC3E}">
        <p14:creationId xmlns:p14="http://schemas.microsoft.com/office/powerpoint/2010/main" val="115866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445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5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ED6589F-4849-485E-AEC0-D1BAFEB3144B}"/>
              </a:ext>
            </a:extLst>
          </p:cNvPr>
          <p:cNvSpPr/>
          <p:nvPr/>
        </p:nvSpPr>
        <p:spPr>
          <a:xfrm>
            <a:off x="158759" y="1612719"/>
            <a:ext cx="2763735" cy="4595994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923330"/>
          </a:xfrm>
        </p:spPr>
        <p:txBody>
          <a:bodyPr/>
          <a:lstStyle/>
          <a:p>
            <a:r>
              <a:rPr lang="en-US" dirty="0"/>
              <a:t>The case for acting now: Large-scale deployment initiatives underpinned by long-term policy frameworks to attract investors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58759" y="3482872"/>
            <a:ext cx="2648340" cy="83099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ts val="600"/>
              </a:spcBef>
              <a:buSzPct val="100000"/>
              <a:buNone/>
            </a:pPr>
            <a:r>
              <a:rPr lang="en-US" b="1" dirty="0"/>
              <a:t>Hydrogen technology proven </a:t>
            </a:r>
            <a:r>
              <a:rPr lang="en-US" dirty="0"/>
              <a:t>in a wide range of applications </a:t>
            </a:r>
            <a:endParaRPr lang="en-US" b="1" dirty="0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03E64FC-16D6-45F3-9937-CFCEDF443B2E}"/>
              </a:ext>
            </a:extLst>
          </p:cNvPr>
          <p:cNvCxnSpPr>
            <a:cxnSpLocks/>
          </p:cNvCxnSpPr>
          <p:nvPr/>
        </p:nvCxnSpPr>
        <p:spPr>
          <a:xfrm>
            <a:off x="3065035" y="3973322"/>
            <a:ext cx="891106" cy="0"/>
          </a:xfrm>
          <a:prstGeom prst="line">
            <a:avLst/>
          </a:prstGeom>
          <a:ln w="698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>
            <a:spLocks/>
          </p:cNvSpPr>
          <p:nvPr/>
        </p:nvSpPr>
        <p:spPr>
          <a:xfrm>
            <a:off x="158759" y="2240978"/>
            <a:ext cx="2502281" cy="83099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ts val="600"/>
              </a:spcBef>
              <a:buSzPct val="100000"/>
              <a:buNone/>
            </a:pPr>
            <a:r>
              <a:rPr lang="en-US" b="1" dirty="0"/>
              <a:t>Urgency to initiate scale-up to meet climate change targets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6DF4E94-6139-43B0-A055-CFA688D40840}"/>
              </a:ext>
            </a:extLst>
          </p:cNvPr>
          <p:cNvCxnSpPr>
            <a:cxnSpLocks/>
          </p:cNvCxnSpPr>
          <p:nvPr/>
        </p:nvCxnSpPr>
        <p:spPr>
          <a:xfrm>
            <a:off x="3065035" y="2656477"/>
            <a:ext cx="891106" cy="0"/>
          </a:xfrm>
          <a:prstGeom prst="line">
            <a:avLst/>
          </a:prstGeom>
          <a:ln w="698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>
            <a:spLocks/>
          </p:cNvSpPr>
          <p:nvPr/>
        </p:nvSpPr>
        <p:spPr>
          <a:xfrm>
            <a:off x="158759" y="4724766"/>
            <a:ext cx="2648340" cy="96949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ts val="600"/>
              </a:spcBef>
              <a:buSzPct val="100000"/>
              <a:buNone/>
            </a:pPr>
            <a:r>
              <a:rPr lang="en-US" b="1" dirty="0" smtClean="0"/>
              <a:t>Industry players ready to accelerate – </a:t>
            </a:r>
          </a:p>
          <a:p>
            <a:pPr marL="3600" lvl="1" indent="0">
              <a:spcBef>
                <a:spcPts val="600"/>
              </a:spcBef>
              <a:buSzPct val="100000"/>
              <a:buNone/>
            </a:pPr>
            <a:r>
              <a:rPr lang="en-US" sz="2000" b="1" dirty="0" smtClean="0">
                <a:solidFill>
                  <a:srgbClr val="3F9FD5"/>
                </a:solidFill>
              </a:rPr>
              <a:t>Hydrogen </a:t>
            </a: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</a:rPr>
              <a:t>Council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03E64FC-16D6-45F3-9937-CFCEDF443B2E}"/>
              </a:ext>
            </a:extLst>
          </p:cNvPr>
          <p:cNvCxnSpPr>
            <a:cxnSpLocks/>
          </p:cNvCxnSpPr>
          <p:nvPr/>
        </p:nvCxnSpPr>
        <p:spPr>
          <a:xfrm>
            <a:off x="3065035" y="5175143"/>
            <a:ext cx="891106" cy="0"/>
          </a:xfrm>
          <a:prstGeom prst="line">
            <a:avLst/>
          </a:prstGeom>
          <a:ln w="698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>
            <a:spLocks/>
          </p:cNvSpPr>
          <p:nvPr/>
        </p:nvSpPr>
        <p:spPr>
          <a:xfrm>
            <a:off x="4282634" y="2051389"/>
            <a:ext cx="2401242" cy="156966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 algn="r">
              <a:spcBef>
                <a:spcPts val="600"/>
              </a:spcBef>
              <a:buSzPct val="100000"/>
              <a:buNone/>
            </a:pPr>
            <a:r>
              <a:rPr lang="en-US" b="1" dirty="0"/>
              <a:t>Accelerate development and commercialization </a:t>
            </a:r>
            <a:r>
              <a:rPr lang="en-US" dirty="0"/>
              <a:t>of products and build-out infrastructure to support large-scale deployment</a:t>
            </a:r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9261323" y="2063515"/>
            <a:ext cx="2473267" cy="107721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ts val="600"/>
              </a:spcBef>
              <a:buSzPct val="100000"/>
              <a:buNone/>
            </a:pPr>
            <a:r>
              <a:rPr lang="en-US" b="1" dirty="0"/>
              <a:t>Finance infrastructure and value chain development </a:t>
            </a:r>
            <a:r>
              <a:rPr lang="en-US" dirty="0"/>
              <a:t>for large-scale deployment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4378835" y="1601850"/>
            <a:ext cx="2305041" cy="46166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 algn="r">
              <a:spcBef>
                <a:spcPts val="600"/>
              </a:spcBef>
              <a:buSzPct val="100000"/>
              <a:buNone/>
            </a:pPr>
            <a:r>
              <a:rPr lang="en-US" sz="2400" dirty="0">
                <a:solidFill>
                  <a:schemeClr val="accent5"/>
                </a:solidFill>
              </a:rPr>
              <a:t>Industry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6321232" y="4612041"/>
            <a:ext cx="3322320" cy="1538883"/>
            <a:chOff x="6929626" y="4426842"/>
            <a:chExt cx="3322320" cy="1538883"/>
          </a:xfrm>
        </p:grpSpPr>
        <p:sp>
          <p:nvSpPr>
            <p:cNvPr id="28" name="TextBox 27"/>
            <p:cNvSpPr txBox="1">
              <a:spLocks/>
            </p:cNvSpPr>
            <p:nvPr/>
          </p:nvSpPr>
          <p:spPr>
            <a:xfrm>
              <a:off x="6929626" y="4888507"/>
              <a:ext cx="3322320" cy="1077218"/>
            </a:xfrm>
            <a:prstGeom prst="rect">
              <a:avLst/>
            </a:prstGeom>
          </p:spPr>
          <p:txBody>
            <a:bodyPr vert="horz" wrap="square" lIns="91440" tIns="45720" rIns="91440" bIns="4572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3600" lvl="1" indent="0" algn="ctr">
                <a:spcBef>
                  <a:spcPts val="600"/>
                </a:spcBef>
                <a:buSzPct val="100000"/>
                <a:buNone/>
              </a:pPr>
              <a:r>
                <a:rPr lang="en-US" b="1" dirty="0"/>
                <a:t>Collaborate with industry </a:t>
              </a:r>
              <a:r>
                <a:rPr lang="en-US" dirty="0"/>
                <a:t>to build national strategies and roadmaps and put in place long-term policy frameworks</a:t>
              </a:r>
            </a:p>
          </p:txBody>
        </p:sp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7438265" y="4426842"/>
              <a:ext cx="2305041" cy="461665"/>
            </a:xfrm>
            <a:prstGeom prst="rect">
              <a:avLst/>
            </a:prstGeom>
          </p:spPr>
          <p:txBody>
            <a:bodyPr vert="horz" wrap="square" lIns="91440" tIns="45720" rIns="91440" bIns="4572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3600" lvl="1" indent="0" algn="ctr">
                <a:spcBef>
                  <a:spcPts val="600"/>
                </a:spcBef>
                <a:buSzPct val="100000"/>
                <a:buNone/>
              </a:pPr>
              <a:r>
                <a:rPr lang="en-US" sz="2400" dirty="0">
                  <a:solidFill>
                    <a:schemeClr val="accent2"/>
                  </a:solidFill>
                </a:rPr>
                <a:t>Policymakers</a:t>
              </a:r>
            </a:p>
          </p:txBody>
        </p:sp>
      </p:grpSp>
      <p:sp>
        <p:nvSpPr>
          <p:cNvPr id="31" name="TextBox 30"/>
          <p:cNvSpPr txBox="1">
            <a:spLocks/>
          </p:cNvSpPr>
          <p:nvPr/>
        </p:nvSpPr>
        <p:spPr>
          <a:xfrm>
            <a:off x="9261323" y="1612719"/>
            <a:ext cx="2305041" cy="46166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ts val="600"/>
              </a:spcBef>
              <a:buSzPct val="100000"/>
              <a:buNone/>
            </a:pPr>
            <a:r>
              <a:rPr lang="en-US" sz="2400" dirty="0">
                <a:solidFill>
                  <a:srgbClr val="EE9D44"/>
                </a:solidFill>
              </a:rPr>
              <a:t>Investors</a:t>
            </a: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83F01DAA-47DE-4030-ABD5-F90A75C30E00}"/>
              </a:ext>
            </a:extLst>
          </p:cNvPr>
          <p:cNvSpPr/>
          <p:nvPr/>
        </p:nvSpPr>
        <p:spPr>
          <a:xfrm>
            <a:off x="6463259" y="1856471"/>
            <a:ext cx="2828544" cy="2438400"/>
          </a:xfrm>
          <a:prstGeom prst="triangle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238732B3-DE6E-44CB-9D3C-714E29F8F76A}"/>
              </a:ext>
            </a:extLst>
          </p:cNvPr>
          <p:cNvSpPr/>
          <p:nvPr/>
        </p:nvSpPr>
        <p:spPr>
          <a:xfrm>
            <a:off x="6614315" y="1771127"/>
            <a:ext cx="2828544" cy="2438400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4E3433F-EAE1-4845-8BD0-BEDABC8DA877}"/>
              </a:ext>
            </a:extLst>
          </p:cNvPr>
          <p:cNvCxnSpPr>
            <a:cxnSpLocks/>
          </p:cNvCxnSpPr>
          <p:nvPr/>
        </p:nvCxnSpPr>
        <p:spPr>
          <a:xfrm>
            <a:off x="8034497" y="1573633"/>
            <a:ext cx="1609054" cy="275052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0B3F8FA-A6E3-43D9-B504-9495FC582024}"/>
              </a:ext>
            </a:extLst>
          </p:cNvPr>
          <p:cNvCxnSpPr>
            <a:cxnSpLocks/>
          </p:cNvCxnSpPr>
          <p:nvPr/>
        </p:nvCxnSpPr>
        <p:spPr>
          <a:xfrm flipH="1">
            <a:off x="6287781" y="1573633"/>
            <a:ext cx="1609054" cy="275052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7CA976D-BAD1-4C70-B8D8-914DF8B8D1B4}"/>
              </a:ext>
            </a:extLst>
          </p:cNvPr>
          <p:cNvCxnSpPr>
            <a:cxnSpLocks/>
          </p:cNvCxnSpPr>
          <p:nvPr/>
        </p:nvCxnSpPr>
        <p:spPr>
          <a:xfrm>
            <a:off x="6382191" y="4427785"/>
            <a:ext cx="32004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3383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FC754EFA-6109-4803-9216-1EAAAEC2513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t="7813" b="7813"/>
          <a:stretch>
            <a:fillRect/>
          </a:stretch>
        </p:blipFill>
        <p:spPr/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061358F-D63E-7E49-95FD-0F5457BF0632}"/>
              </a:ext>
            </a:extLst>
          </p:cNvPr>
          <p:cNvSpPr/>
          <p:nvPr/>
        </p:nvSpPr>
        <p:spPr bwMode="auto">
          <a:xfrm>
            <a:off x="-1" y="-8755"/>
            <a:ext cx="11949113" cy="6730180"/>
          </a:xfrm>
          <a:prstGeom prst="rect">
            <a:avLst/>
          </a:prstGeom>
          <a:gradFill>
            <a:gsLst>
              <a:gs pos="100000">
                <a:srgbClr val="F7921E">
                  <a:alpha val="70000"/>
                </a:srgbClr>
              </a:gs>
              <a:gs pos="0">
                <a:srgbClr val="14B5E3">
                  <a:alpha val="40000"/>
                </a:srgbClr>
              </a:gs>
            </a:gsLst>
            <a:lin ang="2700000" scaled="1"/>
          </a:gradFill>
          <a:ln>
            <a:noFill/>
          </a:ln>
          <a:extLst/>
        </p:spPr>
        <p:txBody>
          <a:bodyPr spcFirstLastPara="1" vert="horz" wrap="square" lIns="89618" tIns="44809" rIns="89618" bIns="44809" numCol="1" rtlCol="0" anchor="ctr" anchorCtr="0" compatLnSpc="1">
            <a:prstTxWarp prst="textArchDown">
              <a:avLst>
                <a:gd name="adj" fmla="val 29361"/>
              </a:avLst>
            </a:prstTxWarp>
          </a:bodyPr>
          <a:lstStyle/>
          <a:p>
            <a:pPr algn="ctr"/>
            <a:endParaRPr lang="en-US" sz="1568" dirty="0">
              <a:latin typeface="Calibri Regular"/>
            </a:endParaRPr>
          </a:p>
        </p:txBody>
      </p:sp>
      <p:sp>
        <p:nvSpPr>
          <p:cNvPr id="11" name="Freeform 10"/>
          <p:cNvSpPr>
            <a:spLocks noChangeArrowheads="1"/>
          </p:cNvSpPr>
          <p:nvPr/>
        </p:nvSpPr>
        <p:spPr bwMode="auto">
          <a:xfrm>
            <a:off x="1751163" y="-1536978"/>
            <a:ext cx="8446787" cy="9795430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9" name="Freeform 8"/>
          <p:cNvSpPr>
            <a:spLocks noChangeArrowheads="1"/>
          </p:cNvSpPr>
          <p:nvPr/>
        </p:nvSpPr>
        <p:spPr bwMode="auto">
          <a:xfrm>
            <a:off x="2053835" y="-1185981"/>
            <a:ext cx="7841443" cy="9093436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8" name="Freeform 7"/>
          <p:cNvSpPr>
            <a:spLocks noChangeArrowheads="1"/>
          </p:cNvSpPr>
          <p:nvPr/>
        </p:nvSpPr>
        <p:spPr bwMode="auto">
          <a:xfrm>
            <a:off x="2361511" y="-829182"/>
            <a:ext cx="7226092" cy="8379837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6" name="Freeform 5"/>
          <p:cNvSpPr>
            <a:spLocks noChangeArrowheads="1"/>
          </p:cNvSpPr>
          <p:nvPr/>
        </p:nvSpPr>
        <p:spPr bwMode="auto">
          <a:xfrm>
            <a:off x="2684402" y="-454734"/>
            <a:ext cx="6580309" cy="7630944"/>
          </a:xfrm>
          <a:custGeom>
            <a:avLst/>
            <a:gdLst>
              <a:gd name="T0" fmla="*/ 789 w 1580"/>
              <a:gd name="T1" fmla="*/ 1829 h 1830"/>
              <a:gd name="T2" fmla="*/ 0 w 1580"/>
              <a:gd name="T3" fmla="*/ 1374 h 1830"/>
              <a:gd name="T4" fmla="*/ 0 w 1580"/>
              <a:gd name="T5" fmla="*/ 456 h 1830"/>
              <a:gd name="T6" fmla="*/ 782 w 1580"/>
              <a:gd name="T7" fmla="*/ 0 h 1830"/>
              <a:gd name="T8" fmla="*/ 1579 w 1580"/>
              <a:gd name="T9" fmla="*/ 463 h 1830"/>
              <a:gd name="T10" fmla="*/ 1579 w 1580"/>
              <a:gd name="T11" fmla="*/ 1374 h 1830"/>
              <a:gd name="T12" fmla="*/ 789 w 1580"/>
              <a:gd name="T13" fmla="*/ 1829 h 1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80" h="1830">
                <a:moveTo>
                  <a:pt x="789" y="1829"/>
                </a:moveTo>
                <a:lnTo>
                  <a:pt x="0" y="1374"/>
                </a:lnTo>
                <a:lnTo>
                  <a:pt x="0" y="456"/>
                </a:lnTo>
                <a:lnTo>
                  <a:pt x="782" y="0"/>
                </a:lnTo>
                <a:lnTo>
                  <a:pt x="1579" y="463"/>
                </a:lnTo>
                <a:lnTo>
                  <a:pt x="1579" y="1374"/>
                </a:lnTo>
                <a:lnTo>
                  <a:pt x="789" y="1829"/>
                </a:lnTo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882"/>
          </a:p>
        </p:txBody>
      </p:sp>
      <p:sp>
        <p:nvSpPr>
          <p:cNvPr id="3" name="Title 15"/>
          <p:cNvSpPr txBox="1">
            <a:spLocks/>
          </p:cNvSpPr>
          <p:nvPr/>
        </p:nvSpPr>
        <p:spPr>
          <a:xfrm>
            <a:off x="2728335" y="2710693"/>
            <a:ext cx="6492444" cy="1300090"/>
          </a:xfrm>
          <a:prstGeom prst="rect">
            <a:avLst/>
          </a:prstGeom>
        </p:spPr>
        <p:txBody>
          <a:bodyPr/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b="1" kern="1200" spc="-15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312">
                <a:latin typeface="+mn-lt"/>
                <a:ea typeface="Source Sans Pro" charset="0"/>
                <a:cs typeface="Source Sans Pro" charset="0"/>
              </a:rPr>
              <a:t>THANK YOU!</a:t>
            </a:r>
            <a:endParaRPr lang="en-US" sz="4312" dirty="0">
              <a:latin typeface="+mn-lt"/>
              <a:ea typeface="Source Sans Pro" charset="0"/>
              <a:cs typeface="Source Sans Pro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04500" y="4091632"/>
            <a:ext cx="2971556" cy="5731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1568" spc="294" dirty="0">
                <a:solidFill>
                  <a:srgbClr val="F7921E"/>
                </a:solidFill>
              </a:rPr>
              <a:t>@</a:t>
            </a:r>
            <a:r>
              <a:rPr lang="en-US" sz="1568" spc="294" dirty="0" err="1">
                <a:solidFill>
                  <a:srgbClr val="F7921E"/>
                </a:solidFill>
              </a:rPr>
              <a:t>HydrogenCouncil</a:t>
            </a:r>
            <a:r>
              <a:rPr lang="en-US" sz="1568" spc="294" dirty="0">
                <a:solidFill>
                  <a:srgbClr val="F7921E"/>
                </a:solidFill>
              </a:rPr>
              <a:t>                  #</a:t>
            </a:r>
            <a:r>
              <a:rPr lang="en-US" sz="1568" spc="294" dirty="0" err="1">
                <a:solidFill>
                  <a:srgbClr val="F7921E"/>
                </a:solidFill>
              </a:rPr>
              <a:t>HydrogenNow</a:t>
            </a:r>
            <a:endParaRPr lang="en-US" sz="1568" spc="294" dirty="0">
              <a:solidFill>
                <a:srgbClr val="F7921E"/>
              </a:solidFill>
            </a:endParaRPr>
          </a:p>
        </p:txBody>
      </p:sp>
      <p:sp>
        <p:nvSpPr>
          <p:cNvPr id="12" name="Shape 22">
            <a:extLst>
              <a:ext uri="{FF2B5EF4-FFF2-40B4-BE49-F238E27FC236}">
                <a16:creationId xmlns:a16="http://schemas.microsoft.com/office/drawing/2014/main" id="{CF776F0B-A40A-8F47-8418-85D91B923794}"/>
              </a:ext>
            </a:extLst>
          </p:cNvPr>
          <p:cNvSpPr/>
          <p:nvPr/>
        </p:nvSpPr>
        <p:spPr>
          <a:xfrm rot="19800000">
            <a:off x="8035971" y="-1970469"/>
            <a:ext cx="3309812" cy="38218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5400"/>
                </a:lnTo>
                <a:lnTo>
                  <a:pt x="21600" y="16200"/>
                </a:lnTo>
                <a:lnTo>
                  <a:pt x="10800" y="21600"/>
                </a:lnTo>
                <a:lnTo>
                  <a:pt x="0" y="16200"/>
                </a:lnTo>
                <a:lnTo>
                  <a:pt x="0" y="540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 w="12700">
            <a:miter lim="400000"/>
          </a:ln>
        </p:spPr>
        <p:txBody>
          <a:bodyPr lIns="44808" rIns="44808" anchor="ctr"/>
          <a:lstStyle/>
          <a:p>
            <a:endParaRPr sz="1568" dirty="0">
              <a:latin typeface="Calibri Regular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11E109-98D8-7F45-AA17-7550C38A95B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6322" y="389774"/>
            <a:ext cx="1776160" cy="69270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98F85B-1E95-4966-8859-507986171A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8413" y="4153208"/>
            <a:ext cx="428751" cy="42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89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/>
        </p:nvSpPr>
        <p:spPr>
          <a:xfrm>
            <a:off x="240050" y="1370098"/>
            <a:ext cx="3952809" cy="4495138"/>
          </a:xfrm>
          <a:prstGeom prst="rect">
            <a:avLst/>
          </a:prstGeom>
          <a:solidFill>
            <a:schemeClr val="accent1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sp>
        <p:nvSpPr>
          <p:cNvPr id="5" name="Trapezoid 4">
            <a:extLst>
              <a:ext uri="{FF2B5EF4-FFF2-40B4-BE49-F238E27FC236}">
                <a16:creationId xmlns:a16="http://schemas.microsoft.com/office/drawing/2014/main" id="{B5B17DE3-7A1A-A74A-9E2A-DD758DE541E0}"/>
              </a:ext>
            </a:extLst>
          </p:cNvPr>
          <p:cNvSpPr/>
          <p:nvPr/>
        </p:nvSpPr>
        <p:spPr>
          <a:xfrm rot="10800000">
            <a:off x="1493638" y="49"/>
            <a:ext cx="8845663" cy="730224"/>
          </a:xfrm>
          <a:prstGeom prst="trapezoid">
            <a:avLst>
              <a:gd name="adj" fmla="val 73214"/>
            </a:avLst>
          </a:prstGeom>
          <a:solidFill>
            <a:srgbClr val="14B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/>
          </a:p>
        </p:txBody>
      </p:sp>
      <p:sp>
        <p:nvSpPr>
          <p:cNvPr id="6" name="Номер слайда 21">
            <a:extLst>
              <a:ext uri="{FF2B5EF4-FFF2-40B4-BE49-F238E27FC236}">
                <a16:creationId xmlns:a16="http://schemas.microsoft.com/office/drawing/2014/main" id="{C692F6B4-2211-B641-AEFC-9DAA32D6996D}"/>
              </a:ext>
            </a:extLst>
          </p:cNvPr>
          <p:cNvSpPr txBox="1">
            <a:spLocks/>
          </p:cNvSpPr>
          <p:nvPr/>
        </p:nvSpPr>
        <p:spPr>
          <a:xfrm>
            <a:off x="11128296" y="6182948"/>
            <a:ext cx="457728" cy="183999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3" b="0" i="0" kern="1200">
                <a:solidFill>
                  <a:schemeClr val="tx1">
                    <a:alpha val="30000"/>
                  </a:schemeClr>
                </a:solidFill>
                <a:latin typeface="Calibri Regular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8D877B3-D348-4611-9BDB-C5374591D951}" type="slidenum">
              <a:rPr lang="en-US" sz="882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2</a:t>
            </a:fld>
            <a:endParaRPr lang="en-US" sz="882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7" name="Shape 22">
            <a:extLst>
              <a:ext uri="{FF2B5EF4-FFF2-40B4-BE49-F238E27FC236}">
                <a16:creationId xmlns:a16="http://schemas.microsoft.com/office/drawing/2014/main" id="{B6565B2F-D0A4-EA4B-9F79-6E0F447A0309}"/>
              </a:ext>
            </a:extLst>
          </p:cNvPr>
          <p:cNvSpPr/>
          <p:nvPr/>
        </p:nvSpPr>
        <p:spPr>
          <a:xfrm>
            <a:off x="11199121" y="6109046"/>
            <a:ext cx="316080" cy="331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5400"/>
                </a:lnTo>
                <a:lnTo>
                  <a:pt x="21600" y="16200"/>
                </a:lnTo>
                <a:lnTo>
                  <a:pt x="10800" y="21600"/>
                </a:lnTo>
                <a:lnTo>
                  <a:pt x="0" y="16200"/>
                </a:lnTo>
                <a:lnTo>
                  <a:pt x="0" y="5400"/>
                </a:lnTo>
                <a:close/>
              </a:path>
            </a:pathLst>
          </a:custGeom>
          <a:noFill/>
          <a:ln w="6350">
            <a:solidFill>
              <a:schemeClr val="tx1">
                <a:lumMod val="75000"/>
                <a:lumOff val="25000"/>
                <a:alpha val="20000"/>
              </a:schemeClr>
            </a:solidFill>
            <a:miter lim="400000"/>
          </a:ln>
        </p:spPr>
        <p:txBody>
          <a:bodyPr lIns="44808" rIns="44808" anchor="ctr"/>
          <a:lstStyle/>
          <a:p>
            <a:endParaRPr sz="1568" dirty="0">
              <a:solidFill>
                <a:schemeClr val="tx1">
                  <a:lumMod val="75000"/>
                  <a:lumOff val="25000"/>
                </a:schemeClr>
              </a:solidFill>
              <a:latin typeface="Calibri Regular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A0AD56-6510-4A3E-803D-1C8E62D32E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0"/>
          <a:stretch/>
        </p:blipFill>
        <p:spPr>
          <a:xfrm>
            <a:off x="395549" y="1574499"/>
            <a:ext cx="3614734" cy="239627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BD7C9F1F-539D-4C0A-842B-9BC5E7BBF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9435" y="196296"/>
            <a:ext cx="7382835" cy="517382"/>
          </a:xfrm>
        </p:spPr>
        <p:txBody>
          <a:bodyPr anchor="ctr">
            <a:noAutofit/>
          </a:bodyPr>
          <a:lstStyle/>
          <a:p>
            <a:pPr algn="ctr"/>
            <a:r>
              <a:rPr lang="en-GB" sz="2842" b="1" dirty="0">
                <a:solidFill>
                  <a:schemeClr val="bg1"/>
                </a:solidFill>
                <a:latin typeface="Calibri" pitchFamily="34" charset="0"/>
              </a:rPr>
              <a:t>The Hydrogen Council - Introduction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395550" y="4200897"/>
            <a:ext cx="3614734" cy="13922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sp>
        <p:nvSpPr>
          <p:cNvPr id="14" name="직사각형 13"/>
          <p:cNvSpPr/>
          <p:nvPr/>
        </p:nvSpPr>
        <p:spPr>
          <a:xfrm>
            <a:off x="475867" y="4339974"/>
            <a:ext cx="3639138" cy="4240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ko-KR" sz="2156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unched in January 2017</a:t>
            </a:r>
            <a:endParaRPr lang="ko-KR" altLang="en-US" sz="2156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직각 삼각형 17"/>
          <p:cNvSpPr/>
          <p:nvPr/>
        </p:nvSpPr>
        <p:spPr>
          <a:xfrm rot="10800000">
            <a:off x="3664346" y="4195702"/>
            <a:ext cx="360874" cy="357518"/>
          </a:xfrm>
          <a:prstGeom prst="rtTriangl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87BEF4-3AE9-A343-844E-51DFCD246F6A}"/>
              </a:ext>
            </a:extLst>
          </p:cNvPr>
          <p:cNvSpPr txBox="1"/>
          <p:nvPr/>
        </p:nvSpPr>
        <p:spPr>
          <a:xfrm>
            <a:off x="475867" y="4816447"/>
            <a:ext cx="3637149" cy="703740"/>
          </a:xfrm>
          <a:prstGeom prst="rect">
            <a:avLst/>
          </a:prstGeom>
          <a:noFill/>
        </p:spPr>
        <p:txBody>
          <a:bodyPr wrap="square" numCol="1" spcCol="360000" rtlCol="0">
            <a:noAutofit/>
          </a:bodyPr>
          <a:lstStyle/>
          <a:p>
            <a:pPr>
              <a:lnSpc>
                <a:spcPct val="130000"/>
              </a:lnSpc>
            </a:pPr>
            <a:r>
              <a:rPr lang="en-GB" sz="1568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lobal CEO-led initiative to foster the role of hydrogen in global energy transition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4342222" y="1270997"/>
            <a:ext cx="3096100" cy="4993881"/>
          </a:xfrm>
          <a:prstGeom prst="rect">
            <a:avLst/>
          </a:prstGeom>
          <a:solidFill>
            <a:schemeClr val="accent1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sp>
        <p:nvSpPr>
          <p:cNvPr id="24" name="직사각형 23"/>
          <p:cNvSpPr/>
          <p:nvPr/>
        </p:nvSpPr>
        <p:spPr>
          <a:xfrm>
            <a:off x="4479974" y="1417300"/>
            <a:ext cx="2844289" cy="46917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sp>
        <p:nvSpPr>
          <p:cNvPr id="25" name="직각 삼각형 24"/>
          <p:cNvSpPr/>
          <p:nvPr/>
        </p:nvSpPr>
        <p:spPr>
          <a:xfrm rot="10800000">
            <a:off x="6963389" y="1417300"/>
            <a:ext cx="360874" cy="357518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A90128E-CA99-48FC-B4E4-5FA4CD02577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7711" y="1702400"/>
            <a:ext cx="2100996" cy="213152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F9E91DD-A258-B74B-B6F5-DC0071884B07}"/>
              </a:ext>
            </a:extLst>
          </p:cNvPr>
          <p:cNvSpPr txBox="1"/>
          <p:nvPr/>
        </p:nvSpPr>
        <p:spPr>
          <a:xfrm>
            <a:off x="4549396" y="4166230"/>
            <a:ext cx="2856337" cy="901259"/>
          </a:xfrm>
          <a:prstGeom prst="rect">
            <a:avLst/>
          </a:prstGeom>
          <a:noFill/>
        </p:spPr>
        <p:txBody>
          <a:bodyPr wrap="square" numCol="1" spcCol="360000" rtlCol="0">
            <a:noAutofit/>
          </a:bodyPr>
          <a:lstStyle/>
          <a:p>
            <a:pPr>
              <a:lnSpc>
                <a:spcPts val="1960"/>
              </a:lnSpc>
              <a:spcBef>
                <a:spcPts val="588"/>
              </a:spcBef>
            </a:pPr>
            <a:r>
              <a:rPr lang="en-GB" sz="2156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 the World Economic Forum in Davos </a:t>
            </a:r>
          </a:p>
          <a:p>
            <a:pPr>
              <a:lnSpc>
                <a:spcPts val="1960"/>
              </a:lnSpc>
              <a:spcBef>
                <a:spcPts val="588"/>
              </a:spcBef>
            </a:pPr>
            <a:endParaRPr lang="en-GB" sz="2156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lnSpc>
                <a:spcPts val="1960"/>
              </a:lnSpc>
              <a:spcBef>
                <a:spcPts val="588"/>
              </a:spcBef>
            </a:pPr>
            <a:r>
              <a:rPr lang="en-GB" sz="156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inging together leading </a:t>
            </a:r>
          </a:p>
          <a:p>
            <a:pPr>
              <a:lnSpc>
                <a:spcPts val="1960"/>
              </a:lnSpc>
              <a:spcBef>
                <a:spcPts val="588"/>
              </a:spcBef>
            </a:pPr>
            <a:r>
              <a:rPr lang="en-GB" sz="156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ergy, transport &amp; industry </a:t>
            </a:r>
          </a:p>
          <a:p>
            <a:pPr>
              <a:lnSpc>
                <a:spcPts val="1960"/>
              </a:lnSpc>
              <a:spcBef>
                <a:spcPts val="588"/>
              </a:spcBef>
            </a:pPr>
            <a:r>
              <a:rPr lang="en-GB" sz="156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ultinationals around the world</a:t>
            </a:r>
          </a:p>
        </p:txBody>
      </p:sp>
      <p:sp>
        <p:nvSpPr>
          <p:cNvPr id="26" name="직사각형 25"/>
          <p:cNvSpPr/>
          <p:nvPr/>
        </p:nvSpPr>
        <p:spPr>
          <a:xfrm>
            <a:off x="7571389" y="1377975"/>
            <a:ext cx="3952809" cy="4624096"/>
          </a:xfrm>
          <a:prstGeom prst="rect">
            <a:avLst/>
          </a:prstGeom>
          <a:solidFill>
            <a:schemeClr val="accent1">
              <a:lumMod val="20000"/>
              <a:lumOff val="80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pic>
        <p:nvPicPr>
          <p:cNvPr id="17" name="Picture 16" descr="D:\Users\alena.kotelnikova\Downloads\FCVｓ.jpg">
            <a:extLst>
              <a:ext uri="{FF2B5EF4-FFF2-40B4-BE49-F238E27FC236}">
                <a16:creationId xmlns:a16="http://schemas.microsoft.com/office/drawing/2014/main" id="{BB1686EB-3446-4FDE-AA67-D89BFAAD4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27001" y="1579211"/>
            <a:ext cx="3441582" cy="2160563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27" name="직사각형 26"/>
          <p:cNvSpPr/>
          <p:nvPr/>
        </p:nvSpPr>
        <p:spPr>
          <a:xfrm>
            <a:off x="7823830" y="3978650"/>
            <a:ext cx="3614734" cy="18944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sp>
        <p:nvSpPr>
          <p:cNvPr id="28" name="직각 삼각형 27"/>
          <p:cNvSpPr/>
          <p:nvPr/>
        </p:nvSpPr>
        <p:spPr>
          <a:xfrm rot="10800000">
            <a:off x="11118429" y="3909627"/>
            <a:ext cx="360874" cy="357518"/>
          </a:xfrm>
          <a:prstGeom prst="rtTriangl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568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6FF831-36E5-F643-9623-DA2F05AB0EE5}"/>
              </a:ext>
            </a:extLst>
          </p:cNvPr>
          <p:cNvSpPr txBox="1"/>
          <p:nvPr/>
        </p:nvSpPr>
        <p:spPr>
          <a:xfrm>
            <a:off x="7910440" y="4174106"/>
            <a:ext cx="3798623" cy="313351"/>
          </a:xfrm>
          <a:prstGeom prst="rect">
            <a:avLst/>
          </a:prstGeom>
          <a:noFill/>
        </p:spPr>
        <p:txBody>
          <a:bodyPr wrap="square" numCol="1" spcCol="360000" rtlCol="0">
            <a:noAutofit/>
          </a:bodyPr>
          <a:lstStyle/>
          <a:p>
            <a:pPr>
              <a:lnSpc>
                <a:spcPts val="1960"/>
              </a:lnSpc>
              <a:spcBef>
                <a:spcPts val="588"/>
              </a:spcBef>
            </a:pPr>
            <a:r>
              <a:rPr lang="en-GB" sz="2156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 provide high level vis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6FF831-36E5-F643-9623-DA2F05AB0EE5}"/>
              </a:ext>
            </a:extLst>
          </p:cNvPr>
          <p:cNvSpPr txBox="1"/>
          <p:nvPr/>
        </p:nvSpPr>
        <p:spPr>
          <a:xfrm>
            <a:off x="7910441" y="4648709"/>
            <a:ext cx="3528124" cy="1224404"/>
          </a:xfrm>
          <a:prstGeom prst="rect">
            <a:avLst/>
          </a:prstGeom>
          <a:noFill/>
        </p:spPr>
        <p:txBody>
          <a:bodyPr wrap="square" numCol="1" spcCol="360000" rtlCol="0">
            <a:noAutofit/>
          </a:bodyPr>
          <a:lstStyle/>
          <a:p>
            <a:pPr lvl="0"/>
            <a:r>
              <a:rPr lang="fr-FR" dirty="0" err="1" smtClean="0"/>
              <a:t>Worlwide</a:t>
            </a:r>
            <a:r>
              <a:rPr lang="fr-FR" dirty="0" smtClean="0"/>
              <a:t> </a:t>
            </a:r>
            <a:r>
              <a:rPr lang="fr-FR" dirty="0"/>
              <a:t>exchange </a:t>
            </a:r>
            <a:r>
              <a:rPr lang="fr-FR" dirty="0" err="1"/>
              <a:t>platform</a:t>
            </a:r>
            <a:r>
              <a:rPr lang="fr-FR" dirty="0"/>
              <a:t> for key </a:t>
            </a:r>
            <a:r>
              <a:rPr lang="fr-FR" dirty="0" err="1"/>
              <a:t>industry</a:t>
            </a:r>
            <a:r>
              <a:rPr lang="fr-FR" dirty="0"/>
              <a:t> </a:t>
            </a:r>
            <a:r>
              <a:rPr lang="fr-FR" dirty="0" err="1"/>
              <a:t>stakeholders</a:t>
            </a:r>
            <a:endParaRPr lang="fr-FR" dirty="0"/>
          </a:p>
          <a:p>
            <a:pPr lvl="0"/>
            <a:endParaRPr lang="fr-FR" dirty="0" smtClean="0"/>
          </a:p>
          <a:p>
            <a:pPr lvl="0"/>
            <a:r>
              <a:rPr lang="fr-FR" dirty="0" smtClean="0"/>
              <a:t>Top </a:t>
            </a:r>
            <a:r>
              <a:rPr lang="fr-FR" dirty="0" err="1"/>
              <a:t>level</a:t>
            </a:r>
            <a:r>
              <a:rPr lang="fr-FR" dirty="0"/>
              <a:t> international </a:t>
            </a:r>
            <a:r>
              <a:rPr lang="fr-FR" dirty="0" err="1"/>
              <a:t>advisory</a:t>
            </a:r>
            <a:r>
              <a:rPr lang="fr-FR" dirty="0"/>
              <a:t> </a:t>
            </a:r>
            <a:r>
              <a:rPr lang="fr-FR" dirty="0" err="1"/>
              <a:t>entity</a:t>
            </a:r>
            <a:r>
              <a:rPr lang="fr-FR" dirty="0"/>
              <a:t> for high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decision</a:t>
            </a:r>
            <a:r>
              <a:rPr lang="fr-FR" dirty="0"/>
              <a:t> </a:t>
            </a:r>
            <a:r>
              <a:rPr lang="fr-FR" dirty="0" err="1"/>
              <a:t>maker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53247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27615" y="2160409"/>
            <a:ext cx="8093882" cy="2400657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500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3231470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121EAE-66A4-4F0D-ADE7-EB4458E30FC4}"/>
              </a:ext>
            </a:extLst>
          </p:cNvPr>
          <p:cNvSpPr/>
          <p:nvPr/>
        </p:nvSpPr>
        <p:spPr>
          <a:xfrm>
            <a:off x="3916680" y="153385"/>
            <a:ext cx="7865416" cy="6438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1F0B42-1287-4B94-A183-05155450CD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5266208"/>
              </p:ext>
            </p:extLst>
          </p:nvPr>
        </p:nvGraphicFramePr>
        <p:xfrm>
          <a:off x="3599336" y="998"/>
          <a:ext cx="998" cy="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258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1F0B42-1287-4B94-A183-05155450C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99336" y="998"/>
                        <a:ext cx="998" cy="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365886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115888" algn="l"/>
                <a:tab pos="358775" algn="l"/>
              </a:tabLst>
            </a:pPr>
            <a:r>
              <a:rPr lang="en-US" dirty="0"/>
              <a:t>Transportation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4239826" y="2244778"/>
            <a:ext cx="3427790" cy="97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636" dirty="0"/>
              <a:t>Unit of measur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441E989-C71F-4434-9792-753331D2037D}"/>
              </a:ext>
            </a:extLst>
          </p:cNvPr>
          <p:cNvGrpSpPr/>
          <p:nvPr/>
        </p:nvGrpSpPr>
        <p:grpSpPr>
          <a:xfrm>
            <a:off x="4137042" y="331640"/>
            <a:ext cx="832417" cy="707377"/>
            <a:chOff x="12709221" y="-3857301"/>
            <a:chExt cx="2622248" cy="2228351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341FCF0-C013-450B-9E9B-4B0D83CD10A3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38" t="6145" r="11638" b="17131"/>
            <a:stretch/>
          </p:blipFill>
          <p:spPr>
            <a:xfrm>
              <a:off x="12709221" y="-3857301"/>
              <a:ext cx="2622248" cy="2228351"/>
            </a:xfrm>
            <a:prstGeom prst="hexagon">
              <a:avLst>
                <a:gd name="adj" fmla="val 28490"/>
                <a:gd name="vf" fmla="val 115470"/>
              </a:avLst>
            </a:prstGeom>
            <a:ln w="9525">
              <a:solidFill>
                <a:schemeClr val="accent4"/>
              </a:solidFill>
            </a:ln>
          </p:spPr>
        </p:pic>
        <p:sp>
          <p:nvSpPr>
            <p:cNvPr id="32" name="Hexagon 31">
              <a:extLst>
                <a:ext uri="{FF2B5EF4-FFF2-40B4-BE49-F238E27FC236}">
                  <a16:creationId xmlns:a16="http://schemas.microsoft.com/office/drawing/2014/main" id="{C84ACC93-F397-4756-87DF-014505BC8392}"/>
                </a:ext>
              </a:extLst>
            </p:cNvPr>
            <p:cNvSpPr>
              <a:spLocks/>
            </p:cNvSpPr>
            <p:nvPr/>
          </p:nvSpPr>
          <p:spPr>
            <a:xfrm>
              <a:off x="13191821" y="-3857301"/>
              <a:ext cx="604521" cy="521493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de-DE" sz="1509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6A687C0-2F9B-40D1-900E-36843CB7ACD2}"/>
              </a:ext>
            </a:extLst>
          </p:cNvPr>
          <p:cNvGrpSpPr/>
          <p:nvPr/>
        </p:nvGrpSpPr>
        <p:grpSpPr>
          <a:xfrm>
            <a:off x="5693748" y="153385"/>
            <a:ext cx="6088348" cy="3831458"/>
            <a:chOff x="3847319" y="1409265"/>
            <a:chExt cx="4836524" cy="3043673"/>
          </a:xfrm>
        </p:grpSpPr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4E96DCB7-33F3-4D00-952C-94BB827E0E75}"/>
                </a:ext>
              </a:extLst>
            </p:cNvPr>
            <p:cNvSpPr>
              <a:spLocks/>
            </p:cNvSpPr>
            <p:nvPr/>
          </p:nvSpPr>
          <p:spPr>
            <a:xfrm>
              <a:off x="4917826" y="2363531"/>
              <a:ext cx="2092672" cy="1805252"/>
            </a:xfrm>
            <a:prstGeom prst="hexagon">
              <a:avLst>
                <a:gd name="adj" fmla="val 28619"/>
                <a:gd name="vf" fmla="val 115470"/>
              </a:avLst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id="{DA6FD912-8ED7-4A85-8CA0-00B162350021}"/>
                </a:ext>
              </a:extLst>
            </p:cNvPr>
            <p:cNvSpPr>
              <a:spLocks/>
            </p:cNvSpPr>
            <p:nvPr/>
          </p:nvSpPr>
          <p:spPr>
            <a:xfrm>
              <a:off x="6865363" y="3312799"/>
              <a:ext cx="963264" cy="830964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21DD470E-E9ED-46D7-B186-19F7A0B5B432}"/>
                </a:ext>
              </a:extLst>
            </p:cNvPr>
            <p:cNvSpPr>
              <a:spLocks/>
            </p:cNvSpPr>
            <p:nvPr/>
          </p:nvSpPr>
          <p:spPr>
            <a:xfrm>
              <a:off x="6586056" y="1409265"/>
              <a:ext cx="2097787" cy="180966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id="{C25B7EF3-4C31-4FBB-9BF4-2CBBCE1E28F0}"/>
                </a:ext>
              </a:extLst>
            </p:cNvPr>
            <p:cNvSpPr>
              <a:spLocks/>
            </p:cNvSpPr>
            <p:nvPr/>
          </p:nvSpPr>
          <p:spPr>
            <a:xfrm>
              <a:off x="3847319" y="3312969"/>
              <a:ext cx="1321467" cy="1139969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DC5DD9AD-86BD-4BD4-96BE-98C22AF0A3D0}"/>
                </a:ext>
              </a:extLst>
            </p:cNvPr>
            <p:cNvSpPr>
              <a:spLocks/>
            </p:cNvSpPr>
            <p:nvPr/>
          </p:nvSpPr>
          <p:spPr>
            <a:xfrm>
              <a:off x="4917826" y="2363531"/>
              <a:ext cx="2097787" cy="180966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C10E1882-58A0-45AD-8554-5FD927F9B915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r="12702"/>
            <a:stretch/>
          </p:blipFill>
          <p:spPr>
            <a:xfrm>
              <a:off x="5014905" y="2447042"/>
              <a:ext cx="1903629" cy="1637589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6C5F5D84-3950-40C9-B701-0E642B41990F}"/>
                </a:ext>
              </a:extLst>
            </p:cNvPr>
            <p:cNvPicPr>
              <a:picLocks/>
            </p:cNvPicPr>
            <p:nvPr/>
          </p:nvPicPr>
          <p:blipFill rotWithShape="1">
            <a:blip r:embed="rId9"/>
            <a:srcRect l="1310" r="11392"/>
            <a:stretch/>
          </p:blipFill>
          <p:spPr>
            <a:xfrm>
              <a:off x="6938062" y="3376500"/>
              <a:ext cx="817864" cy="703564"/>
            </a:xfrm>
            <a:prstGeom prst="hexagon">
              <a:avLst>
                <a:gd name="adj" fmla="val 29754"/>
                <a:gd name="vf" fmla="val 115470"/>
              </a:avLst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10B49AC-4C09-4D2F-98F1-487CD79CE714}"/>
                </a:ext>
              </a:extLst>
            </p:cNvPr>
            <p:cNvPicPr>
              <a:picLocks/>
            </p:cNvPicPr>
            <p:nvPr/>
          </p:nvPicPr>
          <p:blipFill rotWithShape="1">
            <a:blip r:embed="rId10"/>
            <a:srcRect l="5637" r="7065"/>
            <a:stretch/>
          </p:blipFill>
          <p:spPr>
            <a:xfrm>
              <a:off x="3936621" y="3391381"/>
              <a:ext cx="1142865" cy="983145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6021313-AF6D-4060-B825-68877C4551EF}"/>
                </a:ext>
              </a:extLst>
            </p:cNvPr>
            <p:cNvPicPr>
              <a:picLocks/>
            </p:cNvPicPr>
            <p:nvPr/>
          </p:nvPicPr>
          <p:blipFill rotWithShape="1">
            <a:blip r:embed="rId11"/>
            <a:srcRect l="12702"/>
            <a:stretch/>
          </p:blipFill>
          <p:spPr>
            <a:xfrm>
              <a:off x="6683135" y="1495305"/>
              <a:ext cx="1903629" cy="1637589"/>
            </a:xfrm>
            <a:prstGeom prst="hexagon">
              <a:avLst>
                <a:gd name="adj" fmla="val 28657"/>
                <a:gd name="vf" fmla="val 115470"/>
              </a:avLst>
            </a:prstGeom>
          </p:spPr>
        </p:pic>
        <p:sp>
          <p:nvSpPr>
            <p:cNvPr id="37" name="Hexagon 36">
              <a:extLst>
                <a:ext uri="{FF2B5EF4-FFF2-40B4-BE49-F238E27FC236}">
                  <a16:creationId xmlns:a16="http://schemas.microsoft.com/office/drawing/2014/main" id="{DA6FD912-8ED7-4A85-8CA0-00B162350021}"/>
                </a:ext>
              </a:extLst>
            </p:cNvPr>
            <p:cNvSpPr>
              <a:spLocks/>
            </p:cNvSpPr>
            <p:nvPr/>
          </p:nvSpPr>
          <p:spPr>
            <a:xfrm>
              <a:off x="4100415" y="2384034"/>
              <a:ext cx="963264" cy="830964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F00342B1-395D-4DBE-A517-C1150396AE11}"/>
                </a:ext>
              </a:extLst>
            </p:cNvPr>
            <p:cNvPicPr>
              <a:picLocks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185439" y="2457381"/>
              <a:ext cx="793215" cy="684270"/>
            </a:xfrm>
            <a:prstGeom prst="hexagon">
              <a:avLst>
                <a:gd name="adj" fmla="val 28551"/>
                <a:gd name="vf" fmla="val 115470"/>
              </a:avLst>
            </a:prstGeom>
          </p:spPr>
        </p:pic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3CB18192-C434-4193-A45F-2A7A986FB22D}"/>
              </a:ext>
            </a:extLst>
          </p:cNvPr>
          <p:cNvSpPr txBox="1"/>
          <p:nvPr/>
        </p:nvSpPr>
        <p:spPr bwMode="gray">
          <a:xfrm>
            <a:off x="158759" y="1361036"/>
            <a:ext cx="3383466" cy="39272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dirty="0">
                <a:solidFill>
                  <a:schemeClr val="accent4"/>
                </a:solidFill>
              </a:rPr>
              <a:t>Hydrogen and fuel cells are critical elements in the decarbonization of the transportation sector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FCEVs are a necessary complement to </a:t>
            </a:r>
            <a:r>
              <a:rPr lang="en-US" sz="1400" dirty="0" err="1"/>
              <a:t>BEVs</a:t>
            </a:r>
            <a:r>
              <a:rPr lang="en-US" sz="1400" dirty="0"/>
              <a:t> to achieve deep decarbonization of the transportation sector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They are convenient for consumers due to long ranges and fast refueling times and particularly competitive for heavily-used vehicles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Hydrogen-powered vehicles are commercially available now or within the next five years in medium-sized/ large cars, buses, trucks, vans, trains, and forklifts</a:t>
            </a:r>
          </a:p>
          <a:p>
            <a:pPr lvl="0">
              <a:spcBef>
                <a:spcPct val="40000"/>
              </a:spcBef>
            </a:pPr>
            <a:endParaRPr lang="en-US" b="1" dirty="0">
              <a:solidFill>
                <a:schemeClr val="accent2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F05577F-9C84-47C8-9183-0D7DB519B24F}"/>
              </a:ext>
            </a:extLst>
          </p:cNvPr>
          <p:cNvCxnSpPr>
            <a:cxnSpLocks/>
          </p:cNvCxnSpPr>
          <p:nvPr/>
        </p:nvCxnSpPr>
        <p:spPr>
          <a:xfrm>
            <a:off x="4155278" y="4402136"/>
            <a:ext cx="3535409" cy="0"/>
          </a:xfrm>
          <a:prstGeom prst="line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446398E-AD58-4819-AE64-F88828DFF7BA}"/>
              </a:ext>
            </a:extLst>
          </p:cNvPr>
          <p:cNvSpPr txBox="1"/>
          <p:nvPr/>
        </p:nvSpPr>
        <p:spPr bwMode="gray">
          <a:xfrm>
            <a:off x="4155278" y="4074725"/>
            <a:ext cx="35354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30</a:t>
            </a:r>
            <a:r>
              <a:rPr lang="en-US" dirty="0">
                <a:solidFill>
                  <a:schemeClr val="accent4"/>
                </a:solidFill>
              </a:rPr>
              <a:t> milestones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5A65CE-74EB-4ED9-A7C8-66DB7FA99534}"/>
              </a:ext>
            </a:extLst>
          </p:cNvPr>
          <p:cNvSpPr txBox="1"/>
          <p:nvPr/>
        </p:nvSpPr>
        <p:spPr>
          <a:xfrm>
            <a:off x="4155278" y="4506709"/>
            <a:ext cx="3433747" cy="16804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1 in 12 cars in Germany, Japan, South Korea, and California powered by hydrogen </a:t>
            </a:r>
          </a:p>
          <a:p>
            <a:pPr lvl="1"/>
            <a:r>
              <a:rPr lang="en-US" dirty="0"/>
              <a:t>Globally 10 to 15 million cars and 500,000 trucks powered by hydrogen</a:t>
            </a:r>
          </a:p>
          <a:p>
            <a:pPr lvl="1"/>
            <a:r>
              <a:rPr lang="en-US" dirty="0"/>
              <a:t>Deployment of hydrogen-powered trains and passenger ships</a:t>
            </a:r>
            <a:endParaRPr lang="de-DE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7061452-E2F4-4E0E-9E89-31326F46075B}"/>
              </a:ext>
            </a:extLst>
          </p:cNvPr>
          <p:cNvCxnSpPr>
            <a:cxnSpLocks/>
          </p:cNvCxnSpPr>
          <p:nvPr/>
        </p:nvCxnSpPr>
        <p:spPr>
          <a:xfrm>
            <a:off x="7791058" y="4402136"/>
            <a:ext cx="3861192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80657BA-D771-4679-941C-85DB885D2839}"/>
              </a:ext>
            </a:extLst>
          </p:cNvPr>
          <p:cNvSpPr txBox="1"/>
          <p:nvPr/>
        </p:nvSpPr>
        <p:spPr bwMode="gray">
          <a:xfrm>
            <a:off x="7791058" y="4074725"/>
            <a:ext cx="39910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50</a:t>
            </a:r>
            <a:r>
              <a:rPr lang="en-US" dirty="0">
                <a:solidFill>
                  <a:schemeClr val="accent4"/>
                </a:solidFill>
              </a:rPr>
              <a:t> target picture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5B477D7-FE35-46C2-88D0-406EDF95DCA4}"/>
              </a:ext>
            </a:extLst>
          </p:cNvPr>
          <p:cNvSpPr txBox="1"/>
          <p:nvPr/>
        </p:nvSpPr>
        <p:spPr>
          <a:xfrm>
            <a:off x="7804161" y="4506709"/>
            <a:ext cx="3848090" cy="17666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Up to 400 million passenger vehicles (~25%), </a:t>
            </a:r>
          </a:p>
          <a:p>
            <a:pPr lvl="1"/>
            <a:r>
              <a:rPr lang="en-US" dirty="0"/>
              <a:t>5 million trucks (~30%), and more than </a:t>
            </a:r>
            <a:br>
              <a:rPr lang="en-US" dirty="0"/>
            </a:br>
            <a:r>
              <a:rPr lang="en-US" dirty="0"/>
              <a:t>15 million buses (~25%) running on hydrogen</a:t>
            </a:r>
          </a:p>
          <a:p>
            <a:pPr lvl="1"/>
            <a:r>
              <a:rPr lang="en-US" dirty="0"/>
              <a:t>20% of today’s diesel trains replaced with hydrogen- powered trains</a:t>
            </a:r>
          </a:p>
          <a:p>
            <a:pPr lvl="1"/>
            <a:r>
              <a:rPr lang="en-US" dirty="0"/>
              <a:t>20 million barrels of oil replaced per day, </a:t>
            </a:r>
            <a:br>
              <a:rPr lang="en-US" dirty="0"/>
            </a:br>
            <a:r>
              <a:rPr lang="en-US" dirty="0"/>
              <a:t>3.2 Gt CO2 abated per year</a:t>
            </a:r>
          </a:p>
        </p:txBody>
      </p:sp>
    </p:spTree>
    <p:extLst>
      <p:ext uri="{BB962C8B-B14F-4D97-AF65-F5344CB8AC3E}">
        <p14:creationId xmlns:p14="http://schemas.microsoft.com/office/powerpoint/2010/main" val="171373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121EAE-66A4-4F0D-ADE7-EB4458E30FC4}"/>
              </a:ext>
            </a:extLst>
          </p:cNvPr>
          <p:cNvSpPr/>
          <p:nvPr/>
        </p:nvSpPr>
        <p:spPr>
          <a:xfrm>
            <a:off x="3916680" y="153385"/>
            <a:ext cx="7865416" cy="6438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A7E3390-9736-49D2-8E08-56DA5E338CAC}"/>
              </a:ext>
            </a:extLst>
          </p:cNvPr>
          <p:cNvGrpSpPr>
            <a:grpSpLocks/>
          </p:cNvGrpSpPr>
          <p:nvPr/>
        </p:nvGrpSpPr>
        <p:grpSpPr>
          <a:xfrm>
            <a:off x="5693748" y="153385"/>
            <a:ext cx="6088348" cy="3831458"/>
            <a:chOff x="3847319" y="1409265"/>
            <a:chExt cx="4836524" cy="3043673"/>
          </a:xfrm>
        </p:grpSpPr>
        <p:sp>
          <p:nvSpPr>
            <p:cNvPr id="45" name="Hexagon 44">
              <a:extLst>
                <a:ext uri="{FF2B5EF4-FFF2-40B4-BE49-F238E27FC236}">
                  <a16:creationId xmlns:a16="http://schemas.microsoft.com/office/drawing/2014/main" id="{565BE6E6-8361-4E1E-B3D0-14646B096AFD}"/>
                </a:ext>
              </a:extLst>
            </p:cNvPr>
            <p:cNvSpPr>
              <a:spLocks/>
            </p:cNvSpPr>
            <p:nvPr/>
          </p:nvSpPr>
          <p:spPr>
            <a:xfrm>
              <a:off x="4917826" y="2363531"/>
              <a:ext cx="2092672" cy="1805252"/>
            </a:xfrm>
            <a:prstGeom prst="hexagon">
              <a:avLst>
                <a:gd name="adj" fmla="val 28619"/>
                <a:gd name="vf" fmla="val 115470"/>
              </a:avLst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87D9CE70-2E45-495B-A4AF-6F4CEDFB5527}"/>
                </a:ext>
              </a:extLst>
            </p:cNvPr>
            <p:cNvSpPr>
              <a:spLocks/>
            </p:cNvSpPr>
            <p:nvPr/>
          </p:nvSpPr>
          <p:spPr>
            <a:xfrm>
              <a:off x="6865363" y="3312799"/>
              <a:ext cx="963264" cy="830964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Hexagon 46">
              <a:extLst>
                <a:ext uri="{FF2B5EF4-FFF2-40B4-BE49-F238E27FC236}">
                  <a16:creationId xmlns:a16="http://schemas.microsoft.com/office/drawing/2014/main" id="{652B6A8E-B39F-47E6-A9EC-35C0C8B7E1F7}"/>
                </a:ext>
              </a:extLst>
            </p:cNvPr>
            <p:cNvSpPr>
              <a:spLocks/>
            </p:cNvSpPr>
            <p:nvPr/>
          </p:nvSpPr>
          <p:spPr>
            <a:xfrm>
              <a:off x="6586056" y="1409265"/>
              <a:ext cx="2097787" cy="180966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48" name="Hexagon 47">
              <a:extLst>
                <a:ext uri="{FF2B5EF4-FFF2-40B4-BE49-F238E27FC236}">
                  <a16:creationId xmlns:a16="http://schemas.microsoft.com/office/drawing/2014/main" id="{1570C2EC-25D3-43E4-BCB3-8110A27669B8}"/>
                </a:ext>
              </a:extLst>
            </p:cNvPr>
            <p:cNvSpPr>
              <a:spLocks/>
            </p:cNvSpPr>
            <p:nvPr/>
          </p:nvSpPr>
          <p:spPr>
            <a:xfrm>
              <a:off x="3847319" y="3312969"/>
              <a:ext cx="1321467" cy="1139969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49" name="Hexagon 48">
              <a:extLst>
                <a:ext uri="{FF2B5EF4-FFF2-40B4-BE49-F238E27FC236}">
                  <a16:creationId xmlns:a16="http://schemas.microsoft.com/office/drawing/2014/main" id="{E64E0BBF-1D1C-4F0F-BA82-81F4602C3ED7}"/>
                </a:ext>
              </a:extLst>
            </p:cNvPr>
            <p:cNvSpPr>
              <a:spLocks/>
            </p:cNvSpPr>
            <p:nvPr/>
          </p:nvSpPr>
          <p:spPr>
            <a:xfrm>
              <a:off x="4917826" y="2363531"/>
              <a:ext cx="2097787" cy="180966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Hexagon 52">
              <a:extLst>
                <a:ext uri="{FF2B5EF4-FFF2-40B4-BE49-F238E27FC236}">
                  <a16:creationId xmlns:a16="http://schemas.microsoft.com/office/drawing/2014/main" id="{A2956B4B-4FF9-4FF2-9477-AC8D7B16B3F7}"/>
                </a:ext>
              </a:extLst>
            </p:cNvPr>
            <p:cNvSpPr>
              <a:spLocks/>
            </p:cNvSpPr>
            <p:nvPr/>
          </p:nvSpPr>
          <p:spPr>
            <a:xfrm>
              <a:off x="4100415" y="2384034"/>
              <a:ext cx="963264" cy="830964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01EA9226-06DB-42B1-98B9-D10764B39788}"/>
                </a:ext>
              </a:extLst>
            </p:cNvPr>
            <p:cNvPicPr>
              <a:picLocks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48" t="5169" r="16657" b="5776"/>
            <a:stretch/>
          </p:blipFill>
          <p:spPr>
            <a:xfrm>
              <a:off x="5014905" y="2457381"/>
              <a:ext cx="1903629" cy="1616909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7B966D39-B5A9-461E-B08C-124F6D59970C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486" t="4284" r="14486" b="4284"/>
            <a:stretch/>
          </p:blipFill>
          <p:spPr>
            <a:xfrm>
              <a:off x="6938062" y="3377687"/>
              <a:ext cx="817864" cy="701188"/>
            </a:xfrm>
            <a:prstGeom prst="hexagon">
              <a:avLst>
                <a:gd name="adj" fmla="val 29754"/>
                <a:gd name="vf" fmla="val 115470"/>
              </a:avLst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B42E18FE-D881-4B0C-9F26-26EC1A37D1FB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30" t="2899" r="13430"/>
            <a:stretch/>
          </p:blipFill>
          <p:spPr>
            <a:xfrm>
              <a:off x="3939615" y="3377687"/>
              <a:ext cx="1142865" cy="1010534"/>
            </a:xfrm>
            <a:prstGeom prst="hexagon">
              <a:avLst>
                <a:gd name="adj" fmla="val 28708"/>
                <a:gd name="vf" fmla="val 115470"/>
              </a:avLst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6EEC6DBA-9F92-4A10-87A0-24EC218E1151}"/>
                </a:ext>
              </a:extLst>
            </p:cNvPr>
            <p:cNvPicPr>
              <a:picLocks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917" t="8595" r="12649" b="8595"/>
            <a:stretch/>
          </p:blipFill>
          <p:spPr>
            <a:xfrm>
              <a:off x="6683135" y="1496987"/>
              <a:ext cx="1903629" cy="1634222"/>
            </a:xfrm>
            <a:prstGeom prst="hexagon">
              <a:avLst>
                <a:gd name="adj" fmla="val 28657"/>
                <a:gd name="vf" fmla="val 115470"/>
              </a:avLst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E9B04869-A697-4694-BC37-6B489FC678F2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92" t="8827" r="29232" b="8827"/>
            <a:stretch/>
          </p:blipFill>
          <p:spPr>
            <a:xfrm>
              <a:off x="4185439" y="2457381"/>
              <a:ext cx="793215" cy="684270"/>
            </a:xfrm>
            <a:prstGeom prst="hexagon">
              <a:avLst>
                <a:gd name="adj" fmla="val 28551"/>
                <a:gd name="vf" fmla="val 115470"/>
              </a:avLst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7612C58-D2A4-47EC-80BA-AD560D311D17}"/>
              </a:ext>
            </a:extLst>
          </p:cNvPr>
          <p:cNvGrpSpPr>
            <a:grpSpLocks/>
          </p:cNvGrpSpPr>
          <p:nvPr/>
        </p:nvGrpSpPr>
        <p:grpSpPr>
          <a:xfrm>
            <a:off x="4137042" y="338165"/>
            <a:ext cx="832417" cy="707377"/>
            <a:chOff x="2888920" y="3047933"/>
            <a:chExt cx="2622248" cy="222835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5CCF23D-BD5F-4753-A365-0A71BFF445AB}"/>
                </a:ext>
              </a:extLst>
            </p:cNvPr>
            <p:cNvPicPr>
              <a:picLocks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4583" r="11710" b="18837"/>
            <a:stretch/>
          </p:blipFill>
          <p:spPr>
            <a:xfrm>
              <a:off x="2888920" y="3047933"/>
              <a:ext cx="2622248" cy="2228351"/>
            </a:xfrm>
            <a:prstGeom prst="hexagon">
              <a:avLst>
                <a:gd name="adj" fmla="val 29027"/>
                <a:gd name="vf" fmla="val 115470"/>
              </a:avLst>
            </a:prstGeom>
            <a:ln w="9525">
              <a:solidFill>
                <a:schemeClr val="accent6"/>
              </a:solidFill>
            </a:ln>
          </p:spPr>
        </p:pic>
        <p:sp>
          <p:nvSpPr>
            <p:cNvPr id="42" name="Hexagon 41">
              <a:extLst>
                <a:ext uri="{FF2B5EF4-FFF2-40B4-BE49-F238E27FC236}">
                  <a16:creationId xmlns:a16="http://schemas.microsoft.com/office/drawing/2014/main" id="{97AF1B2E-BB1A-47D7-8AC7-B052647BE2A2}"/>
                </a:ext>
              </a:extLst>
            </p:cNvPr>
            <p:cNvSpPr>
              <a:spLocks/>
            </p:cNvSpPr>
            <p:nvPr/>
          </p:nvSpPr>
          <p:spPr>
            <a:xfrm>
              <a:off x="3378834" y="3047933"/>
              <a:ext cx="604522" cy="521493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accent6"/>
            </a:solidFill>
            <a:ln w="127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de-DE" sz="1509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1F0B42-1287-4B94-A183-05155450CD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203209"/>
              </p:ext>
            </p:extLst>
          </p:nvPr>
        </p:nvGraphicFramePr>
        <p:xfrm>
          <a:off x="3599336" y="998"/>
          <a:ext cx="998" cy="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270" name="think-cell Slide" r:id="rId11" imgW="410" imgH="409" progId="TCLayout.ActiveDocument.1">
                  <p:embed/>
                </p:oleObj>
              </mc:Choice>
              <mc:Fallback>
                <p:oleObj name="think-cell Slide" r:id="rId11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1F0B42-1287-4B94-A183-05155450C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599336" y="998"/>
                        <a:ext cx="998" cy="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365886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115888" algn="l"/>
                <a:tab pos="358775" algn="l"/>
              </a:tabLst>
            </a:pPr>
            <a:r>
              <a:rPr lang="en-US" dirty="0"/>
              <a:t>Industry energy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4239826" y="2244778"/>
            <a:ext cx="3427790" cy="97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636" dirty="0"/>
              <a:t>Unit of measu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F05577F-9C84-47C8-9183-0D7DB519B24F}"/>
              </a:ext>
            </a:extLst>
          </p:cNvPr>
          <p:cNvCxnSpPr>
            <a:cxnSpLocks/>
          </p:cNvCxnSpPr>
          <p:nvPr/>
        </p:nvCxnSpPr>
        <p:spPr>
          <a:xfrm>
            <a:off x="4155278" y="4787545"/>
            <a:ext cx="3535409" cy="0"/>
          </a:xfrm>
          <a:prstGeom prst="line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446398E-AD58-4819-AE64-F88828DFF7BA}"/>
              </a:ext>
            </a:extLst>
          </p:cNvPr>
          <p:cNvSpPr txBox="1"/>
          <p:nvPr/>
        </p:nvSpPr>
        <p:spPr bwMode="gray">
          <a:xfrm>
            <a:off x="4155278" y="4460134"/>
            <a:ext cx="35354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30</a:t>
            </a:r>
            <a:r>
              <a:rPr lang="en-US" dirty="0">
                <a:solidFill>
                  <a:schemeClr val="accent4"/>
                </a:solidFill>
              </a:rPr>
              <a:t> milestones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5A65CE-74EB-4ED9-A7C8-66DB7FA99534}"/>
              </a:ext>
            </a:extLst>
          </p:cNvPr>
          <p:cNvSpPr txBox="1"/>
          <p:nvPr/>
        </p:nvSpPr>
        <p:spPr>
          <a:xfrm>
            <a:off x="4155279" y="4892118"/>
            <a:ext cx="3160632" cy="13788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One in ten steel and chemical plants in Europe, North America, and Japan uses hydrogen for low-carbon production</a:t>
            </a:r>
          </a:p>
          <a:p>
            <a:pPr lvl="1"/>
            <a:r>
              <a:rPr lang="en-US" dirty="0"/>
              <a:t>4 million tons (0.6 </a:t>
            </a:r>
            <a:r>
              <a:rPr lang="en-US" dirty="0" err="1"/>
              <a:t>EJ</a:t>
            </a:r>
            <a:r>
              <a:rPr lang="en-US" dirty="0"/>
              <a:t>) additional hydrogen used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7061452-E2F4-4E0E-9E89-31326F46075B}"/>
              </a:ext>
            </a:extLst>
          </p:cNvPr>
          <p:cNvCxnSpPr>
            <a:cxnSpLocks/>
          </p:cNvCxnSpPr>
          <p:nvPr/>
        </p:nvCxnSpPr>
        <p:spPr>
          <a:xfrm>
            <a:off x="7791058" y="4787545"/>
            <a:ext cx="3861192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80657BA-D771-4679-941C-85DB885D2839}"/>
              </a:ext>
            </a:extLst>
          </p:cNvPr>
          <p:cNvSpPr txBox="1"/>
          <p:nvPr/>
        </p:nvSpPr>
        <p:spPr bwMode="gray">
          <a:xfrm>
            <a:off x="7791058" y="4460134"/>
            <a:ext cx="39910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50</a:t>
            </a:r>
            <a:r>
              <a:rPr lang="en-US" dirty="0">
                <a:solidFill>
                  <a:schemeClr val="accent4"/>
                </a:solidFill>
              </a:rPr>
              <a:t> target picture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5B477D7-FE35-46C2-88D0-406EDF95DCA4}"/>
              </a:ext>
            </a:extLst>
          </p:cNvPr>
          <p:cNvSpPr txBox="1"/>
          <p:nvPr/>
        </p:nvSpPr>
        <p:spPr>
          <a:xfrm>
            <a:off x="7804161" y="4892118"/>
            <a:ext cx="3542019" cy="11633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12% of global industry energy demand </a:t>
            </a:r>
            <a:br>
              <a:rPr lang="en-US" dirty="0"/>
            </a:br>
            <a:r>
              <a:rPr lang="en-US" dirty="0"/>
              <a:t>(16 </a:t>
            </a:r>
            <a:r>
              <a:rPr lang="en-US" dirty="0" err="1"/>
              <a:t>EJ</a:t>
            </a:r>
            <a:r>
              <a:rPr lang="en-US" dirty="0"/>
              <a:t>) met with hydrogen – 23% of high-grade, 8% of medium-grade, and 4% of low-grade heat and power</a:t>
            </a:r>
          </a:p>
          <a:p>
            <a:pPr lvl="1"/>
            <a:r>
              <a:rPr lang="en-US" dirty="0"/>
              <a:t>~1 Gt CO2 abated per yea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97CB71F-EE37-4375-813E-5ABFCD439D89}"/>
              </a:ext>
            </a:extLst>
          </p:cNvPr>
          <p:cNvSpPr txBox="1"/>
          <p:nvPr/>
        </p:nvSpPr>
        <p:spPr bwMode="gray">
          <a:xfrm>
            <a:off x="158759" y="1361036"/>
            <a:ext cx="3383466" cy="23021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dirty="0">
                <a:solidFill>
                  <a:schemeClr val="accent4"/>
                </a:solidFill>
              </a:rPr>
              <a:t>Hydrogen can provide decarbonized high heat for industrial processes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Clean or green hydrogen can be used as alternative to post-combustion carbon capture and storage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Hydrogen is the main option for decarbonization of industrial processes requiring high heat and/or combustion</a:t>
            </a:r>
          </a:p>
          <a:p>
            <a:pPr lvl="0">
              <a:spcBef>
                <a:spcPct val="40000"/>
              </a:spcBef>
            </a:pPr>
            <a:endParaRPr lang="en-US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67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121EAE-66A4-4F0D-ADE7-EB4458E30FC4}"/>
              </a:ext>
            </a:extLst>
          </p:cNvPr>
          <p:cNvSpPr/>
          <p:nvPr/>
        </p:nvSpPr>
        <p:spPr>
          <a:xfrm>
            <a:off x="3916680" y="153385"/>
            <a:ext cx="7865416" cy="6438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96DE1A7-9D51-44BF-AF28-7576F59856BF}"/>
              </a:ext>
            </a:extLst>
          </p:cNvPr>
          <p:cNvGrpSpPr>
            <a:grpSpLocks/>
          </p:cNvGrpSpPr>
          <p:nvPr/>
        </p:nvGrpSpPr>
        <p:grpSpPr>
          <a:xfrm>
            <a:off x="4137042" y="331640"/>
            <a:ext cx="832417" cy="707377"/>
            <a:chOff x="11098523" y="3047933"/>
            <a:chExt cx="2622248" cy="222835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27BE5FDD-36B7-49C0-9C15-BD4FE4C4A63F}"/>
                </a:ext>
              </a:extLst>
            </p:cNvPr>
            <p:cNvPicPr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11710" r="11710" b="11710"/>
            <a:stretch>
              <a:fillRect/>
            </a:stretch>
          </p:blipFill>
          <p:spPr>
            <a:xfrm>
              <a:off x="11098523" y="3047933"/>
              <a:ext cx="2622248" cy="2228351"/>
            </a:xfrm>
            <a:prstGeom prst="hexagon">
              <a:avLst>
                <a:gd name="adj" fmla="val 29027"/>
                <a:gd name="vf" fmla="val 115470"/>
              </a:avLst>
            </a:prstGeom>
            <a:ln w="9525">
              <a:solidFill>
                <a:srgbClr val="EE9D44"/>
              </a:solidFill>
            </a:ln>
          </p:spPr>
        </p:pic>
        <p:sp>
          <p:nvSpPr>
            <p:cNvPr id="33" name="Hexagon 32">
              <a:extLst>
                <a:ext uri="{FF2B5EF4-FFF2-40B4-BE49-F238E27FC236}">
                  <a16:creationId xmlns:a16="http://schemas.microsoft.com/office/drawing/2014/main" id="{0177B07F-5707-4591-91BC-F132FAC66AA9}"/>
                </a:ext>
              </a:extLst>
            </p:cNvPr>
            <p:cNvSpPr>
              <a:spLocks/>
            </p:cNvSpPr>
            <p:nvPr/>
          </p:nvSpPr>
          <p:spPr>
            <a:xfrm>
              <a:off x="11589384" y="3047933"/>
              <a:ext cx="604522" cy="521493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rgbClr val="EE9D44"/>
            </a:solidFill>
            <a:ln w="12700">
              <a:solidFill>
                <a:srgbClr val="EE9D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de-DE" sz="1509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1F0B42-1287-4B94-A183-05155450CD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097406"/>
              </p:ext>
            </p:extLst>
          </p:nvPr>
        </p:nvGraphicFramePr>
        <p:xfrm>
          <a:off x="3599336" y="998"/>
          <a:ext cx="998" cy="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93" name="think-cell Slide" r:id="rId6" imgW="410" imgH="409" progId="TCLayout.ActiveDocument.1">
                  <p:embed/>
                </p:oleObj>
              </mc:Choice>
              <mc:Fallback>
                <p:oleObj name="think-cell Slide" r:id="rId6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1F0B42-1287-4B94-A183-05155450C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599336" y="998"/>
                        <a:ext cx="998" cy="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3658861" cy="9233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115888" algn="l"/>
                <a:tab pos="358775" algn="l"/>
              </a:tabLst>
            </a:pPr>
            <a:r>
              <a:rPr lang="en-US" dirty="0"/>
              <a:t>Building heat </a:t>
            </a:r>
            <a:br>
              <a:rPr lang="en-US" dirty="0"/>
            </a:br>
            <a:r>
              <a:rPr lang="en-US" dirty="0"/>
              <a:t>and power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4239826" y="2244778"/>
            <a:ext cx="3427790" cy="97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636" dirty="0"/>
              <a:t>Unit of measu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F05577F-9C84-47C8-9183-0D7DB519B24F}"/>
              </a:ext>
            </a:extLst>
          </p:cNvPr>
          <p:cNvCxnSpPr>
            <a:cxnSpLocks/>
          </p:cNvCxnSpPr>
          <p:nvPr/>
        </p:nvCxnSpPr>
        <p:spPr>
          <a:xfrm>
            <a:off x="4155278" y="4364351"/>
            <a:ext cx="3535409" cy="0"/>
          </a:xfrm>
          <a:prstGeom prst="line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446398E-AD58-4819-AE64-F88828DFF7BA}"/>
              </a:ext>
            </a:extLst>
          </p:cNvPr>
          <p:cNvSpPr txBox="1"/>
          <p:nvPr/>
        </p:nvSpPr>
        <p:spPr bwMode="gray">
          <a:xfrm>
            <a:off x="4155278" y="4036940"/>
            <a:ext cx="35354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30</a:t>
            </a:r>
            <a:r>
              <a:rPr lang="en-US" dirty="0">
                <a:solidFill>
                  <a:schemeClr val="accent4"/>
                </a:solidFill>
              </a:rPr>
              <a:t> milestones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5A65CE-74EB-4ED9-A7C8-66DB7FA99534}"/>
              </a:ext>
            </a:extLst>
          </p:cNvPr>
          <p:cNvSpPr txBox="1"/>
          <p:nvPr/>
        </p:nvSpPr>
        <p:spPr>
          <a:xfrm>
            <a:off x="4155278" y="4468924"/>
            <a:ext cx="3388521" cy="18097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The equivalent of 6.5 million households heated with blended or pure hydrogen using about 3.5 million tons (0.5 </a:t>
            </a:r>
            <a:r>
              <a:rPr lang="en-US" dirty="0" err="1"/>
              <a:t>EJ</a:t>
            </a:r>
            <a:r>
              <a:rPr lang="en-US" dirty="0"/>
              <a:t>) of hydrogen</a:t>
            </a:r>
          </a:p>
          <a:p>
            <a:pPr lvl="1"/>
            <a:r>
              <a:rPr lang="en-US" dirty="0"/>
              <a:t>10% of users connected to the hydrogen-natural gas grid using fuel cell combined heat and power units (micro-CHPs)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7061452-E2F4-4E0E-9E89-31326F46075B}"/>
              </a:ext>
            </a:extLst>
          </p:cNvPr>
          <p:cNvCxnSpPr>
            <a:cxnSpLocks/>
          </p:cNvCxnSpPr>
          <p:nvPr/>
        </p:nvCxnSpPr>
        <p:spPr>
          <a:xfrm>
            <a:off x="7791058" y="4364351"/>
            <a:ext cx="3861192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80657BA-D771-4679-941C-85DB885D2839}"/>
              </a:ext>
            </a:extLst>
          </p:cNvPr>
          <p:cNvSpPr txBox="1"/>
          <p:nvPr/>
        </p:nvSpPr>
        <p:spPr bwMode="gray">
          <a:xfrm>
            <a:off x="7791058" y="4036940"/>
            <a:ext cx="39910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50</a:t>
            </a:r>
            <a:r>
              <a:rPr lang="en-US" dirty="0">
                <a:solidFill>
                  <a:schemeClr val="accent4"/>
                </a:solidFill>
              </a:rPr>
              <a:t> target picture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5B477D7-FE35-46C2-88D0-406EDF95DCA4}"/>
              </a:ext>
            </a:extLst>
          </p:cNvPr>
          <p:cNvSpPr txBox="1"/>
          <p:nvPr/>
        </p:nvSpPr>
        <p:spPr>
          <a:xfrm>
            <a:off x="7804161" y="4468924"/>
            <a:ext cx="3542019" cy="7325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8% of global building energy use for heat and power (11 </a:t>
            </a:r>
            <a:r>
              <a:rPr lang="en-US" dirty="0" err="1"/>
              <a:t>EJ</a:t>
            </a:r>
            <a:r>
              <a:rPr lang="en-US" dirty="0"/>
              <a:t>) provided by hydrogen </a:t>
            </a:r>
          </a:p>
          <a:p>
            <a:pPr lvl="1"/>
            <a:r>
              <a:rPr lang="en-US" dirty="0"/>
              <a:t>About 700 Mt CO2 abated per yea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BEE043D-604F-4FCB-B6E2-B74F0D4BC651}"/>
              </a:ext>
            </a:extLst>
          </p:cNvPr>
          <p:cNvSpPr txBox="1"/>
          <p:nvPr/>
        </p:nvSpPr>
        <p:spPr bwMode="gray">
          <a:xfrm>
            <a:off x="158759" y="1361036"/>
            <a:ext cx="3383466" cy="26037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dirty="0">
                <a:solidFill>
                  <a:schemeClr val="accent4"/>
                </a:solidFill>
              </a:rPr>
              <a:t>Hydrogen can help decarbonize building heat and power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Hydrogen is a cost-effective option for decarbonization of building heat and power in regions with existing natural gas networks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It can be blended in concentrations of up to 20% with natural gas, converted to synthetic natural gas, or replace natural gas all together in 100% hydrogen networks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82AE8BB-9709-426C-B238-1242461C08E4}"/>
              </a:ext>
            </a:extLst>
          </p:cNvPr>
          <p:cNvGrpSpPr/>
          <p:nvPr/>
        </p:nvGrpSpPr>
        <p:grpSpPr>
          <a:xfrm>
            <a:off x="5693748" y="153385"/>
            <a:ext cx="6088348" cy="3831458"/>
            <a:chOff x="5113053" y="45843"/>
            <a:chExt cx="6088348" cy="3831458"/>
          </a:xfrm>
        </p:grpSpPr>
        <p:sp>
          <p:nvSpPr>
            <p:cNvPr id="67" name="Hexagon 66">
              <a:extLst>
                <a:ext uri="{FF2B5EF4-FFF2-40B4-BE49-F238E27FC236}">
                  <a16:creationId xmlns:a16="http://schemas.microsoft.com/office/drawing/2014/main" id="{49747D25-D973-41ED-AB19-D7274AF76B01}"/>
                </a:ext>
              </a:extLst>
            </p:cNvPr>
            <p:cNvSpPr>
              <a:spLocks/>
            </p:cNvSpPr>
            <p:nvPr/>
          </p:nvSpPr>
          <p:spPr>
            <a:xfrm>
              <a:off x="6460636" y="1247099"/>
              <a:ext cx="2634312" cy="2272500"/>
            </a:xfrm>
            <a:prstGeom prst="hexagon">
              <a:avLst>
                <a:gd name="adj" fmla="val 28619"/>
                <a:gd name="vf" fmla="val 115470"/>
              </a:avLst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Hexagon 67">
              <a:extLst>
                <a:ext uri="{FF2B5EF4-FFF2-40B4-BE49-F238E27FC236}">
                  <a16:creationId xmlns:a16="http://schemas.microsoft.com/office/drawing/2014/main" id="{B00C70E5-DCB9-488E-A959-83B18C952338}"/>
                </a:ext>
              </a:extLst>
            </p:cNvPr>
            <p:cNvSpPr>
              <a:spLocks/>
            </p:cNvSpPr>
            <p:nvPr/>
          </p:nvSpPr>
          <p:spPr>
            <a:xfrm>
              <a:off x="8912249" y="2442063"/>
              <a:ext cx="1212583" cy="1046040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Hexagon 68">
              <a:extLst>
                <a:ext uri="{FF2B5EF4-FFF2-40B4-BE49-F238E27FC236}">
                  <a16:creationId xmlns:a16="http://schemas.microsoft.com/office/drawing/2014/main" id="{E479F44E-FC35-4E14-AA3B-CA60C8A91F62}"/>
                </a:ext>
              </a:extLst>
            </p:cNvPr>
            <p:cNvSpPr>
              <a:spLocks/>
            </p:cNvSpPr>
            <p:nvPr/>
          </p:nvSpPr>
          <p:spPr>
            <a:xfrm>
              <a:off x="8560650" y="45843"/>
              <a:ext cx="2640751" cy="2278057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Hexagon 69">
              <a:extLst>
                <a:ext uri="{FF2B5EF4-FFF2-40B4-BE49-F238E27FC236}">
                  <a16:creationId xmlns:a16="http://schemas.microsoft.com/office/drawing/2014/main" id="{F99C1845-AD24-4967-A2FB-11E237B8F878}"/>
                </a:ext>
              </a:extLst>
            </p:cNvPr>
            <p:cNvSpPr>
              <a:spLocks/>
            </p:cNvSpPr>
            <p:nvPr/>
          </p:nvSpPr>
          <p:spPr>
            <a:xfrm>
              <a:off x="5113053" y="2442277"/>
              <a:ext cx="1663499" cy="1435024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Hexagon 70">
              <a:extLst>
                <a:ext uri="{FF2B5EF4-FFF2-40B4-BE49-F238E27FC236}">
                  <a16:creationId xmlns:a16="http://schemas.microsoft.com/office/drawing/2014/main" id="{CFD1A020-EDAC-42EC-BA98-AFD209E904A7}"/>
                </a:ext>
              </a:extLst>
            </p:cNvPr>
            <p:cNvSpPr>
              <a:spLocks/>
            </p:cNvSpPr>
            <p:nvPr/>
          </p:nvSpPr>
          <p:spPr>
            <a:xfrm>
              <a:off x="6460636" y="1247099"/>
              <a:ext cx="2640751" cy="2278057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Hexagon 71">
              <a:extLst>
                <a:ext uri="{FF2B5EF4-FFF2-40B4-BE49-F238E27FC236}">
                  <a16:creationId xmlns:a16="http://schemas.microsoft.com/office/drawing/2014/main" id="{B5266A6A-E520-419F-891D-A69F1103BEE5}"/>
                </a:ext>
              </a:extLst>
            </p:cNvPr>
            <p:cNvSpPr>
              <a:spLocks/>
            </p:cNvSpPr>
            <p:nvPr/>
          </p:nvSpPr>
          <p:spPr>
            <a:xfrm>
              <a:off x="5431657" y="1272909"/>
              <a:ext cx="1212583" cy="1046040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A2723B5F-EECE-464A-93AC-9977FF25B879}"/>
                </a:ext>
              </a:extLst>
            </p:cNvPr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702" t="3921" r="10484" b="3409"/>
            <a:stretch/>
          </p:blipFill>
          <p:spPr>
            <a:xfrm>
              <a:off x="6577817" y="1364829"/>
              <a:ext cx="2396340" cy="2035205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C8439410-DB56-43F6-9B9A-4A7D903C2E0A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315" t="1341" r="12315" b="1341"/>
            <a:stretch/>
          </p:blipFill>
          <p:spPr>
            <a:xfrm>
              <a:off x="8682855" y="153386"/>
              <a:ext cx="2396340" cy="2062972"/>
            </a:xfrm>
            <a:prstGeom prst="hexagon">
              <a:avLst>
                <a:gd name="adj" fmla="val 28551"/>
                <a:gd name="vf" fmla="val 115470"/>
              </a:avLst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33A31220-8810-4C50-8332-E871F555452D}"/>
                </a:ext>
              </a:extLst>
            </p:cNvPr>
            <p:cNvPicPr>
              <a:picLocks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10" t="9986" r="25224" b="9986"/>
            <a:stretch/>
          </p:blipFill>
          <p:spPr>
            <a:xfrm>
              <a:off x="5509007" y="1334679"/>
              <a:ext cx="1057882" cy="922500"/>
            </a:xfrm>
            <a:prstGeom prst="hexagon">
              <a:avLst>
                <a:gd name="adj" fmla="val 28551"/>
                <a:gd name="vf" fmla="val 115470"/>
              </a:avLst>
            </a:prstGeom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F6514B92-CBE0-4ED7-9099-525DA1DF5CAB}"/>
                </a:ext>
              </a:extLst>
            </p:cNvPr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55" t="2619" r="12755" b="2619"/>
            <a:stretch/>
          </p:blipFill>
          <p:spPr>
            <a:xfrm>
              <a:off x="5194221" y="2529169"/>
              <a:ext cx="1501165" cy="1271875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3CD51C81-1025-409F-8750-D251F07C006E}"/>
                </a:ext>
              </a:extLst>
            </p:cNvPr>
            <p:cNvPicPr>
              <a:picLocks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37" r="10637"/>
            <a:stretch/>
          </p:blipFill>
          <p:spPr>
            <a:xfrm>
              <a:off x="9003764" y="2529169"/>
              <a:ext cx="1029549" cy="871828"/>
            </a:xfrm>
            <a:prstGeom prst="hexagon">
              <a:avLst>
                <a:gd name="adj" fmla="val 29754"/>
                <a:gd name="vf" fmla="val 115470"/>
              </a:avLst>
            </a:prstGeom>
          </p:spPr>
        </p:pic>
      </p:grpSp>
    </p:spTree>
    <p:extLst>
      <p:ext uri="{BB962C8B-B14F-4D97-AF65-F5344CB8AC3E}">
        <p14:creationId xmlns:p14="http://schemas.microsoft.com/office/powerpoint/2010/main" val="3577128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121EAE-66A4-4F0D-ADE7-EB4458E30FC4}"/>
              </a:ext>
            </a:extLst>
          </p:cNvPr>
          <p:cNvSpPr/>
          <p:nvPr/>
        </p:nvSpPr>
        <p:spPr>
          <a:xfrm>
            <a:off x="3916680" y="153385"/>
            <a:ext cx="7865416" cy="64389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C7DAF42-BB3E-4656-9BB3-5E0EE3B94EE0}"/>
              </a:ext>
            </a:extLst>
          </p:cNvPr>
          <p:cNvGrpSpPr>
            <a:grpSpLocks/>
          </p:cNvGrpSpPr>
          <p:nvPr/>
        </p:nvGrpSpPr>
        <p:grpSpPr>
          <a:xfrm>
            <a:off x="5693748" y="153385"/>
            <a:ext cx="6088348" cy="3831458"/>
            <a:chOff x="396053" y="2241711"/>
            <a:chExt cx="7693432" cy="4841553"/>
          </a:xfrm>
        </p:grpSpPr>
        <p:sp>
          <p:nvSpPr>
            <p:cNvPr id="62" name="Hexagon 61">
              <a:extLst>
                <a:ext uri="{FF2B5EF4-FFF2-40B4-BE49-F238E27FC236}">
                  <a16:creationId xmlns:a16="http://schemas.microsoft.com/office/drawing/2014/main" id="{E0C790AB-EA04-44BF-9F85-F3B791219654}"/>
                </a:ext>
              </a:extLst>
            </p:cNvPr>
            <p:cNvSpPr>
              <a:spLocks/>
            </p:cNvSpPr>
            <p:nvPr/>
          </p:nvSpPr>
          <p:spPr>
            <a:xfrm>
              <a:off x="2098902" y="3759655"/>
              <a:ext cx="3328802" cy="2871605"/>
            </a:xfrm>
            <a:prstGeom prst="hexagon">
              <a:avLst>
                <a:gd name="adj" fmla="val 28619"/>
                <a:gd name="vf" fmla="val 115470"/>
              </a:avLst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012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Hexagon 62">
              <a:extLst>
                <a:ext uri="{FF2B5EF4-FFF2-40B4-BE49-F238E27FC236}">
                  <a16:creationId xmlns:a16="http://schemas.microsoft.com/office/drawing/2014/main" id="{675FFE48-9C00-4474-B067-F7F6C75125BB}"/>
                </a:ext>
              </a:extLst>
            </p:cNvPr>
            <p:cNvSpPr>
              <a:spLocks/>
            </p:cNvSpPr>
            <p:nvPr/>
          </p:nvSpPr>
          <p:spPr>
            <a:xfrm>
              <a:off x="5196838" y="5269651"/>
              <a:ext cx="1532259" cy="1321810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012" dirty="0" err="1">
                <a:solidFill>
                  <a:schemeClr val="tx1"/>
                </a:solidFill>
              </a:endParaRPr>
            </a:p>
          </p:txBody>
        </p:sp>
        <p:sp>
          <p:nvSpPr>
            <p:cNvPr id="64" name="Hexagon 63">
              <a:extLst>
                <a:ext uri="{FF2B5EF4-FFF2-40B4-BE49-F238E27FC236}">
                  <a16:creationId xmlns:a16="http://schemas.microsoft.com/office/drawing/2014/main" id="{44C50B92-5789-4776-AC89-8F6B084B969A}"/>
                </a:ext>
              </a:extLst>
            </p:cNvPr>
            <p:cNvSpPr>
              <a:spLocks/>
            </p:cNvSpPr>
            <p:nvPr/>
          </p:nvSpPr>
          <p:spPr>
            <a:xfrm>
              <a:off x="4752547" y="2241711"/>
              <a:ext cx="3336938" cy="287862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012" dirty="0" err="1">
                <a:solidFill>
                  <a:schemeClr val="tx1"/>
                </a:solidFill>
              </a:endParaRPr>
            </a:p>
          </p:txBody>
        </p:sp>
        <p:sp>
          <p:nvSpPr>
            <p:cNvPr id="65" name="Hexagon 64">
              <a:extLst>
                <a:ext uri="{FF2B5EF4-FFF2-40B4-BE49-F238E27FC236}">
                  <a16:creationId xmlns:a16="http://schemas.microsoft.com/office/drawing/2014/main" id="{2B594EC7-BD74-4265-9C26-BFD2F567BF19}"/>
                </a:ext>
              </a:extLst>
            </p:cNvPr>
            <p:cNvSpPr>
              <a:spLocks/>
            </p:cNvSpPr>
            <p:nvPr/>
          </p:nvSpPr>
          <p:spPr>
            <a:xfrm>
              <a:off x="396053" y="5269921"/>
              <a:ext cx="2102050" cy="1813343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012" dirty="0" err="1">
                <a:solidFill>
                  <a:schemeClr val="tx1"/>
                </a:solidFill>
              </a:endParaRPr>
            </a:p>
          </p:txBody>
        </p:sp>
        <p:sp>
          <p:nvSpPr>
            <p:cNvPr id="66" name="Hexagon 65">
              <a:extLst>
                <a:ext uri="{FF2B5EF4-FFF2-40B4-BE49-F238E27FC236}">
                  <a16:creationId xmlns:a16="http://schemas.microsoft.com/office/drawing/2014/main" id="{7ABDCF17-0043-45E7-A69C-60571B4662F9}"/>
                </a:ext>
              </a:extLst>
            </p:cNvPr>
            <p:cNvSpPr>
              <a:spLocks/>
            </p:cNvSpPr>
            <p:nvPr/>
          </p:nvSpPr>
          <p:spPr>
            <a:xfrm>
              <a:off x="2098902" y="3759655"/>
              <a:ext cx="3336938" cy="287862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012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Hexagon 66">
              <a:extLst>
                <a:ext uri="{FF2B5EF4-FFF2-40B4-BE49-F238E27FC236}">
                  <a16:creationId xmlns:a16="http://schemas.microsoft.com/office/drawing/2014/main" id="{3436447F-1E46-4224-9287-2F31E03F28B3}"/>
                </a:ext>
              </a:extLst>
            </p:cNvPr>
            <p:cNvSpPr>
              <a:spLocks/>
            </p:cNvSpPr>
            <p:nvPr/>
          </p:nvSpPr>
          <p:spPr>
            <a:xfrm>
              <a:off x="798651" y="3792270"/>
              <a:ext cx="1532259" cy="1321810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012" dirty="0" err="1">
                <a:solidFill>
                  <a:schemeClr val="tx1"/>
                </a:solidFill>
              </a:endParaRPr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28D8289D-2302-450A-9F93-76F198FAB329}"/>
                </a:ext>
              </a:extLst>
            </p:cNvPr>
            <p:cNvPicPr>
              <a:picLocks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49" t="4854" r="12181" b="4854"/>
            <a:stretch/>
          </p:blipFill>
          <p:spPr>
            <a:xfrm>
              <a:off x="2253325" y="3876590"/>
              <a:ext cx="3028092" cy="2620806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95AE2C7D-6BA7-45A6-9D4C-A93CCBBEEED8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24" t="-58" r="5916" b="-58"/>
            <a:stretch/>
          </p:blipFill>
          <p:spPr>
            <a:xfrm>
              <a:off x="498619" y="5365830"/>
              <a:ext cx="1896920" cy="1634962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8F6F8815-ACBF-424C-A0B1-5484E0ACFF59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847" t="4468" r="14847" b="4468"/>
            <a:stretch/>
          </p:blipFill>
          <p:spPr>
            <a:xfrm>
              <a:off x="896393" y="3876589"/>
              <a:ext cx="1336774" cy="1153172"/>
            </a:xfrm>
            <a:prstGeom prst="hexagon">
              <a:avLst>
                <a:gd name="adj" fmla="val 28551"/>
                <a:gd name="vf" fmla="val 115470"/>
              </a:avLst>
            </a:prstGeom>
          </p:spPr>
        </p:pic>
        <p:pic>
          <p:nvPicPr>
            <p:cNvPr id="71" name="Picture 7">
              <a:extLst>
                <a:ext uri="{FF2B5EF4-FFF2-40B4-BE49-F238E27FC236}">
                  <a16:creationId xmlns:a16="http://schemas.microsoft.com/office/drawing/2014/main" id="{385DA265-3BCF-46FA-AC5B-5C892BBC35B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83" t="3671" r="14383" b="3671"/>
            <a:stretch/>
          </p:blipFill>
          <p:spPr bwMode="auto">
            <a:xfrm>
              <a:off x="4905386" y="2366964"/>
              <a:ext cx="3031261" cy="2628122"/>
            </a:xfrm>
            <a:prstGeom prst="hexagon">
              <a:avLst>
                <a:gd name="adj" fmla="val 28034"/>
                <a:gd name="vf" fmla="val 115470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0D4D90BD-D223-4010-BC21-BFD8B57EFBA5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70" t="3048" r="13870" b="3048"/>
            <a:stretch/>
          </p:blipFill>
          <p:spPr>
            <a:xfrm>
              <a:off x="5332552" y="5384880"/>
              <a:ext cx="1260830" cy="1092120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96DE1A7-9D51-44BF-AF28-7576F59856BF}"/>
              </a:ext>
            </a:extLst>
          </p:cNvPr>
          <p:cNvGrpSpPr>
            <a:grpSpLocks/>
          </p:cNvGrpSpPr>
          <p:nvPr/>
        </p:nvGrpSpPr>
        <p:grpSpPr>
          <a:xfrm>
            <a:off x="4145280" y="331640"/>
            <a:ext cx="832417" cy="707377"/>
            <a:chOff x="11098523" y="3047933"/>
            <a:chExt cx="2622248" cy="222835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27BE5FDD-36B7-49C0-9C15-BD4FE4C4A63F}"/>
                </a:ext>
              </a:extLst>
            </p:cNvPr>
            <p:cNvPicPr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10" t="11710" r="11710" b="11710"/>
            <a:stretch>
              <a:fillRect/>
            </a:stretch>
          </p:blipFill>
          <p:spPr>
            <a:xfrm>
              <a:off x="11098523" y="3047933"/>
              <a:ext cx="2622248" cy="2228351"/>
            </a:xfrm>
            <a:prstGeom prst="hexagon">
              <a:avLst>
                <a:gd name="adj" fmla="val 29027"/>
                <a:gd name="vf" fmla="val 115470"/>
              </a:avLst>
            </a:prstGeom>
            <a:ln w="9525">
              <a:solidFill>
                <a:srgbClr val="EE9D44"/>
              </a:solidFill>
            </a:ln>
          </p:spPr>
        </p:pic>
        <p:sp>
          <p:nvSpPr>
            <p:cNvPr id="33" name="Hexagon 32">
              <a:extLst>
                <a:ext uri="{FF2B5EF4-FFF2-40B4-BE49-F238E27FC236}">
                  <a16:creationId xmlns:a16="http://schemas.microsoft.com/office/drawing/2014/main" id="{0177B07F-5707-4591-91BC-F132FAC66AA9}"/>
                </a:ext>
              </a:extLst>
            </p:cNvPr>
            <p:cNvSpPr>
              <a:spLocks/>
            </p:cNvSpPr>
            <p:nvPr/>
          </p:nvSpPr>
          <p:spPr>
            <a:xfrm>
              <a:off x="11589384" y="3047933"/>
              <a:ext cx="604522" cy="521493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rgbClr val="EE9D44"/>
            </a:solidFill>
            <a:ln w="12700">
              <a:solidFill>
                <a:srgbClr val="EE9D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r>
                <a:rPr lang="de-DE" sz="1509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1F0B42-1287-4B94-A183-05155450CD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99336" y="998"/>
          <a:ext cx="998" cy="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74" name="think-cell Slide" r:id="rId11" imgW="410" imgH="409" progId="TCLayout.ActiveDocument.1">
                  <p:embed/>
                </p:oleObj>
              </mc:Choice>
              <mc:Fallback>
                <p:oleObj name="think-cell Slide" r:id="rId11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599336" y="998"/>
                        <a:ext cx="998" cy="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365886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115888" algn="l"/>
                <a:tab pos="358775" algn="l"/>
              </a:tabLst>
            </a:pPr>
            <a:r>
              <a:rPr lang="en-US" dirty="0"/>
              <a:t>Industry feedstock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4239826" y="2244778"/>
            <a:ext cx="3427790" cy="97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636" dirty="0"/>
              <a:t>Unit of measu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F05577F-9C84-47C8-9183-0D7DB519B24F}"/>
              </a:ext>
            </a:extLst>
          </p:cNvPr>
          <p:cNvCxnSpPr>
            <a:cxnSpLocks/>
          </p:cNvCxnSpPr>
          <p:nvPr/>
        </p:nvCxnSpPr>
        <p:spPr>
          <a:xfrm>
            <a:off x="4155278" y="4106474"/>
            <a:ext cx="3535409" cy="0"/>
          </a:xfrm>
          <a:prstGeom prst="line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446398E-AD58-4819-AE64-F88828DFF7BA}"/>
              </a:ext>
            </a:extLst>
          </p:cNvPr>
          <p:cNvSpPr txBox="1"/>
          <p:nvPr/>
        </p:nvSpPr>
        <p:spPr bwMode="gray">
          <a:xfrm>
            <a:off x="4155278" y="3779063"/>
            <a:ext cx="35354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30</a:t>
            </a:r>
            <a:r>
              <a:rPr lang="en-US" dirty="0">
                <a:solidFill>
                  <a:schemeClr val="accent4"/>
                </a:solidFill>
              </a:rPr>
              <a:t> milestones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5A65CE-74EB-4ED9-A7C8-66DB7FA99534}"/>
              </a:ext>
            </a:extLst>
          </p:cNvPr>
          <p:cNvSpPr txBox="1"/>
          <p:nvPr/>
        </p:nvSpPr>
        <p:spPr>
          <a:xfrm>
            <a:off x="4155278" y="4211047"/>
            <a:ext cx="3388521" cy="2326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Steel plants pioneering zero-carbon iron making using hydrogen reduction (using about 100,000 tons hydrogen)</a:t>
            </a:r>
          </a:p>
          <a:p>
            <a:pPr lvl="1"/>
            <a:r>
              <a:rPr lang="en-US" dirty="0"/>
              <a:t>10 to 15 million tons of methanol and derivatives, such as olefins and aromatics, produced from clean hydrogen and carbon (using about 2.5 million tons hydrogen)</a:t>
            </a:r>
          </a:p>
          <a:p>
            <a:pPr lvl="1"/>
            <a:r>
              <a:rPr lang="en-US" dirty="0"/>
              <a:t>Demonstration of clean hydrogen use in chemicals and refining industrie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7061452-E2F4-4E0E-9E89-31326F46075B}"/>
              </a:ext>
            </a:extLst>
          </p:cNvPr>
          <p:cNvCxnSpPr>
            <a:cxnSpLocks/>
          </p:cNvCxnSpPr>
          <p:nvPr/>
        </p:nvCxnSpPr>
        <p:spPr>
          <a:xfrm>
            <a:off x="7791058" y="4106474"/>
            <a:ext cx="3861192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80657BA-D771-4679-941C-85DB885D2839}"/>
              </a:ext>
            </a:extLst>
          </p:cNvPr>
          <p:cNvSpPr txBox="1"/>
          <p:nvPr/>
        </p:nvSpPr>
        <p:spPr bwMode="gray">
          <a:xfrm>
            <a:off x="7791058" y="3779063"/>
            <a:ext cx="39910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50</a:t>
            </a:r>
            <a:r>
              <a:rPr lang="en-US" dirty="0">
                <a:solidFill>
                  <a:schemeClr val="accent4"/>
                </a:solidFill>
              </a:rPr>
              <a:t> target picture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5B477D7-FE35-46C2-88D0-406EDF95DCA4}"/>
              </a:ext>
            </a:extLst>
          </p:cNvPr>
          <p:cNvSpPr txBox="1"/>
          <p:nvPr/>
        </p:nvSpPr>
        <p:spPr>
          <a:xfrm>
            <a:off x="7804161" y="4211047"/>
            <a:ext cx="3848089" cy="21113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10% of crude steel production, about </a:t>
            </a:r>
            <a:br>
              <a:rPr lang="en-US" dirty="0"/>
            </a:br>
            <a:r>
              <a:rPr lang="en-US" dirty="0"/>
              <a:t>200 million tons, based on hydrogen, saving 190 million tons of CO2 per year</a:t>
            </a:r>
          </a:p>
          <a:p>
            <a:pPr lvl="1"/>
            <a:r>
              <a:rPr lang="en-US" dirty="0"/>
              <a:t>30% of methanol and ethanol derivatives produced through hydrogen and carbon, recycling 360 million tons of CO2 per year</a:t>
            </a:r>
          </a:p>
          <a:p>
            <a:pPr lvl="1"/>
            <a:r>
              <a:rPr lang="en-US" dirty="0"/>
              <a:t>Existing feedstock uses for chemicals and refining industry decarbonized, saving 440 million tons of CO2 per yea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BEE043D-604F-4FCB-B6E2-B74F0D4BC651}"/>
              </a:ext>
            </a:extLst>
          </p:cNvPr>
          <p:cNvSpPr txBox="1"/>
          <p:nvPr/>
        </p:nvSpPr>
        <p:spPr bwMode="gray">
          <a:xfrm>
            <a:off x="158759" y="1361036"/>
            <a:ext cx="3383466" cy="28500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dirty="0">
                <a:solidFill>
                  <a:schemeClr val="accent4"/>
                </a:solidFill>
              </a:rPr>
              <a:t>Hydrogen as feedstock can be decarbonized and used to replace fossil feedstock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55 million tons of hydrogen are currently used as feedstock for refining, fertilizer, and chemical production – these can be decarbonized through clean production pathways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Other industries, such as methanol and iron production, can replace fossil feedstock with clean hydrogen and carbon</a:t>
            </a:r>
          </a:p>
        </p:txBody>
      </p:sp>
    </p:spTree>
    <p:extLst>
      <p:ext uri="{BB962C8B-B14F-4D97-AF65-F5344CB8AC3E}">
        <p14:creationId xmlns:p14="http://schemas.microsoft.com/office/powerpoint/2010/main" val="2230567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121EAE-66A4-4F0D-ADE7-EB4458E30FC4}"/>
              </a:ext>
            </a:extLst>
          </p:cNvPr>
          <p:cNvSpPr/>
          <p:nvPr/>
        </p:nvSpPr>
        <p:spPr>
          <a:xfrm>
            <a:off x="3916680" y="153385"/>
            <a:ext cx="7865416" cy="64389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4449592-6D52-470D-A84D-0D1D697082B6}"/>
              </a:ext>
            </a:extLst>
          </p:cNvPr>
          <p:cNvGrpSpPr>
            <a:grpSpLocks/>
          </p:cNvGrpSpPr>
          <p:nvPr/>
        </p:nvGrpSpPr>
        <p:grpSpPr>
          <a:xfrm>
            <a:off x="4137042" y="331640"/>
            <a:ext cx="832417" cy="707377"/>
            <a:chOff x="2897498" y="3047933"/>
            <a:chExt cx="2622248" cy="2228351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DC92AA93-8E3A-4552-B7A1-FBFE4986EC84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61" t="2503" r="8761" b="20093"/>
            <a:stretch/>
          </p:blipFill>
          <p:spPr>
            <a:xfrm>
              <a:off x="2897498" y="3047933"/>
              <a:ext cx="2622248" cy="2228351"/>
            </a:xfrm>
            <a:prstGeom prst="hexagon">
              <a:avLst>
                <a:gd name="adj" fmla="val 27746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</p:pic>
        <p:sp>
          <p:nvSpPr>
            <p:cNvPr id="56" name="Hexagon 55">
              <a:extLst>
                <a:ext uri="{FF2B5EF4-FFF2-40B4-BE49-F238E27FC236}">
                  <a16:creationId xmlns:a16="http://schemas.microsoft.com/office/drawing/2014/main" id="{6726A758-1D9F-41BE-8C83-0A21CFB72029}"/>
                </a:ext>
              </a:extLst>
            </p:cNvPr>
            <p:cNvSpPr>
              <a:spLocks/>
            </p:cNvSpPr>
            <p:nvPr/>
          </p:nvSpPr>
          <p:spPr>
            <a:xfrm>
              <a:off x="3276119" y="3047933"/>
              <a:ext cx="1007438" cy="869070"/>
            </a:xfrm>
            <a:prstGeom prst="hexagon">
              <a:avLst>
                <a:gd name="adj" fmla="val 27523"/>
                <a:gd name="vf" fmla="val 115470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1006" dirty="0">
                  <a:solidFill>
                    <a:schemeClr val="bg1"/>
                  </a:solidFill>
                </a:rPr>
                <a:t>1-3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1CF5B28-0AF9-481D-9091-B9B4B20A12EC}"/>
              </a:ext>
            </a:extLst>
          </p:cNvPr>
          <p:cNvGrpSpPr>
            <a:grpSpLocks/>
          </p:cNvGrpSpPr>
          <p:nvPr/>
        </p:nvGrpSpPr>
        <p:grpSpPr>
          <a:xfrm>
            <a:off x="5693748" y="153385"/>
            <a:ext cx="6088348" cy="3831458"/>
            <a:chOff x="3847319" y="1409265"/>
            <a:chExt cx="4836524" cy="3043673"/>
          </a:xfrm>
        </p:grpSpPr>
        <p:sp>
          <p:nvSpPr>
            <p:cNvPr id="30" name="Hexagon 29">
              <a:extLst>
                <a:ext uri="{FF2B5EF4-FFF2-40B4-BE49-F238E27FC236}">
                  <a16:creationId xmlns:a16="http://schemas.microsoft.com/office/drawing/2014/main" id="{1C70A221-5527-4E6D-887A-76E9A71189F6}"/>
                </a:ext>
              </a:extLst>
            </p:cNvPr>
            <p:cNvSpPr>
              <a:spLocks/>
            </p:cNvSpPr>
            <p:nvPr/>
          </p:nvSpPr>
          <p:spPr>
            <a:xfrm>
              <a:off x="4917826" y="2363531"/>
              <a:ext cx="2092672" cy="1805252"/>
            </a:xfrm>
            <a:prstGeom prst="hexagon">
              <a:avLst>
                <a:gd name="adj" fmla="val 28619"/>
                <a:gd name="vf" fmla="val 115470"/>
              </a:avLst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34" name="Hexagon 33">
              <a:extLst>
                <a:ext uri="{FF2B5EF4-FFF2-40B4-BE49-F238E27FC236}">
                  <a16:creationId xmlns:a16="http://schemas.microsoft.com/office/drawing/2014/main" id="{61D3F71E-2DB6-4315-AB42-01944032B3C4}"/>
                </a:ext>
              </a:extLst>
            </p:cNvPr>
            <p:cNvSpPr>
              <a:spLocks/>
            </p:cNvSpPr>
            <p:nvPr/>
          </p:nvSpPr>
          <p:spPr>
            <a:xfrm>
              <a:off x="6865363" y="3312799"/>
              <a:ext cx="963264" cy="830964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Hexagon 35">
              <a:extLst>
                <a:ext uri="{FF2B5EF4-FFF2-40B4-BE49-F238E27FC236}">
                  <a16:creationId xmlns:a16="http://schemas.microsoft.com/office/drawing/2014/main" id="{C62FBFDB-5354-4903-B266-36ADDD0012D0}"/>
                </a:ext>
              </a:extLst>
            </p:cNvPr>
            <p:cNvSpPr>
              <a:spLocks/>
            </p:cNvSpPr>
            <p:nvPr/>
          </p:nvSpPr>
          <p:spPr>
            <a:xfrm>
              <a:off x="6586056" y="1409265"/>
              <a:ext cx="2097787" cy="180966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Hexagon 41">
              <a:extLst>
                <a:ext uri="{FF2B5EF4-FFF2-40B4-BE49-F238E27FC236}">
                  <a16:creationId xmlns:a16="http://schemas.microsoft.com/office/drawing/2014/main" id="{272F1076-56AF-491E-9935-9356E229CB9B}"/>
                </a:ext>
              </a:extLst>
            </p:cNvPr>
            <p:cNvSpPr>
              <a:spLocks/>
            </p:cNvSpPr>
            <p:nvPr/>
          </p:nvSpPr>
          <p:spPr>
            <a:xfrm>
              <a:off x="3847319" y="3312969"/>
              <a:ext cx="1321467" cy="1139969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Hexagon 43">
              <a:extLst>
                <a:ext uri="{FF2B5EF4-FFF2-40B4-BE49-F238E27FC236}">
                  <a16:creationId xmlns:a16="http://schemas.microsoft.com/office/drawing/2014/main" id="{53EE1848-E954-4C34-B15A-47BA8B722F08}"/>
                </a:ext>
              </a:extLst>
            </p:cNvPr>
            <p:cNvSpPr>
              <a:spLocks/>
            </p:cNvSpPr>
            <p:nvPr/>
          </p:nvSpPr>
          <p:spPr>
            <a:xfrm>
              <a:off x="4917826" y="2363531"/>
              <a:ext cx="2097787" cy="1809666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Hexagon 44">
              <a:extLst>
                <a:ext uri="{FF2B5EF4-FFF2-40B4-BE49-F238E27FC236}">
                  <a16:creationId xmlns:a16="http://schemas.microsoft.com/office/drawing/2014/main" id="{B3F1CF87-7A88-4728-B6B8-FB2B55CFB950}"/>
                </a:ext>
              </a:extLst>
            </p:cNvPr>
            <p:cNvSpPr>
              <a:spLocks/>
            </p:cNvSpPr>
            <p:nvPr/>
          </p:nvSpPr>
          <p:spPr>
            <a:xfrm>
              <a:off x="4100415" y="2384034"/>
              <a:ext cx="963264" cy="830964"/>
            </a:xfrm>
            <a:prstGeom prst="hexagon">
              <a:avLst>
                <a:gd name="adj" fmla="val 28619"/>
                <a:gd name="vf" fmla="val 115470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636" dirty="0" err="1">
                <a:solidFill>
                  <a:schemeClr val="tx1"/>
                </a:solidFill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1FE26041-DADF-436D-B299-EC123769949E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85" t="2146" r="7139" b="2723"/>
            <a:stretch/>
          </p:blipFill>
          <p:spPr>
            <a:xfrm>
              <a:off x="5014905" y="2437041"/>
              <a:ext cx="1903629" cy="1647589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73F0EBE1-1E1E-4D37-9544-3AAA23988E4B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91" t="4227" r="13191" b="4167"/>
            <a:stretch/>
          </p:blipFill>
          <p:spPr>
            <a:xfrm>
              <a:off x="6950680" y="3385238"/>
              <a:ext cx="792629" cy="686568"/>
            </a:xfrm>
            <a:prstGeom prst="hexagon">
              <a:avLst>
                <a:gd name="adj" fmla="val 29754"/>
                <a:gd name="vf" fmla="val 115470"/>
              </a:avLst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D96BCBC2-03EB-4BD4-BBD2-9B26EF2F48F1}"/>
                </a:ext>
              </a:extLst>
            </p:cNvPr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90" t="9359" r="4593" b="4877"/>
            <a:stretch/>
          </p:blipFill>
          <p:spPr>
            <a:xfrm>
              <a:off x="3911798" y="3379200"/>
              <a:ext cx="1192511" cy="1015956"/>
            </a:xfrm>
            <a:prstGeom prst="hexagon">
              <a:avLst>
                <a:gd name="adj" fmla="val 29022"/>
                <a:gd name="vf" fmla="val 115470"/>
              </a:avLst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75F29089-BDB6-4CAF-84DA-275714198EAB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288" t="3073" b="3073"/>
            <a:stretch/>
          </p:blipFill>
          <p:spPr>
            <a:xfrm>
              <a:off x="6683135" y="1490837"/>
              <a:ext cx="1903629" cy="1646522"/>
            </a:xfrm>
            <a:prstGeom prst="hexagon">
              <a:avLst>
                <a:gd name="adj" fmla="val 28657"/>
                <a:gd name="vf" fmla="val 115470"/>
              </a:avLst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AE151A1D-F66C-4133-B555-4AA2A7643539}"/>
                </a:ext>
              </a:extLst>
            </p:cNvPr>
            <p:cNvPicPr>
              <a:picLocks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78" t="3413" r="8748" b="3413"/>
            <a:stretch/>
          </p:blipFill>
          <p:spPr>
            <a:xfrm>
              <a:off x="4161861" y="2437041"/>
              <a:ext cx="840371" cy="724950"/>
            </a:xfrm>
            <a:prstGeom prst="hexagon">
              <a:avLst>
                <a:gd name="adj" fmla="val 28551"/>
                <a:gd name="vf" fmla="val 115470"/>
              </a:avLst>
            </a:prstGeom>
          </p:spPr>
        </p:pic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1F0B42-1287-4B94-A183-05155450CD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2018256"/>
              </p:ext>
            </p:extLst>
          </p:nvPr>
        </p:nvGraphicFramePr>
        <p:xfrm>
          <a:off x="3599336" y="998"/>
          <a:ext cx="998" cy="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335" name="think-cell Slide" r:id="rId11" imgW="410" imgH="409" progId="TCLayout.ActiveDocument.1">
                  <p:embed/>
                </p:oleObj>
              </mc:Choice>
              <mc:Fallback>
                <p:oleObj name="think-cell Slide" r:id="rId11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1F0B42-1287-4B94-A183-05155450C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599336" y="998"/>
                        <a:ext cx="998" cy="9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365886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115888" algn="l"/>
                <a:tab pos="358775" algn="l"/>
              </a:tabLst>
            </a:pPr>
            <a:r>
              <a:rPr lang="en-US" dirty="0"/>
              <a:t>Energy system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4239826" y="2244778"/>
            <a:ext cx="3427790" cy="97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636" dirty="0"/>
              <a:t>Unit of measu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F05577F-9C84-47C8-9183-0D7DB519B24F}"/>
              </a:ext>
            </a:extLst>
          </p:cNvPr>
          <p:cNvCxnSpPr>
            <a:cxnSpLocks/>
          </p:cNvCxnSpPr>
          <p:nvPr/>
        </p:nvCxnSpPr>
        <p:spPr>
          <a:xfrm>
            <a:off x="4155278" y="4143444"/>
            <a:ext cx="3535409" cy="0"/>
          </a:xfrm>
          <a:prstGeom prst="line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446398E-AD58-4819-AE64-F88828DFF7BA}"/>
              </a:ext>
            </a:extLst>
          </p:cNvPr>
          <p:cNvSpPr txBox="1"/>
          <p:nvPr/>
        </p:nvSpPr>
        <p:spPr bwMode="gray">
          <a:xfrm>
            <a:off x="4155278" y="3816033"/>
            <a:ext cx="353540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30</a:t>
            </a:r>
            <a:r>
              <a:rPr lang="en-US" dirty="0">
                <a:solidFill>
                  <a:schemeClr val="accent4"/>
                </a:solidFill>
              </a:rPr>
              <a:t> milestones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5A65CE-74EB-4ED9-A7C8-66DB7FA99534}"/>
              </a:ext>
            </a:extLst>
          </p:cNvPr>
          <p:cNvSpPr txBox="1"/>
          <p:nvPr/>
        </p:nvSpPr>
        <p:spPr>
          <a:xfrm>
            <a:off x="4155278" y="4248017"/>
            <a:ext cx="3388521" cy="22837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250 to 300 </a:t>
            </a:r>
            <a:r>
              <a:rPr lang="en-US" dirty="0" err="1"/>
              <a:t>TWh</a:t>
            </a:r>
            <a:r>
              <a:rPr lang="en-US" dirty="0"/>
              <a:t> of excess solar and wind electricity converted to hydrogen</a:t>
            </a:r>
          </a:p>
          <a:p>
            <a:pPr lvl="1"/>
            <a:r>
              <a:rPr lang="en-US" dirty="0"/>
              <a:t>More than 20 power plants generating </a:t>
            </a:r>
          </a:p>
          <a:p>
            <a:pPr lvl="1"/>
            <a:r>
              <a:rPr lang="en-US" dirty="0"/>
              <a:t>100 to 200 </a:t>
            </a:r>
            <a:r>
              <a:rPr lang="en-US" dirty="0" err="1"/>
              <a:t>TWh</a:t>
            </a:r>
            <a:r>
              <a:rPr lang="en-US" dirty="0"/>
              <a:t> of dispatchable power from clean hydrogen</a:t>
            </a:r>
          </a:p>
          <a:p>
            <a:pPr lvl="1"/>
            <a:r>
              <a:rPr lang="en-US" spc="-20" dirty="0"/>
              <a:t>More than 10 ships transporting a total of about 100,000 tons hydrogen per year</a:t>
            </a:r>
          </a:p>
          <a:p>
            <a:pPr lvl="1"/>
            <a:r>
              <a:rPr lang="en-US" dirty="0"/>
              <a:t>200 </a:t>
            </a:r>
            <a:r>
              <a:rPr lang="en-US" dirty="0" err="1"/>
              <a:t>TWh</a:t>
            </a:r>
            <a:r>
              <a:rPr lang="en-US" dirty="0"/>
              <a:t> hydrogen stored in underground salt cavern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7061452-E2F4-4E0E-9E89-31326F46075B}"/>
              </a:ext>
            </a:extLst>
          </p:cNvPr>
          <p:cNvCxnSpPr>
            <a:cxnSpLocks/>
          </p:cNvCxnSpPr>
          <p:nvPr/>
        </p:nvCxnSpPr>
        <p:spPr>
          <a:xfrm>
            <a:off x="7791058" y="4143444"/>
            <a:ext cx="3861192" cy="0"/>
          </a:xfrm>
          <a:prstGeom prst="line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80657BA-D771-4679-941C-85DB885D2839}"/>
              </a:ext>
            </a:extLst>
          </p:cNvPr>
          <p:cNvSpPr txBox="1"/>
          <p:nvPr/>
        </p:nvSpPr>
        <p:spPr bwMode="gray">
          <a:xfrm>
            <a:off x="7791058" y="3816033"/>
            <a:ext cx="399103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b="1" dirty="0">
                <a:solidFill>
                  <a:schemeClr val="accent4"/>
                </a:solidFill>
              </a:rPr>
              <a:t>2050</a:t>
            </a:r>
            <a:r>
              <a:rPr lang="en-US" dirty="0">
                <a:solidFill>
                  <a:schemeClr val="accent4"/>
                </a:solidFill>
              </a:rPr>
              <a:t> target picture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5B477D7-FE35-46C2-88D0-406EDF95DCA4}"/>
              </a:ext>
            </a:extLst>
          </p:cNvPr>
          <p:cNvSpPr txBox="1"/>
          <p:nvPr/>
        </p:nvSpPr>
        <p:spPr>
          <a:xfrm>
            <a:off x="7804161" y="4248017"/>
            <a:ext cx="3848089" cy="21975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spcBef>
                <a:spcPct val="4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dirty="0"/>
              <a:t>500 </a:t>
            </a:r>
            <a:r>
              <a:rPr lang="en-US" dirty="0" err="1"/>
              <a:t>TWh</a:t>
            </a:r>
            <a:r>
              <a:rPr lang="en-US" dirty="0"/>
              <a:t> of excess solar and wind electricity converted to 1.5 </a:t>
            </a:r>
            <a:r>
              <a:rPr lang="en-US" dirty="0" err="1"/>
              <a:t>EJ</a:t>
            </a:r>
            <a:r>
              <a:rPr lang="en-US" dirty="0"/>
              <a:t> hydrogen</a:t>
            </a:r>
          </a:p>
          <a:p>
            <a:pPr lvl="1"/>
            <a:r>
              <a:rPr lang="en-US" dirty="0"/>
              <a:t>1,500 </a:t>
            </a:r>
            <a:r>
              <a:rPr lang="en-US" dirty="0" err="1"/>
              <a:t>TWh</a:t>
            </a:r>
            <a:r>
              <a:rPr lang="en-US" dirty="0"/>
              <a:t> of dispatchable power produced from 9 </a:t>
            </a:r>
            <a:r>
              <a:rPr lang="en-US" dirty="0" err="1"/>
              <a:t>EJ</a:t>
            </a:r>
            <a:r>
              <a:rPr lang="en-US" dirty="0"/>
              <a:t> clean hydrogen</a:t>
            </a:r>
          </a:p>
          <a:p>
            <a:pPr lvl="1"/>
            <a:r>
              <a:rPr lang="en-US" dirty="0"/>
              <a:t>55 million tons of hydrogen, or 8 </a:t>
            </a:r>
            <a:r>
              <a:rPr lang="en-US" dirty="0" err="1"/>
              <a:t>EJ</a:t>
            </a:r>
            <a:r>
              <a:rPr lang="en-US" dirty="0"/>
              <a:t>, transported/shipped overseas</a:t>
            </a:r>
          </a:p>
          <a:p>
            <a:pPr lvl="1"/>
            <a:r>
              <a:rPr lang="en-US" dirty="0"/>
              <a:t>3,000 </a:t>
            </a:r>
            <a:r>
              <a:rPr lang="en-US" dirty="0" err="1"/>
              <a:t>TWh</a:t>
            </a:r>
            <a:r>
              <a:rPr lang="en-US" dirty="0"/>
              <a:t> of hydrogen, or 18 </a:t>
            </a:r>
            <a:r>
              <a:rPr lang="en-US" dirty="0" err="1"/>
              <a:t>EJ</a:t>
            </a:r>
            <a:r>
              <a:rPr lang="en-US" dirty="0"/>
              <a:t> (worth 55 days of wind, solar, and hydrogen demand) stored in strategic reserv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BEE043D-604F-4FCB-B6E2-B74F0D4BC651}"/>
              </a:ext>
            </a:extLst>
          </p:cNvPr>
          <p:cNvSpPr txBox="1"/>
          <p:nvPr/>
        </p:nvSpPr>
        <p:spPr bwMode="gray">
          <a:xfrm>
            <a:off x="158759" y="1361036"/>
            <a:ext cx="3383466" cy="30223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spcBef>
                <a:spcPct val="40000"/>
              </a:spcBef>
            </a:pPr>
            <a:r>
              <a:rPr lang="en-US" dirty="0">
                <a:solidFill>
                  <a:schemeClr val="accent4"/>
                </a:solidFill>
              </a:rPr>
              <a:t>Hydrogen is a versatile energy carrier that can enable the renewable energy system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Hydrogen enables large-scale renewable integration through cost-effective long-term storage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It allows distribution of energy across sectors and regions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It acts as buffer to increase system resilience</a:t>
            </a:r>
          </a:p>
          <a:p>
            <a:pPr lvl="1">
              <a:spcBef>
                <a:spcPct val="40000"/>
              </a:spcBef>
            </a:pPr>
            <a:r>
              <a:rPr lang="en-US" sz="1400" dirty="0"/>
              <a:t>It provides clean dispatchable power generation in </a:t>
            </a:r>
            <a:r>
              <a:rPr lang="en-US" sz="1400" dirty="0" err="1"/>
              <a:t>peaker</a:t>
            </a:r>
            <a:r>
              <a:rPr lang="en-US" sz="1400" dirty="0"/>
              <a:t> plants</a:t>
            </a:r>
          </a:p>
        </p:txBody>
      </p:sp>
    </p:spTree>
    <p:extLst>
      <p:ext uri="{BB962C8B-B14F-4D97-AF65-F5344CB8AC3E}">
        <p14:creationId xmlns:p14="http://schemas.microsoft.com/office/powerpoint/2010/main" val="288516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738D76A-FAD5-456E-B9FF-90BC77ACFF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4278" y="1237534"/>
            <a:ext cx="7718351" cy="5134865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57D04470-03D0-4559-A6C1-685CC0089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607" y="-130388"/>
            <a:ext cx="10756777" cy="1299155"/>
          </a:xfrm>
        </p:spPr>
        <p:txBody>
          <a:bodyPr/>
          <a:lstStyle/>
          <a:p>
            <a:r>
              <a:rPr lang="en-GB" sz="2842" dirty="0" smtClean="0">
                <a:latin typeface="Signika Semibold" panose="02010003020600000004"/>
              </a:rPr>
              <a:t/>
            </a:r>
            <a:br>
              <a:rPr lang="en-GB" sz="2842" dirty="0" smtClean="0">
                <a:latin typeface="Signika Semibold" panose="02010003020600000004"/>
              </a:rPr>
            </a:br>
            <a:r>
              <a:rPr lang="en-GB" sz="2842" dirty="0" smtClean="0">
                <a:latin typeface="Signika Semibold" panose="02010003020600000004"/>
              </a:rPr>
              <a:t>A </a:t>
            </a:r>
            <a:r>
              <a:rPr lang="en-GB" sz="2842" dirty="0">
                <a:latin typeface="Signika Semibold" panose="02010003020600000004"/>
              </a:rPr>
              <a:t>STRONG &amp; DYNAMIC GROUP</a:t>
            </a:r>
          </a:p>
        </p:txBody>
      </p:sp>
    </p:spTree>
    <p:extLst>
      <p:ext uri="{BB962C8B-B14F-4D97-AF65-F5344CB8AC3E}">
        <p14:creationId xmlns:p14="http://schemas.microsoft.com/office/powerpoint/2010/main" val="604430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746FD0-22C7-4456-B0B9-A97B9C0C6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050" y="-152681"/>
            <a:ext cx="10306110" cy="1299155"/>
          </a:xfrm>
        </p:spPr>
        <p:txBody>
          <a:bodyPr>
            <a:normAutofit/>
          </a:bodyPr>
          <a:lstStyle/>
          <a:p>
            <a:r>
              <a:rPr lang="en-GB" sz="2646" dirty="0" smtClean="0">
                <a:latin typeface="Signika Semibold" panose="02010003020600000004"/>
              </a:rPr>
              <a:t/>
            </a:r>
            <a:br>
              <a:rPr lang="en-GB" sz="2646" dirty="0" smtClean="0">
                <a:latin typeface="Signika Semibold" panose="02010003020600000004"/>
              </a:rPr>
            </a:br>
            <a:r>
              <a:rPr lang="en-GB" sz="2646" dirty="0" smtClean="0">
                <a:latin typeface="Signika Semibold" panose="02010003020600000004"/>
              </a:rPr>
              <a:t>MOBILISED </a:t>
            </a:r>
            <a:r>
              <a:rPr lang="en-GB" sz="2646" dirty="0">
                <a:latin typeface="Signika Semibold" panose="02010003020600000004"/>
              </a:rPr>
              <a:t>TOP LEADERS</a:t>
            </a:r>
          </a:p>
        </p:txBody>
      </p:sp>
      <p:pic>
        <p:nvPicPr>
          <p:cNvPr id="3" name="Picture 2" descr="A screen shot of a person&#10;&#10;Description generated with very high confidence">
            <a:extLst>
              <a:ext uri="{FF2B5EF4-FFF2-40B4-BE49-F238E27FC236}">
                <a16:creationId xmlns:a16="http://schemas.microsoft.com/office/drawing/2014/main" id="{5AFE2916-9563-4D7E-8A2E-72F420A670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569" y="2685883"/>
            <a:ext cx="5037040" cy="2518519"/>
          </a:xfrm>
          <a:prstGeom prst="rect">
            <a:avLst/>
          </a:prstGeom>
        </p:spPr>
      </p:pic>
      <p:pic>
        <p:nvPicPr>
          <p:cNvPr id="6" name="Picture 5" descr="A screen shot of a person in a suit and tie&#10;&#10;Description generated with very high confidence">
            <a:extLst>
              <a:ext uri="{FF2B5EF4-FFF2-40B4-BE49-F238E27FC236}">
                <a16:creationId xmlns:a16="http://schemas.microsoft.com/office/drawing/2014/main" id="{13CA0B55-364A-434C-AA95-34DC64BB3D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048" y="1073548"/>
            <a:ext cx="4484992" cy="2242496"/>
          </a:xfrm>
          <a:prstGeom prst="rect">
            <a:avLst/>
          </a:prstGeom>
        </p:spPr>
      </p:pic>
      <p:pic>
        <p:nvPicPr>
          <p:cNvPr id="8" name="Picture 7" descr="A person in a suit and tie&#10;&#10;Description generated with very high confidence">
            <a:extLst>
              <a:ext uri="{FF2B5EF4-FFF2-40B4-BE49-F238E27FC236}">
                <a16:creationId xmlns:a16="http://schemas.microsoft.com/office/drawing/2014/main" id="{644C2640-C925-4E9F-88A3-3D2C785E17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4105" y="3744532"/>
            <a:ext cx="4250679" cy="2649589"/>
          </a:xfrm>
          <a:prstGeom prst="rect">
            <a:avLst/>
          </a:prstGeom>
        </p:spPr>
      </p:pic>
      <p:pic>
        <p:nvPicPr>
          <p:cNvPr id="10" name="Picture 9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6C86B37E-1716-48EE-8D55-EB1042A917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802" y="845270"/>
            <a:ext cx="5107648" cy="2553824"/>
          </a:xfrm>
          <a:prstGeom prst="rect">
            <a:avLst/>
          </a:prstGeom>
        </p:spPr>
      </p:pic>
      <p:pic>
        <p:nvPicPr>
          <p:cNvPr id="12" name="Picture 11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5757D12B-8A75-4DFC-B8A1-EFBD83C3E14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699" y="3862580"/>
            <a:ext cx="4525806" cy="2683644"/>
          </a:xfrm>
          <a:prstGeom prst="rect">
            <a:avLst/>
          </a:prstGeom>
        </p:spPr>
      </p:pic>
      <p:pic>
        <p:nvPicPr>
          <p:cNvPr id="14" name="Picture 13" descr="A person holding a sign&#10;&#10;Description generated with high confidence">
            <a:extLst>
              <a:ext uri="{FF2B5EF4-FFF2-40B4-BE49-F238E27FC236}">
                <a16:creationId xmlns:a16="http://schemas.microsoft.com/office/drawing/2014/main" id="{AFC50A36-93FA-4FB5-A930-512D30DB57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058" y="2515502"/>
            <a:ext cx="5107648" cy="2553824"/>
          </a:xfrm>
          <a:prstGeom prst="rect">
            <a:avLst/>
          </a:prstGeom>
        </p:spPr>
      </p:pic>
      <p:pic>
        <p:nvPicPr>
          <p:cNvPr id="16" name="Picture 15" descr="A person in a suit and tie&#10;&#10;Description generated with very high confidence">
            <a:extLst>
              <a:ext uri="{FF2B5EF4-FFF2-40B4-BE49-F238E27FC236}">
                <a16:creationId xmlns:a16="http://schemas.microsoft.com/office/drawing/2014/main" id="{BB8096FE-6205-42C4-8414-6C821F9D218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525" y="4691439"/>
            <a:ext cx="4947422" cy="2473710"/>
          </a:xfrm>
          <a:prstGeom prst="rect">
            <a:avLst/>
          </a:prstGeom>
        </p:spPr>
      </p:pic>
      <p:pic>
        <p:nvPicPr>
          <p:cNvPr id="18" name="Picture 17" descr="A person in a suit and tie&#10;&#10;Description generated with very high confidence">
            <a:extLst>
              <a:ext uri="{FF2B5EF4-FFF2-40B4-BE49-F238E27FC236}">
                <a16:creationId xmlns:a16="http://schemas.microsoft.com/office/drawing/2014/main" id="{491770BD-642A-4C16-A7A9-C494396539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34" y="1772129"/>
            <a:ext cx="4686448" cy="2343224"/>
          </a:xfrm>
          <a:prstGeom prst="rect">
            <a:avLst/>
          </a:prstGeom>
        </p:spPr>
      </p:pic>
      <p:pic>
        <p:nvPicPr>
          <p:cNvPr id="20" name="Picture 19" descr="A person holding a sign&#10;&#10;Description generated with high confidence">
            <a:extLst>
              <a:ext uri="{FF2B5EF4-FFF2-40B4-BE49-F238E27FC236}">
                <a16:creationId xmlns:a16="http://schemas.microsoft.com/office/drawing/2014/main" id="{14151D07-B541-4561-8ED0-9593CE344C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37" y="2484636"/>
            <a:ext cx="4484993" cy="2754943"/>
          </a:xfrm>
          <a:prstGeom prst="rect">
            <a:avLst/>
          </a:prstGeom>
        </p:spPr>
      </p:pic>
      <p:pic>
        <p:nvPicPr>
          <p:cNvPr id="22" name="Picture 21" descr="A person in a suit and tie&#10;&#10;Description generated with very high confidence">
            <a:extLst>
              <a:ext uri="{FF2B5EF4-FFF2-40B4-BE49-F238E27FC236}">
                <a16:creationId xmlns:a16="http://schemas.microsoft.com/office/drawing/2014/main" id="{2FB9E342-732B-403A-8B42-BB9394408D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679" y="3724797"/>
            <a:ext cx="5105105" cy="3052114"/>
          </a:xfrm>
          <a:prstGeom prst="rect">
            <a:avLst/>
          </a:prstGeom>
        </p:spPr>
      </p:pic>
      <p:pic>
        <p:nvPicPr>
          <p:cNvPr id="24" name="Picture 23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4FD0BAD1-16FA-4FB3-8769-CD82A3F383B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7285" y="4042815"/>
            <a:ext cx="5542161" cy="2771081"/>
          </a:xfrm>
          <a:prstGeom prst="rect">
            <a:avLst/>
          </a:prstGeom>
        </p:spPr>
      </p:pic>
      <p:pic>
        <p:nvPicPr>
          <p:cNvPr id="26" name="Picture 25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7A0F1B3B-8888-4550-9975-10F7F9DD5DC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710" y="1854572"/>
            <a:ext cx="4373739" cy="2754943"/>
          </a:xfrm>
          <a:prstGeom prst="rect">
            <a:avLst/>
          </a:prstGeom>
        </p:spPr>
      </p:pic>
      <p:pic>
        <p:nvPicPr>
          <p:cNvPr id="28" name="Picture 27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2E2BE80D-2B9F-4CC2-B103-9F797F98F92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4043" y="1605607"/>
            <a:ext cx="4895232" cy="2925922"/>
          </a:xfrm>
          <a:prstGeom prst="rect">
            <a:avLst/>
          </a:prstGeom>
        </p:spPr>
      </p:pic>
      <p:pic>
        <p:nvPicPr>
          <p:cNvPr id="32" name="Picture 31" descr="A close up of a person&#10;&#10;Description generated with very high confidence">
            <a:extLst>
              <a:ext uri="{FF2B5EF4-FFF2-40B4-BE49-F238E27FC236}">
                <a16:creationId xmlns:a16="http://schemas.microsoft.com/office/drawing/2014/main" id="{F69A929B-943B-49CB-A169-0F11E28003A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2520" y="3972924"/>
            <a:ext cx="5037040" cy="2518520"/>
          </a:xfrm>
          <a:prstGeom prst="rect">
            <a:avLst/>
          </a:prstGeom>
        </p:spPr>
      </p:pic>
      <p:pic>
        <p:nvPicPr>
          <p:cNvPr id="43" name="Picture 42" descr="A person in a suit and tie&#10;&#10;Description generated with very high confidence">
            <a:extLst>
              <a:ext uri="{FF2B5EF4-FFF2-40B4-BE49-F238E27FC236}">
                <a16:creationId xmlns:a16="http://schemas.microsoft.com/office/drawing/2014/main" id="{710622EE-9122-4E8D-BA84-4C61921E678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190" y="2501944"/>
            <a:ext cx="4484288" cy="2770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502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78CDDE2-32CB-45EA-9D3A-BACA3E2B1F7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93"/>
          <a:stretch/>
        </p:blipFill>
        <p:spPr>
          <a:xfrm>
            <a:off x="2417690" y="1921192"/>
            <a:ext cx="1817401" cy="2583191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F746FD0-22C7-4456-B0B9-A97B9C0C6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018" y="-293693"/>
            <a:ext cx="10305958" cy="1299136"/>
          </a:xfrm>
        </p:spPr>
        <p:txBody>
          <a:bodyPr>
            <a:normAutofit/>
          </a:bodyPr>
          <a:lstStyle/>
          <a:p>
            <a:r>
              <a:rPr lang="en-GB" sz="2842" dirty="0" smtClean="0">
                <a:latin typeface="Signika Semibold" panose="02010003020600000004"/>
              </a:rPr>
              <a:t/>
            </a:r>
            <a:br>
              <a:rPr lang="en-GB" sz="2842" dirty="0" smtClean="0">
                <a:latin typeface="Signika Semibold" panose="02010003020600000004"/>
              </a:rPr>
            </a:br>
            <a:r>
              <a:rPr lang="en-GB" sz="2842" dirty="0" smtClean="0">
                <a:latin typeface="Signika Semibold" panose="02010003020600000004"/>
              </a:rPr>
              <a:t>SHAPING </a:t>
            </a:r>
            <a:r>
              <a:rPr lang="en-GB" sz="2842" dirty="0">
                <a:latin typeface="Signika Semibold" panose="02010003020600000004"/>
              </a:rPr>
              <a:t>A JOINT </a:t>
            </a:r>
            <a:r>
              <a:rPr lang="en-GB" sz="2842" dirty="0" smtClean="0">
                <a:latin typeface="Signika Semibold" panose="02010003020600000004"/>
              </a:rPr>
              <a:t>VISION </a:t>
            </a:r>
            <a:br>
              <a:rPr lang="en-GB" sz="2842" dirty="0" smtClean="0">
                <a:latin typeface="Signika Semibold" panose="02010003020600000004"/>
              </a:rPr>
            </a:br>
            <a:r>
              <a:rPr lang="en-GB" sz="2400" dirty="0">
                <a:latin typeface="Signika Semibold" panose="02010003020600000004"/>
              </a:rPr>
              <a:t>T</a:t>
            </a:r>
            <a:r>
              <a:rPr lang="en-GB" sz="2400" dirty="0" smtClean="0">
                <a:latin typeface="Signika Semibold" panose="02010003020600000004"/>
              </a:rPr>
              <a:t>o foster h2 in political agenda</a:t>
            </a:r>
            <a:endParaRPr lang="en-GB" sz="2842" dirty="0">
              <a:latin typeface="Signika Semibold" panose="02010003020600000004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9FC2B9-3836-4B83-94DD-797C535623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821" y="2036576"/>
            <a:ext cx="1591213" cy="187001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EE9843-213B-4FE1-8E28-568BDCD99F61}"/>
              </a:ext>
            </a:extLst>
          </p:cNvPr>
          <p:cNvSpPr/>
          <p:nvPr/>
        </p:nvSpPr>
        <p:spPr>
          <a:xfrm>
            <a:off x="170821" y="1986537"/>
            <a:ext cx="1591213" cy="2352241"/>
          </a:xfrm>
          <a:prstGeom prst="rect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72"/>
          </a:p>
        </p:txBody>
      </p:sp>
      <p:pic>
        <p:nvPicPr>
          <p:cNvPr id="16" name="Picture 27">
            <a:extLst>
              <a:ext uri="{FF2B5EF4-FFF2-40B4-BE49-F238E27FC236}">
                <a16:creationId xmlns:a16="http://schemas.microsoft.com/office/drawing/2014/main" id="{68049F86-C363-44D0-B9C9-1B1311F6EA1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464" y="4461125"/>
            <a:ext cx="1439127" cy="921042"/>
          </a:xfrm>
          <a:prstGeom prst="rect">
            <a:avLst/>
          </a:prstGeom>
        </p:spPr>
      </p:pic>
      <p:pic>
        <p:nvPicPr>
          <p:cNvPr id="17" name="Picture 29">
            <a:extLst>
              <a:ext uri="{FF2B5EF4-FFF2-40B4-BE49-F238E27FC236}">
                <a16:creationId xmlns:a16="http://schemas.microsoft.com/office/drawing/2014/main" id="{48AF7ED9-47E5-41EB-8A24-93B55D568FC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8659" y="5345712"/>
            <a:ext cx="1593609" cy="1060476"/>
          </a:xfrm>
          <a:prstGeom prst="rect">
            <a:avLst/>
          </a:prstGeom>
        </p:spPr>
      </p:pic>
      <p:pic>
        <p:nvPicPr>
          <p:cNvPr id="18" name="Picture 47">
            <a:extLst>
              <a:ext uri="{FF2B5EF4-FFF2-40B4-BE49-F238E27FC236}">
                <a16:creationId xmlns:a16="http://schemas.microsoft.com/office/drawing/2014/main" id="{97DB9647-D14E-45D7-8F98-C8EACA85CDD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806" y="4478508"/>
            <a:ext cx="3156825" cy="827362"/>
          </a:xfrm>
          <a:prstGeom prst="rect">
            <a:avLst/>
          </a:prstGeom>
        </p:spPr>
      </p:pic>
      <p:pic>
        <p:nvPicPr>
          <p:cNvPr id="19" name="Picture 1">
            <a:extLst>
              <a:ext uri="{FF2B5EF4-FFF2-40B4-BE49-F238E27FC236}">
                <a16:creationId xmlns:a16="http://schemas.microsoft.com/office/drawing/2014/main" id="{19FB38A0-5568-4ADA-8003-A40F6A36EB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4837" y="5576085"/>
            <a:ext cx="1529619" cy="669208"/>
          </a:xfrm>
          <a:prstGeom prst="rect">
            <a:avLst/>
          </a:prstGeom>
        </p:spPr>
      </p:pic>
      <p:sp>
        <p:nvSpPr>
          <p:cNvPr id="20" name="TextBox 17">
            <a:extLst>
              <a:ext uri="{FF2B5EF4-FFF2-40B4-BE49-F238E27FC236}">
                <a16:creationId xmlns:a16="http://schemas.microsoft.com/office/drawing/2014/main" id="{37DE7D6B-2553-482E-9B7C-A152022B161D}"/>
              </a:ext>
            </a:extLst>
          </p:cNvPr>
          <p:cNvSpPr txBox="1"/>
          <p:nvPr/>
        </p:nvSpPr>
        <p:spPr>
          <a:xfrm>
            <a:off x="5312013" y="3901175"/>
            <a:ext cx="53974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solidFill>
                  <a:srgbClr val="00B0F0"/>
                </a:solidFill>
              </a:rPr>
              <a:t>Collaborations </a:t>
            </a:r>
            <a:r>
              <a:rPr lang="en-GB" sz="2400" b="1" dirty="0">
                <a:solidFill>
                  <a:srgbClr val="00B0F0"/>
                </a:solidFill>
              </a:rPr>
              <a:t>&amp; partnerships </a:t>
            </a:r>
          </a:p>
        </p:txBody>
      </p:sp>
      <p:sp>
        <p:nvSpPr>
          <p:cNvPr id="21" name="TextBox 17">
            <a:extLst>
              <a:ext uri="{FF2B5EF4-FFF2-40B4-BE49-F238E27FC236}">
                <a16:creationId xmlns:a16="http://schemas.microsoft.com/office/drawing/2014/main" id="{37DE7D6B-2553-482E-9B7C-A152022B161D}"/>
              </a:ext>
            </a:extLst>
          </p:cNvPr>
          <p:cNvSpPr txBox="1"/>
          <p:nvPr/>
        </p:nvSpPr>
        <p:spPr>
          <a:xfrm>
            <a:off x="-5437" y="1229603"/>
            <a:ext cx="4504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solidFill>
                  <a:srgbClr val="00B0F0"/>
                </a:solidFill>
              </a:rPr>
              <a:t>Common Studies</a:t>
            </a:r>
            <a:endParaRPr lang="en-GB" sz="2400" b="1" dirty="0">
              <a:solidFill>
                <a:srgbClr val="00B0F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F5F1BC-689F-40E2-A9AE-DF7FFEC2D3B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6494" y="3570568"/>
            <a:ext cx="1746914" cy="2352241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</p:pic>
      <p:sp>
        <p:nvSpPr>
          <p:cNvPr id="4" name="Flèche droite 3"/>
          <p:cNvSpPr/>
          <p:nvPr/>
        </p:nvSpPr>
        <p:spPr>
          <a:xfrm>
            <a:off x="4499429" y="2036575"/>
            <a:ext cx="362857" cy="1533993"/>
          </a:xfrm>
          <a:prstGeom prst="rightArrow">
            <a:avLst>
              <a:gd name="adj1" fmla="val 59462"/>
              <a:gd name="adj2" fmla="val 50000"/>
            </a:avLst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 smtClean="0">
              <a:solidFill>
                <a:schemeClr val="tx1"/>
              </a:solidFill>
            </a:endParaRP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DE7F3C3E-E90F-4DB3-9D49-91EF644C715B}"/>
              </a:ext>
            </a:extLst>
          </p:cNvPr>
          <p:cNvSpPr txBox="1"/>
          <p:nvPr/>
        </p:nvSpPr>
        <p:spPr>
          <a:xfrm>
            <a:off x="5302703" y="1276681"/>
            <a:ext cx="53362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solidFill>
                  <a:srgbClr val="00B0F0"/>
                </a:solidFill>
              </a:rPr>
              <a:t>Catalysed </a:t>
            </a:r>
            <a:r>
              <a:rPr lang="en-GB" sz="2400" b="1" dirty="0" smtClean="0">
                <a:solidFill>
                  <a:srgbClr val="00B0F0"/>
                </a:solidFill>
              </a:rPr>
              <a:t>“local scale </a:t>
            </a:r>
            <a:r>
              <a:rPr lang="en-GB" sz="2400" b="1" dirty="0">
                <a:solidFill>
                  <a:srgbClr val="00B0F0"/>
                </a:solidFill>
              </a:rPr>
              <a:t>up” </a:t>
            </a:r>
            <a:r>
              <a:rPr lang="en-GB" sz="2400" b="1" dirty="0" smtClean="0">
                <a:solidFill>
                  <a:srgbClr val="00B0F0"/>
                </a:solidFill>
              </a:rPr>
              <a:t>studies</a:t>
            </a:r>
            <a:endParaRPr lang="en-GB" sz="2400" b="1" dirty="0">
              <a:solidFill>
                <a:srgbClr val="00B0F0"/>
              </a:solidFill>
            </a:endParaRPr>
          </a:p>
        </p:txBody>
      </p:sp>
      <p:pic>
        <p:nvPicPr>
          <p:cNvPr id="23" name="Picture 20">
            <a:extLst>
              <a:ext uri="{FF2B5EF4-FFF2-40B4-BE49-F238E27FC236}">
                <a16:creationId xmlns:a16="http://schemas.microsoft.com/office/drawing/2014/main" id="{8581512B-98D4-48B6-AEFC-09BAE2C375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254" y="1801807"/>
            <a:ext cx="1145943" cy="754185"/>
          </a:xfrm>
          <a:prstGeom prst="rect">
            <a:avLst/>
          </a:prstGeom>
        </p:spPr>
      </p:pic>
      <p:pic>
        <p:nvPicPr>
          <p:cNvPr id="24" name="Picture 21">
            <a:extLst>
              <a:ext uri="{FF2B5EF4-FFF2-40B4-BE49-F238E27FC236}">
                <a16:creationId xmlns:a16="http://schemas.microsoft.com/office/drawing/2014/main" id="{66FC802B-1850-4889-938E-05B84E0908E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117" y="2890381"/>
            <a:ext cx="1145942" cy="754186"/>
          </a:xfrm>
          <a:prstGeom prst="rect">
            <a:avLst/>
          </a:prstGeom>
        </p:spPr>
      </p:pic>
      <p:pic>
        <p:nvPicPr>
          <p:cNvPr id="25" name="Picture 22">
            <a:extLst>
              <a:ext uri="{FF2B5EF4-FFF2-40B4-BE49-F238E27FC236}">
                <a16:creationId xmlns:a16="http://schemas.microsoft.com/office/drawing/2014/main" id="{6E46DD5A-9244-480F-A515-6DB9D44AADE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302" y="1774903"/>
            <a:ext cx="1145941" cy="78417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3E2BA45-2F52-4281-BC94-0106A0680B7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353" y="2892770"/>
            <a:ext cx="1145943" cy="754186"/>
          </a:xfrm>
          <a:prstGeom prst="rect">
            <a:avLst/>
          </a:prstGeom>
        </p:spPr>
      </p:pic>
      <p:pic>
        <p:nvPicPr>
          <p:cNvPr id="27" name="Picture 5">
            <a:extLst>
              <a:ext uri="{FF2B5EF4-FFF2-40B4-BE49-F238E27FC236}">
                <a16:creationId xmlns:a16="http://schemas.microsoft.com/office/drawing/2014/main" id="{E6BD7AB8-5E0D-4AAB-BB7A-FE63F34ADE5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4489" y="1801051"/>
            <a:ext cx="1145943" cy="752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9840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F746FD0-22C7-4456-B0B9-A97B9C0C6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501" y="77678"/>
            <a:ext cx="10306110" cy="1299155"/>
          </a:xfrm>
        </p:spPr>
        <p:txBody>
          <a:bodyPr/>
          <a:lstStyle/>
          <a:p>
            <a:r>
              <a:rPr lang="en-GB" sz="2842" dirty="0">
                <a:latin typeface="Signika Semibold" panose="02010003020600000004"/>
              </a:rPr>
              <a:t>COMMITMENTS</a:t>
            </a:r>
            <a:br>
              <a:rPr lang="en-GB" sz="2842" dirty="0">
                <a:latin typeface="Signika Semibold" panose="02010003020600000004"/>
              </a:rPr>
            </a:br>
            <a:r>
              <a:rPr lang="en-GB" sz="2352" dirty="0">
                <a:latin typeface="Signika Semibold" panose="02010003020600000004"/>
              </a:rPr>
              <a:t>CEO  meeting - </a:t>
            </a:r>
            <a:r>
              <a:rPr lang="en-GB" sz="2352" b="0" dirty="0">
                <a:latin typeface="Signika Semibold" panose="02010003020600000004"/>
              </a:rPr>
              <a:t>San Francisco, USA – September 2018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0A2B8D-B167-4F7B-9567-C860F25A81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b="15578"/>
          <a:stretch/>
        </p:blipFill>
        <p:spPr>
          <a:xfrm>
            <a:off x="5288844" y="3652419"/>
            <a:ext cx="6244498" cy="27747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4F5F30D-AE61-40E9-BA26-DFD4F28863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13" y="4194188"/>
            <a:ext cx="4465982" cy="2232991"/>
          </a:xfrm>
          <a:prstGeom prst="rect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C75925E-3C15-4FE9-825F-152D0FEF62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14" y="1162072"/>
            <a:ext cx="4465982" cy="297964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5D4D2FB-12BD-4D0D-9455-B86E8A7A2B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006" y="1156257"/>
            <a:ext cx="2243645" cy="224364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F907D6F-6FE8-4CFE-806A-C754B8ACAE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141" y="1199872"/>
            <a:ext cx="3420201" cy="2287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05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08FA059-F114-40A6-8308-5F7A380938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5249" y="100"/>
            <a:ext cx="11949111" cy="672137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F746FD0-22C7-4456-B0B9-A97B9C0C6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051" y="79497"/>
            <a:ext cx="10306110" cy="1299174"/>
          </a:xfrm>
        </p:spPr>
        <p:txBody>
          <a:bodyPr/>
          <a:lstStyle/>
          <a:p>
            <a:r>
              <a:rPr lang="en-GB" dirty="0"/>
              <a:t>VISION &amp; AMBI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966E87-6AC4-435F-9E20-455EC447670F}"/>
              </a:ext>
            </a:extLst>
          </p:cNvPr>
          <p:cNvSpPr/>
          <p:nvPr/>
        </p:nvSpPr>
        <p:spPr>
          <a:xfrm>
            <a:off x="7668845" y="729448"/>
            <a:ext cx="3688316" cy="1077218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lvl="0"/>
            <a:r>
              <a:rPr lang="en-GB" sz="2800" b="1" dirty="0">
                <a:solidFill>
                  <a:schemeClr val="bg1"/>
                </a:solidFill>
              </a:rPr>
              <a:t>2020+</a:t>
            </a:r>
          </a:p>
          <a:p>
            <a:pPr lvl="0"/>
            <a:r>
              <a:rPr lang="en-GB" sz="1800" dirty="0">
                <a:solidFill>
                  <a:schemeClr val="bg1"/>
                </a:solidFill>
              </a:rPr>
              <a:t>New financing tools </a:t>
            </a:r>
            <a:r>
              <a:rPr lang="en-GB" sz="1800" dirty="0">
                <a:solidFill>
                  <a:schemeClr val="bg1"/>
                </a:solidFill>
                <a:latin typeface="Calibri" panose="020F0502020204030204" pitchFamily="34" charset="0"/>
              </a:rPr>
              <a:t>→</a:t>
            </a:r>
            <a:r>
              <a:rPr lang="en-GB" sz="1800" dirty="0">
                <a:solidFill>
                  <a:schemeClr val="bg1"/>
                </a:solidFill>
              </a:rPr>
              <a:t> Massive deployments phas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474503-B82D-4F95-B1EE-0B34988024E5}"/>
              </a:ext>
            </a:extLst>
          </p:cNvPr>
          <p:cNvSpPr/>
          <p:nvPr/>
        </p:nvSpPr>
        <p:spPr>
          <a:xfrm>
            <a:off x="442078" y="2215442"/>
            <a:ext cx="3269730" cy="1354217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lvl="0"/>
            <a:r>
              <a:rPr lang="en-GB" sz="2800" b="1" dirty="0">
                <a:solidFill>
                  <a:schemeClr val="bg1"/>
                </a:solidFill>
              </a:rPr>
              <a:t>2018</a:t>
            </a:r>
          </a:p>
          <a:p>
            <a:pPr lvl="0"/>
            <a:r>
              <a:rPr lang="en-GB" sz="1800" dirty="0">
                <a:solidFill>
                  <a:schemeClr val="bg1"/>
                </a:solidFill>
              </a:rPr>
              <a:t>Hydrogen part of key discussions and fora </a:t>
            </a:r>
            <a:r>
              <a:rPr lang="en-GB" sz="1800" dirty="0">
                <a:solidFill>
                  <a:schemeClr val="bg1"/>
                </a:solidFill>
                <a:latin typeface="Calibri" panose="020F0502020204030204" pitchFamily="34" charset="0"/>
              </a:rPr>
              <a:t>→</a:t>
            </a:r>
            <a:r>
              <a:rPr lang="en-GB" sz="1800" dirty="0">
                <a:solidFill>
                  <a:schemeClr val="bg1"/>
                </a:solidFill>
              </a:rPr>
              <a:t> New markets teste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776FB4-8A66-4DF9-9A75-85B10E43E1D6}"/>
              </a:ext>
            </a:extLst>
          </p:cNvPr>
          <p:cNvSpPr/>
          <p:nvPr/>
        </p:nvSpPr>
        <p:spPr>
          <a:xfrm>
            <a:off x="4138636" y="1458068"/>
            <a:ext cx="3269730" cy="1354217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lvl="0"/>
            <a:r>
              <a:rPr lang="en-GB" sz="2800" b="1" dirty="0">
                <a:solidFill>
                  <a:schemeClr val="bg1"/>
                </a:solidFill>
              </a:rPr>
              <a:t>2019</a:t>
            </a:r>
            <a:endParaRPr lang="en-GB" sz="1800" dirty="0">
              <a:solidFill>
                <a:schemeClr val="bg1"/>
              </a:solidFill>
            </a:endParaRPr>
          </a:p>
          <a:p>
            <a:pPr lvl="0"/>
            <a:r>
              <a:rPr lang="en-GB" sz="1800" dirty="0">
                <a:solidFill>
                  <a:schemeClr val="bg1"/>
                </a:solidFill>
              </a:rPr>
              <a:t>“Hydrogen Package” in top markets </a:t>
            </a:r>
            <a:r>
              <a:rPr lang="en-GB" sz="1800" dirty="0">
                <a:solidFill>
                  <a:schemeClr val="bg1"/>
                </a:solidFill>
                <a:latin typeface="Calibri" panose="020F0502020204030204" pitchFamily="34" charset="0"/>
              </a:rPr>
              <a:t>→</a:t>
            </a:r>
            <a:r>
              <a:rPr lang="en-GB" sz="1800" dirty="0">
                <a:solidFill>
                  <a:schemeClr val="bg1"/>
                </a:solidFill>
              </a:rPr>
              <a:t> Further deployment announced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756084" y="4722319"/>
            <a:ext cx="2359768" cy="1224725"/>
            <a:chOff x="20420" y="1991"/>
            <a:chExt cx="2407735" cy="1249620"/>
          </a:xfrm>
        </p:grpSpPr>
        <p:sp>
          <p:nvSpPr>
            <p:cNvPr id="11" name="Rectangle à coins arrondis 10"/>
            <p:cNvSpPr/>
            <p:nvPr/>
          </p:nvSpPr>
          <p:spPr>
            <a:xfrm>
              <a:off x="20420" y="1991"/>
              <a:ext cx="2407735" cy="1249620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ZoneTexte 11"/>
            <p:cNvSpPr txBox="1"/>
            <p:nvPr/>
          </p:nvSpPr>
          <p:spPr>
            <a:xfrm>
              <a:off x="57020" y="38591"/>
              <a:ext cx="2334535" cy="117642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405" tIns="22405" rIns="22405" bIns="22405" numCol="1" spcCol="1270" anchor="ctr" anchorCtr="0">
              <a:noAutofit/>
            </a:bodyPr>
            <a:lstStyle/>
            <a:p>
              <a:pPr algn="ctr" defTabSz="784178">
                <a:lnSpc>
                  <a:spcPct val="90000"/>
                </a:lnSpc>
                <a:spcAft>
                  <a:spcPct val="35000"/>
                </a:spcAft>
              </a:pPr>
              <a:r>
                <a:rPr lang="en-GB" sz="1764" b="1" dirty="0"/>
                <a:t>A roadmap to competitiveness based on scale &amp; cost</a:t>
              </a:r>
            </a:p>
          </p:txBody>
        </p:sp>
      </p:grpSp>
      <p:grpSp>
        <p:nvGrpSpPr>
          <p:cNvPr id="13" name="Groupe 12"/>
          <p:cNvGrpSpPr/>
          <p:nvPr/>
        </p:nvGrpSpPr>
        <p:grpSpPr>
          <a:xfrm>
            <a:off x="3446220" y="4722319"/>
            <a:ext cx="2359768" cy="1224725"/>
            <a:chOff x="2765238" y="1991"/>
            <a:chExt cx="2407735" cy="1249620"/>
          </a:xfrm>
        </p:grpSpPr>
        <p:sp>
          <p:nvSpPr>
            <p:cNvPr id="14" name="Rectangle à coins arrondis 13"/>
            <p:cNvSpPr/>
            <p:nvPr/>
          </p:nvSpPr>
          <p:spPr>
            <a:xfrm>
              <a:off x="2765238" y="1991"/>
              <a:ext cx="2407735" cy="1249620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ZoneTexte 14"/>
            <p:cNvSpPr txBox="1"/>
            <p:nvPr/>
          </p:nvSpPr>
          <p:spPr>
            <a:xfrm>
              <a:off x="2801838" y="38591"/>
              <a:ext cx="2334535" cy="117642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405" tIns="22405" rIns="22405" bIns="22405" numCol="1" spcCol="1270" anchor="ctr" anchorCtr="0">
              <a:noAutofit/>
            </a:bodyPr>
            <a:lstStyle/>
            <a:p>
              <a:pPr algn="ctr" defTabSz="784178">
                <a:lnSpc>
                  <a:spcPct val="90000"/>
                </a:lnSpc>
                <a:spcAft>
                  <a:spcPct val="35000"/>
                </a:spcAft>
              </a:pPr>
              <a:r>
                <a:rPr lang="en-GB" sz="1764" b="1" dirty="0"/>
                <a:t>Policy tools (best practice)</a:t>
              </a: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6136357" y="4722319"/>
            <a:ext cx="2359768" cy="1224725"/>
            <a:chOff x="5510057" y="1991"/>
            <a:chExt cx="2407735" cy="1249620"/>
          </a:xfrm>
        </p:grpSpPr>
        <p:sp>
          <p:nvSpPr>
            <p:cNvPr id="17" name="Rectangle à coins arrondis 16"/>
            <p:cNvSpPr/>
            <p:nvPr/>
          </p:nvSpPr>
          <p:spPr>
            <a:xfrm>
              <a:off x="5510057" y="1991"/>
              <a:ext cx="2407735" cy="1249620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ZoneTexte 17"/>
            <p:cNvSpPr txBox="1"/>
            <p:nvPr/>
          </p:nvSpPr>
          <p:spPr>
            <a:xfrm>
              <a:off x="5546657" y="38591"/>
              <a:ext cx="2334535" cy="117642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405" tIns="22405" rIns="22405" bIns="22405" numCol="1" spcCol="1270" anchor="ctr" anchorCtr="0">
              <a:noAutofit/>
            </a:bodyPr>
            <a:lstStyle/>
            <a:p>
              <a:pPr algn="ctr" defTabSz="784178">
                <a:lnSpc>
                  <a:spcPct val="90000"/>
                </a:lnSpc>
                <a:spcAft>
                  <a:spcPct val="35000"/>
                </a:spcAft>
              </a:pPr>
              <a:r>
                <a:rPr lang="en-GB" sz="1764" b="1" dirty="0"/>
                <a:t>Financing tools (best practice &amp; innovative ideas)</a:t>
              </a:r>
              <a:endParaRPr lang="en-GB" sz="1764" dirty="0"/>
            </a:p>
          </p:txBody>
        </p:sp>
      </p:grpSp>
      <p:grpSp>
        <p:nvGrpSpPr>
          <p:cNvPr id="19" name="Groupe 18"/>
          <p:cNvGrpSpPr/>
          <p:nvPr/>
        </p:nvGrpSpPr>
        <p:grpSpPr>
          <a:xfrm>
            <a:off x="8826494" y="4722319"/>
            <a:ext cx="2359768" cy="1224725"/>
            <a:chOff x="8254876" y="1991"/>
            <a:chExt cx="2407735" cy="1249620"/>
          </a:xfrm>
        </p:grpSpPr>
        <p:sp>
          <p:nvSpPr>
            <p:cNvPr id="20" name="Rectangle à coins arrondis 19"/>
            <p:cNvSpPr/>
            <p:nvPr/>
          </p:nvSpPr>
          <p:spPr>
            <a:xfrm>
              <a:off x="8254876" y="1991"/>
              <a:ext cx="2407735" cy="1249620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ZoneTexte 20"/>
            <p:cNvSpPr txBox="1"/>
            <p:nvPr/>
          </p:nvSpPr>
          <p:spPr>
            <a:xfrm>
              <a:off x="8291476" y="38591"/>
              <a:ext cx="2334535" cy="117642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405" tIns="22405" rIns="22405" bIns="22405" numCol="1" spcCol="1270" anchor="ctr" anchorCtr="0">
              <a:noAutofit/>
            </a:bodyPr>
            <a:lstStyle/>
            <a:p>
              <a:pPr algn="ctr" defTabSz="784178">
                <a:lnSpc>
                  <a:spcPct val="90000"/>
                </a:lnSpc>
                <a:spcAft>
                  <a:spcPct val="35000"/>
                </a:spcAft>
              </a:pPr>
              <a:r>
                <a:rPr lang="en-GB" sz="1764" b="1"/>
                <a:t>Flagship projects ready for scaling collaboration</a:t>
              </a:r>
              <a:endParaRPr lang="en-GB" sz="1764" dirty="0"/>
            </a:p>
          </p:txBody>
        </p:sp>
      </p:grpSp>
      <p:sp>
        <p:nvSpPr>
          <p:cNvPr id="2" name="Flèche vers le bas 1"/>
          <p:cNvSpPr/>
          <p:nvPr/>
        </p:nvSpPr>
        <p:spPr>
          <a:xfrm>
            <a:off x="3115852" y="3654470"/>
            <a:ext cx="6086205" cy="609600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192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67193"/>
              </p:ext>
            </p:extLst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49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743122" y="6244060"/>
            <a:ext cx="4715453" cy="215444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/>
              <a:t>Hydrogen Council | COP 23 | 13 NOVEMBER 2017</a:t>
            </a:r>
          </a:p>
        </p:txBody>
      </p:sp>
      <p:sp>
        <p:nvSpPr>
          <p:cNvPr id="11" name="Title"/>
          <p:cNvSpPr txBox="1">
            <a:spLocks noChangeArrowheads="1"/>
          </p:cNvSpPr>
          <p:nvPr/>
        </p:nvSpPr>
        <p:spPr bwMode="gray">
          <a:xfrm>
            <a:off x="6412424" y="4318706"/>
            <a:ext cx="5046151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3200" b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4200"/>
              </a:lnSpc>
            </a:pPr>
            <a:r>
              <a:rPr lang="en-US" sz="5400" b="1" kern="0" dirty="0">
                <a:solidFill>
                  <a:srgbClr val="185271"/>
                </a:solidFill>
              </a:rPr>
              <a:t>Hydrogen</a:t>
            </a:r>
          </a:p>
          <a:p>
            <a:pPr algn="r">
              <a:lnSpc>
                <a:spcPts val="4200"/>
              </a:lnSpc>
            </a:pPr>
            <a:r>
              <a:rPr lang="en-US" sz="4000" kern="0" dirty="0">
                <a:solidFill>
                  <a:srgbClr val="185271"/>
                </a:solidFill>
              </a:rPr>
              <a:t>scaling up</a:t>
            </a: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1847850" y="5463952"/>
            <a:ext cx="9610725" cy="0"/>
          </a:xfrm>
          <a:prstGeom prst="line">
            <a:avLst/>
          </a:prstGeom>
          <a:ln>
            <a:solidFill>
              <a:srgbClr val="1852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ubtitle 4"/>
          <p:cNvSpPr txBox="1">
            <a:spLocks/>
          </p:cNvSpPr>
          <p:nvPr/>
        </p:nvSpPr>
        <p:spPr bwMode="gray">
          <a:xfrm>
            <a:off x="6743122" y="5594007"/>
            <a:ext cx="471545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400" cap="all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kern="0" cap="none" dirty="0">
                <a:solidFill>
                  <a:schemeClr val="accent4"/>
                </a:solidFill>
              </a:rPr>
              <a:t>A sustainable pathway for the global energy transition</a:t>
            </a:r>
          </a:p>
        </p:txBody>
      </p:sp>
    </p:spTree>
    <p:extLst>
      <p:ext uri="{BB962C8B-B14F-4D97-AF65-F5344CB8AC3E}">
        <p14:creationId xmlns:p14="http://schemas.microsoft.com/office/powerpoint/2010/main" val="55391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5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2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097095" y="2350080"/>
            <a:ext cx="7034871" cy="3157964"/>
            <a:chOff x="1255591" y="2089222"/>
            <a:chExt cx="7034871" cy="3157964"/>
          </a:xfrm>
        </p:grpSpPr>
        <p:sp>
          <p:nvSpPr>
            <p:cNvPr id="4" name="Freeform 3"/>
            <p:cNvSpPr/>
            <p:nvPr/>
          </p:nvSpPr>
          <p:spPr>
            <a:xfrm>
              <a:off x="6969661" y="2089222"/>
              <a:ext cx="1320801" cy="1579379"/>
            </a:xfrm>
            <a:custGeom>
              <a:avLst/>
              <a:gdLst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7045"/>
                <a:gd name="connsiteX1" fmla="*/ 800100 w 1540934"/>
                <a:gd name="connsiteY1" fmla="*/ 1134533 h 1587045"/>
                <a:gd name="connsiteX2" fmla="*/ 791634 w 1540934"/>
                <a:gd name="connsiteY2" fmla="*/ 431800 h 1587045"/>
                <a:gd name="connsiteX3" fmla="*/ 1244600 w 1540934"/>
                <a:gd name="connsiteY3" fmla="*/ 0 h 1587045"/>
                <a:gd name="connsiteX4" fmla="*/ 1540934 w 1540934"/>
                <a:gd name="connsiteY4" fmla="*/ 0 h 1587045"/>
                <a:gd name="connsiteX0" fmla="*/ 0 w 1540934"/>
                <a:gd name="connsiteY0" fmla="*/ 1583266 h 1586189"/>
                <a:gd name="connsiteX1" fmla="*/ 800100 w 1540934"/>
                <a:gd name="connsiteY1" fmla="*/ 1134533 h 1586189"/>
                <a:gd name="connsiteX2" fmla="*/ 791634 w 1540934"/>
                <a:gd name="connsiteY2" fmla="*/ 431800 h 1586189"/>
                <a:gd name="connsiteX3" fmla="*/ 1244600 w 1540934"/>
                <a:gd name="connsiteY3" fmla="*/ 0 h 1586189"/>
                <a:gd name="connsiteX4" fmla="*/ 1540934 w 1540934"/>
                <a:gd name="connsiteY4" fmla="*/ 0 h 1586189"/>
                <a:gd name="connsiteX0" fmla="*/ 0 w 1540934"/>
                <a:gd name="connsiteY0" fmla="*/ 1583266 h 1585511"/>
                <a:gd name="connsiteX1" fmla="*/ 800100 w 1540934"/>
                <a:gd name="connsiteY1" fmla="*/ 1134533 h 1585511"/>
                <a:gd name="connsiteX2" fmla="*/ 791634 w 1540934"/>
                <a:gd name="connsiteY2" fmla="*/ 431800 h 1585511"/>
                <a:gd name="connsiteX3" fmla="*/ 1244600 w 1540934"/>
                <a:gd name="connsiteY3" fmla="*/ 0 h 1585511"/>
                <a:gd name="connsiteX4" fmla="*/ 1540934 w 1540934"/>
                <a:gd name="connsiteY4" fmla="*/ 0 h 1585511"/>
                <a:gd name="connsiteX0" fmla="*/ 0 w 1320801"/>
                <a:gd name="connsiteY0" fmla="*/ 1579033 h 1581321"/>
                <a:gd name="connsiteX1" fmla="*/ 579967 w 1320801"/>
                <a:gd name="connsiteY1" fmla="*/ 1134533 h 1581321"/>
                <a:gd name="connsiteX2" fmla="*/ 571501 w 1320801"/>
                <a:gd name="connsiteY2" fmla="*/ 431800 h 1581321"/>
                <a:gd name="connsiteX3" fmla="*/ 1024467 w 1320801"/>
                <a:gd name="connsiteY3" fmla="*/ 0 h 1581321"/>
                <a:gd name="connsiteX4" fmla="*/ 1320801 w 1320801"/>
                <a:gd name="connsiteY4" fmla="*/ 0 h 1581321"/>
                <a:gd name="connsiteX0" fmla="*/ 0 w 1320801"/>
                <a:gd name="connsiteY0" fmla="*/ 1579033 h 1579212"/>
                <a:gd name="connsiteX1" fmla="*/ 579967 w 1320801"/>
                <a:gd name="connsiteY1" fmla="*/ 1134533 h 1579212"/>
                <a:gd name="connsiteX2" fmla="*/ 571501 w 1320801"/>
                <a:gd name="connsiteY2" fmla="*/ 431800 h 1579212"/>
                <a:gd name="connsiteX3" fmla="*/ 1024467 w 1320801"/>
                <a:gd name="connsiteY3" fmla="*/ 0 h 1579212"/>
                <a:gd name="connsiteX4" fmla="*/ 1320801 w 1320801"/>
                <a:gd name="connsiteY4" fmla="*/ 0 h 1579212"/>
                <a:gd name="connsiteX0" fmla="*/ 0 w 1320801"/>
                <a:gd name="connsiteY0" fmla="*/ 1579033 h 1579379"/>
                <a:gd name="connsiteX1" fmla="*/ 579967 w 1320801"/>
                <a:gd name="connsiteY1" fmla="*/ 1134533 h 1579379"/>
                <a:gd name="connsiteX2" fmla="*/ 571501 w 1320801"/>
                <a:gd name="connsiteY2" fmla="*/ 431800 h 1579379"/>
                <a:gd name="connsiteX3" fmla="*/ 1024467 w 1320801"/>
                <a:gd name="connsiteY3" fmla="*/ 0 h 1579379"/>
                <a:gd name="connsiteX4" fmla="*/ 1320801 w 1320801"/>
                <a:gd name="connsiteY4" fmla="*/ 0 h 157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801" h="1579379">
                  <a:moveTo>
                    <a:pt x="0" y="1579033"/>
                  </a:moveTo>
                  <a:cubicBezTo>
                    <a:pt x="431800" y="1585559"/>
                    <a:pt x="583142" y="1502128"/>
                    <a:pt x="579967" y="1134533"/>
                  </a:cubicBezTo>
                  <a:lnTo>
                    <a:pt x="571501" y="431800"/>
                  </a:lnTo>
                  <a:cubicBezTo>
                    <a:pt x="570090" y="237066"/>
                    <a:pt x="732191" y="1058"/>
                    <a:pt x="1024467" y="0"/>
                  </a:cubicBezTo>
                  <a:lnTo>
                    <a:pt x="1320801" y="0"/>
                  </a:lnTo>
                </a:path>
              </a:pathLst>
            </a:custGeom>
            <a:noFill/>
            <a:ln w="2063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 48"/>
            <p:cNvSpPr/>
            <p:nvPr/>
          </p:nvSpPr>
          <p:spPr>
            <a:xfrm flipV="1">
              <a:off x="6969661" y="3667807"/>
              <a:ext cx="1320801" cy="1579379"/>
            </a:xfrm>
            <a:custGeom>
              <a:avLst/>
              <a:gdLst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3266"/>
                <a:gd name="connsiteX1" fmla="*/ 800100 w 1540934"/>
                <a:gd name="connsiteY1" fmla="*/ 1134533 h 1583266"/>
                <a:gd name="connsiteX2" fmla="*/ 791634 w 1540934"/>
                <a:gd name="connsiteY2" fmla="*/ 431800 h 1583266"/>
                <a:gd name="connsiteX3" fmla="*/ 1244600 w 1540934"/>
                <a:gd name="connsiteY3" fmla="*/ 0 h 1583266"/>
                <a:gd name="connsiteX4" fmla="*/ 1540934 w 1540934"/>
                <a:gd name="connsiteY4" fmla="*/ 0 h 1583266"/>
                <a:gd name="connsiteX0" fmla="*/ 0 w 1540934"/>
                <a:gd name="connsiteY0" fmla="*/ 1583266 h 1587045"/>
                <a:gd name="connsiteX1" fmla="*/ 800100 w 1540934"/>
                <a:gd name="connsiteY1" fmla="*/ 1134533 h 1587045"/>
                <a:gd name="connsiteX2" fmla="*/ 791634 w 1540934"/>
                <a:gd name="connsiteY2" fmla="*/ 431800 h 1587045"/>
                <a:gd name="connsiteX3" fmla="*/ 1244600 w 1540934"/>
                <a:gd name="connsiteY3" fmla="*/ 0 h 1587045"/>
                <a:gd name="connsiteX4" fmla="*/ 1540934 w 1540934"/>
                <a:gd name="connsiteY4" fmla="*/ 0 h 1587045"/>
                <a:gd name="connsiteX0" fmla="*/ 0 w 1540934"/>
                <a:gd name="connsiteY0" fmla="*/ 1583266 h 1586189"/>
                <a:gd name="connsiteX1" fmla="*/ 800100 w 1540934"/>
                <a:gd name="connsiteY1" fmla="*/ 1134533 h 1586189"/>
                <a:gd name="connsiteX2" fmla="*/ 791634 w 1540934"/>
                <a:gd name="connsiteY2" fmla="*/ 431800 h 1586189"/>
                <a:gd name="connsiteX3" fmla="*/ 1244600 w 1540934"/>
                <a:gd name="connsiteY3" fmla="*/ 0 h 1586189"/>
                <a:gd name="connsiteX4" fmla="*/ 1540934 w 1540934"/>
                <a:gd name="connsiteY4" fmla="*/ 0 h 1586189"/>
                <a:gd name="connsiteX0" fmla="*/ 0 w 1540934"/>
                <a:gd name="connsiteY0" fmla="*/ 1583266 h 1585511"/>
                <a:gd name="connsiteX1" fmla="*/ 800100 w 1540934"/>
                <a:gd name="connsiteY1" fmla="*/ 1134533 h 1585511"/>
                <a:gd name="connsiteX2" fmla="*/ 791634 w 1540934"/>
                <a:gd name="connsiteY2" fmla="*/ 431800 h 1585511"/>
                <a:gd name="connsiteX3" fmla="*/ 1244600 w 1540934"/>
                <a:gd name="connsiteY3" fmla="*/ 0 h 1585511"/>
                <a:gd name="connsiteX4" fmla="*/ 1540934 w 1540934"/>
                <a:gd name="connsiteY4" fmla="*/ 0 h 1585511"/>
                <a:gd name="connsiteX0" fmla="*/ 0 w 1320801"/>
                <a:gd name="connsiteY0" fmla="*/ 1579033 h 1581321"/>
                <a:gd name="connsiteX1" fmla="*/ 579967 w 1320801"/>
                <a:gd name="connsiteY1" fmla="*/ 1134533 h 1581321"/>
                <a:gd name="connsiteX2" fmla="*/ 571501 w 1320801"/>
                <a:gd name="connsiteY2" fmla="*/ 431800 h 1581321"/>
                <a:gd name="connsiteX3" fmla="*/ 1024467 w 1320801"/>
                <a:gd name="connsiteY3" fmla="*/ 0 h 1581321"/>
                <a:gd name="connsiteX4" fmla="*/ 1320801 w 1320801"/>
                <a:gd name="connsiteY4" fmla="*/ 0 h 1581321"/>
                <a:gd name="connsiteX0" fmla="*/ 0 w 1320801"/>
                <a:gd name="connsiteY0" fmla="*/ 1579033 h 1579212"/>
                <a:gd name="connsiteX1" fmla="*/ 579967 w 1320801"/>
                <a:gd name="connsiteY1" fmla="*/ 1134533 h 1579212"/>
                <a:gd name="connsiteX2" fmla="*/ 571501 w 1320801"/>
                <a:gd name="connsiteY2" fmla="*/ 431800 h 1579212"/>
                <a:gd name="connsiteX3" fmla="*/ 1024467 w 1320801"/>
                <a:gd name="connsiteY3" fmla="*/ 0 h 1579212"/>
                <a:gd name="connsiteX4" fmla="*/ 1320801 w 1320801"/>
                <a:gd name="connsiteY4" fmla="*/ 0 h 1579212"/>
                <a:gd name="connsiteX0" fmla="*/ 0 w 1320801"/>
                <a:gd name="connsiteY0" fmla="*/ 1579033 h 1579379"/>
                <a:gd name="connsiteX1" fmla="*/ 579967 w 1320801"/>
                <a:gd name="connsiteY1" fmla="*/ 1134533 h 1579379"/>
                <a:gd name="connsiteX2" fmla="*/ 571501 w 1320801"/>
                <a:gd name="connsiteY2" fmla="*/ 431800 h 1579379"/>
                <a:gd name="connsiteX3" fmla="*/ 1024467 w 1320801"/>
                <a:gd name="connsiteY3" fmla="*/ 0 h 1579379"/>
                <a:gd name="connsiteX4" fmla="*/ 1320801 w 1320801"/>
                <a:gd name="connsiteY4" fmla="*/ 0 h 1579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801" h="1579379">
                  <a:moveTo>
                    <a:pt x="0" y="1579033"/>
                  </a:moveTo>
                  <a:cubicBezTo>
                    <a:pt x="431800" y="1585559"/>
                    <a:pt x="583142" y="1502128"/>
                    <a:pt x="579967" y="1134533"/>
                  </a:cubicBezTo>
                  <a:lnTo>
                    <a:pt x="571501" y="431800"/>
                  </a:lnTo>
                  <a:cubicBezTo>
                    <a:pt x="570090" y="237066"/>
                    <a:pt x="732191" y="1058"/>
                    <a:pt x="1024467" y="0"/>
                  </a:cubicBezTo>
                  <a:lnTo>
                    <a:pt x="1320801" y="0"/>
                  </a:lnTo>
                </a:path>
              </a:pathLst>
            </a:custGeom>
            <a:noFill/>
            <a:ln w="2063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/>
            <p:cNvSpPr/>
            <p:nvPr/>
          </p:nvSpPr>
          <p:spPr>
            <a:xfrm>
              <a:off x="1255591" y="3566126"/>
              <a:ext cx="5714070" cy="205846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7585087" y="4212846"/>
              <a:ext cx="654044" cy="0"/>
            </a:xfrm>
            <a:prstGeom prst="line">
              <a:avLst/>
            </a:prstGeom>
            <a:ln w="2063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7585087" y="3159969"/>
              <a:ext cx="654044" cy="0"/>
            </a:xfrm>
            <a:prstGeom prst="line">
              <a:avLst/>
            </a:prstGeom>
            <a:ln w="2063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26E4D1C-5BA8-4E85-925F-E1C15D404F9F}"/>
              </a:ext>
            </a:extLst>
          </p:cNvPr>
          <p:cNvCxnSpPr/>
          <p:nvPr/>
        </p:nvCxnSpPr>
        <p:spPr>
          <a:xfrm>
            <a:off x="1428750" y="3928665"/>
            <a:ext cx="2197100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3B2B909A-3908-4F64-AF7D-8A96AC8B2CAC}"/>
              </a:ext>
            </a:extLst>
          </p:cNvPr>
          <p:cNvCxnSpPr/>
          <p:nvPr/>
        </p:nvCxnSpPr>
        <p:spPr>
          <a:xfrm>
            <a:off x="4908550" y="3928665"/>
            <a:ext cx="2197100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Picture 83">
            <a:extLst>
              <a:ext uri="{FF2B5EF4-FFF2-40B4-BE49-F238E27FC236}">
                <a16:creationId xmlns:a16="http://schemas.microsoft.com/office/drawing/2014/main" id="{B1A1B299-F883-4BB3-8F2C-46433C534AD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1" t="13324" r="6841" b="13324"/>
          <a:stretch>
            <a:fillRect/>
          </a:stretch>
        </p:blipFill>
        <p:spPr>
          <a:xfrm>
            <a:off x="7997682" y="5084896"/>
            <a:ext cx="1043747" cy="886963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A9DEBBC6-8948-403F-A035-AFB26DB1700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7" t="13548" r="8104" b="10295"/>
          <a:stretch>
            <a:fillRect/>
          </a:stretch>
        </p:blipFill>
        <p:spPr>
          <a:xfrm>
            <a:off x="7997682" y="1934731"/>
            <a:ext cx="1043747" cy="886963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15681A93-2D78-471E-AB9F-8046272530E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" t="10481" r="5815" b="10129"/>
          <a:stretch>
            <a:fillRect/>
          </a:stretch>
        </p:blipFill>
        <p:spPr>
          <a:xfrm>
            <a:off x="7997682" y="2984786"/>
            <a:ext cx="1043747" cy="886963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4198DCFD-1471-41C8-94B5-7F4BC014BB4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8" t="12527" b="7209"/>
          <a:stretch>
            <a:fillRect/>
          </a:stretch>
        </p:blipFill>
        <p:spPr>
          <a:xfrm>
            <a:off x="7997682" y="4034841"/>
            <a:ext cx="1043747" cy="886963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57" name="Rectangle 56"/>
          <p:cNvSpPr/>
          <p:nvPr/>
        </p:nvSpPr>
        <p:spPr>
          <a:xfrm rot="5400000" flipV="1">
            <a:off x="3701411" y="4514805"/>
            <a:ext cx="1181048" cy="20505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 energy transition creates multiple challenges</a:t>
            </a:r>
          </a:p>
        </p:txBody>
      </p:sp>
      <p:sp>
        <p:nvSpPr>
          <p:cNvPr id="94" name="TextBox 93"/>
          <p:cNvSpPr txBox="1">
            <a:spLocks/>
          </p:cNvSpPr>
          <p:nvPr/>
        </p:nvSpPr>
        <p:spPr>
          <a:xfrm>
            <a:off x="5008313" y="4885630"/>
            <a:ext cx="201478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b="1" dirty="0"/>
              <a:t>Global buffering capacity </a:t>
            </a:r>
            <a:r>
              <a:rPr lang="en-US" sz="1600" dirty="0"/>
              <a:t>is currently based on mostly fossil sources </a:t>
            </a:r>
          </a:p>
        </p:txBody>
      </p:sp>
      <p:sp>
        <p:nvSpPr>
          <p:cNvPr id="96" name="TextBox 95"/>
          <p:cNvSpPr txBox="1">
            <a:spLocks/>
          </p:cNvSpPr>
          <p:nvPr/>
        </p:nvSpPr>
        <p:spPr>
          <a:xfrm>
            <a:off x="3879313" y="2505336"/>
            <a:ext cx="2435762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b="1" dirty="0"/>
              <a:t>Infrastructure</a:t>
            </a:r>
            <a:r>
              <a:rPr lang="en-US" sz="1600" dirty="0"/>
              <a:t> needs </a:t>
            </a:r>
            <a:br>
              <a:rPr lang="en-US" sz="1600" dirty="0"/>
            </a:br>
            <a:r>
              <a:rPr lang="en-US" sz="1600" dirty="0"/>
              <a:t>to go through a major transformation</a:t>
            </a:r>
            <a:endParaRPr lang="en-US" sz="1600" b="1" dirty="0"/>
          </a:p>
        </p:txBody>
      </p:sp>
      <p:sp>
        <p:nvSpPr>
          <p:cNvPr id="92" name="TextBox 91"/>
          <p:cNvSpPr txBox="1"/>
          <p:nvPr/>
        </p:nvSpPr>
        <p:spPr>
          <a:xfrm>
            <a:off x="243157" y="2560102"/>
            <a:ext cx="2890567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r>
              <a:rPr lang="en-US" sz="1600" dirty="0"/>
              <a:t>Increasing renewables </a:t>
            </a:r>
            <a:br>
              <a:rPr lang="en-US" sz="1600" dirty="0"/>
            </a:br>
            <a:r>
              <a:rPr lang="en-US" sz="1600" dirty="0"/>
              <a:t>share leads to </a:t>
            </a:r>
            <a:r>
              <a:rPr lang="en-US" sz="1600" b="1" dirty="0"/>
              <a:t>imbalances </a:t>
            </a:r>
            <a:br>
              <a:rPr lang="en-US" sz="1600" b="1" dirty="0"/>
            </a:br>
            <a:r>
              <a:rPr lang="en-US" sz="1600" b="1" dirty="0"/>
              <a:t>of power supply &amp; demand</a:t>
            </a:r>
          </a:p>
        </p:txBody>
      </p:sp>
      <p:pic>
        <p:nvPicPr>
          <p:cNvPr id="104" name="Picture 103"/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0062" y="3480226"/>
            <a:ext cx="1043747" cy="886963"/>
          </a:xfrm>
          <a:prstGeom prst="hexagon">
            <a:avLst>
              <a:gd name="adj" fmla="val 29027"/>
              <a:gd name="vf" fmla="val 115470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</p:pic>
      <p:pic>
        <p:nvPicPr>
          <p:cNvPr id="102" name="Picture 101"/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70062" y="4885925"/>
            <a:ext cx="1043747" cy="886963"/>
          </a:xfrm>
          <a:prstGeom prst="hexagon">
            <a:avLst>
              <a:gd name="adj" fmla="val 29296"/>
              <a:gd name="vf" fmla="val 115470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</p:pic>
      <p:sp>
        <p:nvSpPr>
          <p:cNvPr id="117" name="TextBox 116"/>
          <p:cNvSpPr txBox="1">
            <a:spLocks/>
          </p:cNvSpPr>
          <p:nvPr/>
        </p:nvSpPr>
        <p:spPr>
          <a:xfrm>
            <a:off x="9153432" y="2606675"/>
            <a:ext cx="2463740" cy="16619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600" dirty="0"/>
              <a:t>Some energy uses are </a:t>
            </a:r>
            <a:r>
              <a:rPr lang="en-US" sz="1600" b="1" dirty="0"/>
              <a:t>hard to electrify </a:t>
            </a:r>
            <a:r>
              <a:rPr lang="en-US" sz="1600" dirty="0"/>
              <a:t>via the grid or with batteries:</a:t>
            </a:r>
          </a:p>
          <a:p>
            <a:pPr lvl="1">
              <a:spcBef>
                <a:spcPct val="25000"/>
              </a:spcBef>
            </a:pPr>
            <a:r>
              <a:rPr lang="en-US" sz="1600" dirty="0"/>
              <a:t>Transport</a:t>
            </a:r>
          </a:p>
          <a:p>
            <a:pPr lvl="1">
              <a:spcBef>
                <a:spcPct val="25000"/>
              </a:spcBef>
            </a:pPr>
            <a:r>
              <a:rPr lang="en-US" sz="1600" dirty="0"/>
              <a:t>Industry</a:t>
            </a:r>
          </a:p>
          <a:p>
            <a:pPr lvl="1">
              <a:spcBef>
                <a:spcPct val="25000"/>
              </a:spcBef>
            </a:pPr>
            <a:r>
              <a:rPr lang="en-US" sz="1600" dirty="0"/>
              <a:t>Residential heating</a:t>
            </a:r>
          </a:p>
        </p:txBody>
      </p:sp>
      <p:sp>
        <p:nvSpPr>
          <p:cNvPr id="169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 smtClean="0">
                <a:solidFill>
                  <a:schemeClr val="accent6"/>
                </a:solidFill>
              </a:rPr>
              <a:t>SOURCES: </a:t>
            </a:r>
            <a:r>
              <a:rPr lang="en-US" sz="800" dirty="0">
                <a:solidFill>
                  <a:schemeClr val="accent6"/>
                </a:solidFill>
              </a:rPr>
              <a:t>Hydrogen </a:t>
            </a:r>
            <a:r>
              <a:rPr lang="en-US" sz="800" dirty="0" smtClean="0">
                <a:solidFill>
                  <a:schemeClr val="accent6"/>
                </a:solidFill>
              </a:rPr>
              <a:t>Council, </a:t>
            </a:r>
            <a:r>
              <a:rPr lang="en-US" sz="800" dirty="0" err="1" smtClean="0">
                <a:solidFill>
                  <a:schemeClr val="accent6"/>
                </a:solidFill>
              </a:rPr>
              <a:t>IEA</a:t>
            </a:r>
            <a:endParaRPr lang="en-US" sz="800" dirty="0">
              <a:solidFill>
                <a:schemeClr val="accent6"/>
              </a:solidFill>
            </a:endParaRPr>
          </a:p>
        </p:txBody>
      </p:sp>
      <p:pic>
        <p:nvPicPr>
          <p:cNvPr id="73" name="Picture 72"/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" t="2503" r="8761" b="20093"/>
          <a:stretch/>
        </p:blipFill>
        <p:spPr>
          <a:xfrm>
            <a:off x="218080" y="3479192"/>
            <a:ext cx="1043747" cy="886963"/>
          </a:xfrm>
          <a:prstGeom prst="hexagon">
            <a:avLst>
              <a:gd name="adj" fmla="val 29028"/>
              <a:gd name="vf" fmla="val 115470"/>
            </a:avLst>
          </a:prstGeom>
          <a:solidFill>
            <a:schemeClr val="bg1"/>
          </a:solidFill>
          <a:ln w="6350">
            <a:solidFill>
              <a:schemeClr val="accent2"/>
            </a:solidFill>
          </a:ln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D2EA1845-C473-4928-977F-BD53C457A9B0}"/>
              </a:ext>
            </a:extLst>
          </p:cNvPr>
          <p:cNvSpPr txBox="1"/>
          <p:nvPr/>
        </p:nvSpPr>
        <p:spPr>
          <a:xfrm>
            <a:off x="218383" y="1219401"/>
            <a:ext cx="5184890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400" dirty="0">
                <a:solidFill>
                  <a:schemeClr val="accent2"/>
                </a:solidFill>
              </a:rPr>
              <a:t>Enable the renewable energy system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1B5876C8-A0D2-4EEE-9C0A-9FD6247B981D}"/>
              </a:ext>
            </a:extLst>
          </p:cNvPr>
          <p:cNvCxnSpPr/>
          <p:nvPr/>
        </p:nvCxnSpPr>
        <p:spPr>
          <a:xfrm>
            <a:off x="5343896" y="1427798"/>
            <a:ext cx="1896341" cy="0"/>
          </a:xfrm>
          <a:prstGeom prst="straightConnector1">
            <a:avLst/>
          </a:prstGeom>
          <a:noFill/>
          <a:ln w="15875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F01699F5-8415-4013-BCF4-AEE347F3E549}"/>
              </a:ext>
            </a:extLst>
          </p:cNvPr>
          <p:cNvSpPr txBox="1"/>
          <p:nvPr/>
        </p:nvSpPr>
        <p:spPr>
          <a:xfrm>
            <a:off x="7364665" y="1219401"/>
            <a:ext cx="3139060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Decarbonize end uses</a:t>
            </a:r>
          </a:p>
        </p:txBody>
      </p: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FA3B2AEE-F32F-4C59-8201-BC7FE48B4078}"/>
              </a:ext>
            </a:extLst>
          </p:cNvPr>
          <p:cNvCxnSpPr/>
          <p:nvPr/>
        </p:nvCxnSpPr>
        <p:spPr>
          <a:xfrm>
            <a:off x="10563101" y="1423712"/>
            <a:ext cx="1089149" cy="0"/>
          </a:xfrm>
          <a:prstGeom prst="straightConnector1">
            <a:avLst/>
          </a:prstGeom>
          <a:noFill/>
          <a:ln w="15875">
            <a:solidFill>
              <a:schemeClr val="accent5"/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7442612E-E1BB-4DD2-9B4D-369839F8831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5" t="12397" r="1530" b="8814"/>
          <a:stretch>
            <a:fillRect/>
          </a:stretch>
        </p:blipFill>
        <p:spPr>
          <a:xfrm>
            <a:off x="3759276" y="4894071"/>
            <a:ext cx="1043747" cy="886963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rgbClr val="9DC15C"/>
            </a:solidFill>
          </a:ln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6056CA8C-D1CB-4DE2-9715-B6BE85CC8E57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5" t="9316" r="2125" b="9316"/>
          <a:stretch>
            <a:fillRect/>
          </a:stretch>
        </p:blipFill>
        <p:spPr>
          <a:xfrm>
            <a:off x="3757684" y="3485976"/>
            <a:ext cx="1043747" cy="886963"/>
          </a:xfrm>
          <a:custGeom>
            <a:avLst/>
            <a:gdLst>
              <a:gd name="connsiteX0" fmla="*/ 253840 w 1043747"/>
              <a:gd name="connsiteY0" fmla="*/ 0 h 886963"/>
              <a:gd name="connsiteX1" fmla="*/ 789907 w 1043747"/>
              <a:gd name="connsiteY1" fmla="*/ 0 h 886963"/>
              <a:gd name="connsiteX2" fmla="*/ 1043747 w 1043747"/>
              <a:gd name="connsiteY2" fmla="*/ 443482 h 886963"/>
              <a:gd name="connsiteX3" fmla="*/ 789907 w 1043747"/>
              <a:gd name="connsiteY3" fmla="*/ 886963 h 886963"/>
              <a:gd name="connsiteX4" fmla="*/ 253840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3840" y="0"/>
                </a:moveTo>
                <a:lnTo>
                  <a:pt x="789907" y="0"/>
                </a:lnTo>
                <a:lnTo>
                  <a:pt x="1043747" y="443482"/>
                </a:lnTo>
                <a:lnTo>
                  <a:pt x="789907" y="886963"/>
                </a:lnTo>
                <a:lnTo>
                  <a:pt x="253840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89C5F876-1391-4B9C-8C6E-AF8D57C1BE8B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6" t="13940" r="7565" b="13940"/>
          <a:stretch>
            <a:fillRect/>
          </a:stretch>
        </p:blipFill>
        <p:spPr>
          <a:xfrm>
            <a:off x="218080" y="3485977"/>
            <a:ext cx="1043747" cy="886963"/>
          </a:xfrm>
          <a:custGeom>
            <a:avLst/>
            <a:gdLst>
              <a:gd name="connsiteX0" fmla="*/ 257468 w 1043747"/>
              <a:gd name="connsiteY0" fmla="*/ 0 h 886963"/>
              <a:gd name="connsiteX1" fmla="*/ 786279 w 1043747"/>
              <a:gd name="connsiteY1" fmla="*/ 0 h 886963"/>
              <a:gd name="connsiteX2" fmla="*/ 1043747 w 1043747"/>
              <a:gd name="connsiteY2" fmla="*/ 443482 h 886963"/>
              <a:gd name="connsiteX3" fmla="*/ 786279 w 1043747"/>
              <a:gd name="connsiteY3" fmla="*/ 886963 h 886963"/>
              <a:gd name="connsiteX4" fmla="*/ 257468 w 1043747"/>
              <a:gd name="connsiteY4" fmla="*/ 886963 h 886963"/>
              <a:gd name="connsiteX5" fmla="*/ 0 w 1043747"/>
              <a:gd name="connsiteY5" fmla="*/ 443482 h 8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3747" h="886963">
                <a:moveTo>
                  <a:pt x="257468" y="0"/>
                </a:moveTo>
                <a:lnTo>
                  <a:pt x="786279" y="0"/>
                </a:lnTo>
                <a:lnTo>
                  <a:pt x="1043747" y="443482"/>
                </a:lnTo>
                <a:lnTo>
                  <a:pt x="786279" y="886963"/>
                </a:lnTo>
                <a:lnTo>
                  <a:pt x="257468" y="886963"/>
                </a:lnTo>
                <a:lnTo>
                  <a:pt x="0" y="443482"/>
                </a:lnTo>
                <a:close/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1A466BF-F9E7-4CEB-A39D-CDA6002F34CE}"/>
              </a:ext>
            </a:extLst>
          </p:cNvPr>
          <p:cNvSpPr/>
          <p:nvPr/>
        </p:nvSpPr>
        <p:spPr>
          <a:xfrm>
            <a:off x="167643" y="1650459"/>
            <a:ext cx="11493491" cy="4825990"/>
          </a:xfrm>
          <a:prstGeom prst="rect">
            <a:avLst/>
          </a:prstGeom>
          <a:solidFill>
            <a:srgbClr val="FFFFFF">
              <a:alpha val="8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84998" y="1811760"/>
            <a:ext cx="3321001" cy="2842477"/>
            <a:chOff x="218383" y="1653313"/>
            <a:chExt cx="3321001" cy="2842477"/>
          </a:xfrm>
        </p:grpSpPr>
        <p:grpSp>
          <p:nvGrpSpPr>
            <p:cNvPr id="186" name="Group 185"/>
            <p:cNvGrpSpPr/>
            <p:nvPr/>
          </p:nvGrpSpPr>
          <p:grpSpPr>
            <a:xfrm>
              <a:off x="218383" y="1653313"/>
              <a:ext cx="3321001" cy="2842477"/>
              <a:chOff x="218383" y="1653313"/>
              <a:chExt cx="3321001" cy="2842477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FAE054EB-B811-4A15-865F-25F371837583}"/>
                  </a:ext>
                </a:extLst>
              </p:cNvPr>
              <p:cNvGrpSpPr/>
              <p:nvPr/>
            </p:nvGrpSpPr>
            <p:grpSpPr>
              <a:xfrm>
                <a:off x="218383" y="1653313"/>
                <a:ext cx="3321001" cy="2842477"/>
                <a:chOff x="157163" y="2638547"/>
                <a:chExt cx="2714401" cy="2323283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10" name="Hexagon 109">
                  <a:extLst>
                    <a:ext uri="{FF2B5EF4-FFF2-40B4-BE49-F238E27FC236}">
                      <a16:creationId xmlns:a16="http://schemas.microsoft.com/office/drawing/2014/main" id="{B6433C9F-874C-49C0-9CA5-066A541664C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57163" y="2638547"/>
                  <a:ext cx="2693176" cy="2323283"/>
                </a:xfrm>
                <a:prstGeom prst="hexagon">
                  <a:avLst>
                    <a:gd name="adj" fmla="val 28619"/>
                    <a:gd name="vf" fmla="val 115470"/>
                  </a:avLst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9" name="Hexagon 118">
                  <a:extLst>
                    <a:ext uri="{FF2B5EF4-FFF2-40B4-BE49-F238E27FC236}">
                      <a16:creationId xmlns:a16="http://schemas.microsoft.com/office/drawing/2014/main" id="{0763AAAB-0FE2-4159-9A60-814FC035E32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36238" y="2688452"/>
                  <a:ext cx="2635326" cy="2273378"/>
                </a:xfrm>
                <a:prstGeom prst="hexagon">
                  <a:avLst>
                    <a:gd name="adj" fmla="val 28619"/>
                    <a:gd name="vf" fmla="val 115470"/>
                  </a:avLst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9" name="TextBox 8"/>
              <p:cNvSpPr txBox="1"/>
              <p:nvPr/>
            </p:nvSpPr>
            <p:spPr>
              <a:xfrm>
                <a:off x="705897" y="1924555"/>
                <a:ext cx="2345974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 err="1">
                    <a:solidFill>
                      <a:schemeClr val="accent2"/>
                    </a:solidFill>
                  </a:rPr>
                  <a:t>Intermittent</a:t>
                </a:r>
                <a:r>
                  <a:rPr lang="de-DE" b="1" dirty="0">
                    <a:solidFill>
                      <a:schemeClr val="accent2"/>
                    </a:solidFill>
                  </a:rPr>
                  <a:t> </a:t>
                </a:r>
                <a:r>
                  <a:rPr lang="de-DE" b="1" dirty="0" err="1">
                    <a:solidFill>
                      <a:schemeClr val="accent2"/>
                    </a:solidFill>
                  </a:rPr>
                  <a:t>renewable</a:t>
                </a:r>
                <a:r>
                  <a:rPr lang="de-DE" b="1" dirty="0">
                    <a:solidFill>
                      <a:schemeClr val="accent2"/>
                    </a:solidFill>
                  </a:rPr>
                  <a:t/>
                </a:r>
                <a:br>
                  <a:rPr lang="de-DE" b="1" dirty="0">
                    <a:solidFill>
                      <a:schemeClr val="accent2"/>
                    </a:solidFill>
                  </a:rPr>
                </a:br>
                <a:r>
                  <a:rPr lang="de-DE" b="1" dirty="0">
                    <a:solidFill>
                      <a:schemeClr val="accent2"/>
                    </a:solidFill>
                  </a:rPr>
                  <a:t>power </a:t>
                </a:r>
                <a:r>
                  <a:rPr lang="de-DE" b="1" dirty="0" err="1">
                    <a:solidFill>
                      <a:schemeClr val="accent2"/>
                    </a:solidFill>
                  </a:rPr>
                  <a:t>generation</a:t>
                </a:r>
                <a:endParaRPr lang="de-DE" dirty="0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4E98BF9-821E-451E-BFE8-AE57A21A500B}"/>
                </a:ext>
              </a:extLst>
            </p:cNvPr>
            <p:cNvSpPr txBox="1">
              <a:spLocks/>
            </p:cNvSpPr>
            <p:nvPr/>
          </p:nvSpPr>
          <p:spPr>
            <a:xfrm>
              <a:off x="934173" y="2635853"/>
              <a:ext cx="1935760" cy="1323439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/>
              <a:r>
                <a:rPr lang="en-US" sz="5400" b="1" dirty="0">
                  <a:solidFill>
                    <a:schemeClr val="accent2"/>
                  </a:solidFill>
                </a:rPr>
                <a:t>x10</a:t>
              </a:r>
              <a:endParaRPr lang="en-US" sz="5400" dirty="0"/>
            </a:p>
            <a:p>
              <a:pPr algn="ctr"/>
              <a:r>
                <a:rPr lang="en-US" sz="1600" dirty="0"/>
                <a:t>by 2050 to &gt;50 </a:t>
              </a:r>
              <a:r>
                <a:rPr lang="en-US" sz="1600" dirty="0" err="1"/>
                <a:t>TWh</a:t>
              </a:r>
              <a:r>
                <a:rPr lang="en-US" sz="1600" dirty="0"/>
                <a:t> per day</a:t>
              </a:r>
              <a:endParaRPr lang="en-US" sz="24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988451" y="1834717"/>
            <a:ext cx="3321001" cy="2842477"/>
            <a:chOff x="6573838" y="1652588"/>
            <a:chExt cx="3321001" cy="2842477"/>
          </a:xfrm>
        </p:grpSpPr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AE054EB-B811-4A15-865F-25F371837583}"/>
                </a:ext>
              </a:extLst>
            </p:cNvPr>
            <p:cNvGrpSpPr/>
            <p:nvPr/>
          </p:nvGrpSpPr>
          <p:grpSpPr>
            <a:xfrm>
              <a:off x="6573838" y="1652588"/>
              <a:ext cx="3321001" cy="2842477"/>
              <a:chOff x="157163" y="2638547"/>
              <a:chExt cx="2714401" cy="232328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57" name="Hexagon 156">
                <a:extLst>
                  <a:ext uri="{FF2B5EF4-FFF2-40B4-BE49-F238E27FC236}">
                    <a16:creationId xmlns:a16="http://schemas.microsoft.com/office/drawing/2014/main" id="{B6433C9F-874C-49C0-9CA5-066A541664C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57163" y="2638547"/>
                <a:ext cx="2693176" cy="2323283"/>
              </a:xfrm>
              <a:prstGeom prst="hexagon">
                <a:avLst>
                  <a:gd name="adj" fmla="val 28619"/>
                  <a:gd name="vf" fmla="val 115470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Hexagon 157">
                <a:extLst>
                  <a:ext uri="{FF2B5EF4-FFF2-40B4-BE49-F238E27FC236}">
                    <a16:creationId xmlns:a16="http://schemas.microsoft.com/office/drawing/2014/main" id="{0763AAAB-0FE2-4159-9A60-814FC035E3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238" y="2688452"/>
                <a:ext cx="2635326" cy="2273378"/>
              </a:xfrm>
              <a:prstGeom prst="hexagon">
                <a:avLst>
                  <a:gd name="adj" fmla="val 28619"/>
                  <a:gd name="vf" fmla="val 115470"/>
                </a:avLst>
              </a:prstGeom>
              <a:solidFill>
                <a:schemeClr val="accent3">
                  <a:lumMod val="20000"/>
                  <a:lumOff val="8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66" name="TextBox 165"/>
            <p:cNvSpPr txBox="1"/>
            <p:nvPr/>
          </p:nvSpPr>
          <p:spPr>
            <a:xfrm>
              <a:off x="7142163" y="1808163"/>
              <a:ext cx="21819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</a:rPr>
                <a:t>Electrification in end use sectors</a:t>
              </a:r>
              <a:endParaRPr lang="de-DE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4E98BF9-821E-451E-BFE8-AE57A21A500B}"/>
                </a:ext>
              </a:extLst>
            </p:cNvPr>
            <p:cNvSpPr txBox="1">
              <a:spLocks/>
            </p:cNvSpPr>
            <p:nvPr/>
          </p:nvSpPr>
          <p:spPr>
            <a:xfrm>
              <a:off x="7322786" y="2534602"/>
              <a:ext cx="1935760" cy="1323439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/>
              <a:r>
                <a:rPr lang="en-US" sz="5400" b="1" dirty="0">
                  <a:solidFill>
                    <a:schemeClr val="accent5"/>
                  </a:solidFill>
                </a:rPr>
                <a:t>+75%</a:t>
              </a:r>
              <a:endParaRPr lang="en-US" sz="5400" dirty="0">
                <a:solidFill>
                  <a:schemeClr val="accent5"/>
                </a:solidFill>
              </a:endParaRPr>
            </a:p>
            <a:p>
              <a:pPr algn="ctr"/>
              <a:r>
                <a:rPr lang="en-US" sz="1600" dirty="0"/>
                <a:t>from ~70 EJ today</a:t>
              </a:r>
              <a:br>
                <a:rPr lang="en-US" sz="1600" dirty="0"/>
              </a:br>
              <a:r>
                <a:rPr lang="en-US" sz="1600" dirty="0"/>
                <a:t>to ~130 EJ by 2050</a:t>
              </a:r>
              <a:endParaRPr lang="en-US" sz="24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451264" y="3129382"/>
            <a:ext cx="3321001" cy="2842477"/>
            <a:chOff x="8598896" y="3548063"/>
            <a:chExt cx="3321001" cy="2842477"/>
          </a:xfrm>
        </p:grpSpPr>
        <p:grpSp>
          <p:nvGrpSpPr>
            <p:cNvPr id="167" name="Group 166"/>
            <p:cNvGrpSpPr/>
            <p:nvPr/>
          </p:nvGrpSpPr>
          <p:grpSpPr>
            <a:xfrm>
              <a:off x="8598896" y="3548063"/>
              <a:ext cx="3321001" cy="2842477"/>
              <a:chOff x="8598896" y="3548063"/>
              <a:chExt cx="3321001" cy="2842477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FAE054EB-B811-4A15-865F-25F371837583}"/>
                  </a:ext>
                </a:extLst>
              </p:cNvPr>
              <p:cNvGrpSpPr/>
              <p:nvPr/>
            </p:nvGrpSpPr>
            <p:grpSpPr>
              <a:xfrm>
                <a:off x="8598896" y="3548063"/>
                <a:ext cx="3321001" cy="2842477"/>
                <a:chOff x="157163" y="2638547"/>
                <a:chExt cx="2714401" cy="2323283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71" name="Hexagon 170">
                  <a:extLst>
                    <a:ext uri="{FF2B5EF4-FFF2-40B4-BE49-F238E27FC236}">
                      <a16:creationId xmlns:a16="http://schemas.microsoft.com/office/drawing/2014/main" id="{B6433C9F-874C-49C0-9CA5-066A541664C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57163" y="2638547"/>
                  <a:ext cx="2693176" cy="2323283"/>
                </a:xfrm>
                <a:prstGeom prst="hexagon">
                  <a:avLst>
                    <a:gd name="adj" fmla="val 28619"/>
                    <a:gd name="vf" fmla="val 115470"/>
                  </a:avLst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2" name="Hexagon 171">
                  <a:extLst>
                    <a:ext uri="{FF2B5EF4-FFF2-40B4-BE49-F238E27FC236}">
                      <a16:creationId xmlns:a16="http://schemas.microsoft.com/office/drawing/2014/main" id="{0763AAAB-0FE2-4159-9A60-814FC035E32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36238" y="2688452"/>
                  <a:ext cx="2635326" cy="2273378"/>
                </a:xfrm>
                <a:prstGeom prst="hexagon">
                  <a:avLst>
                    <a:gd name="adj" fmla="val 28619"/>
                    <a:gd name="vf" fmla="val 115470"/>
                  </a:avLst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73" name="TextBox 172"/>
              <p:cNvSpPr txBox="1"/>
              <p:nvPr/>
            </p:nvSpPr>
            <p:spPr>
              <a:xfrm>
                <a:off x="9230148" y="3734390"/>
                <a:ext cx="2181934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accent5"/>
                    </a:solidFill>
                  </a:rPr>
                  <a:t>Using or storing carbon</a:t>
                </a:r>
                <a:endParaRPr lang="de-DE" baseline="-25000" dirty="0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D4E98BF9-821E-451E-BFE8-AE57A21A500B}"/>
                </a:ext>
              </a:extLst>
            </p:cNvPr>
            <p:cNvSpPr txBox="1">
              <a:spLocks/>
            </p:cNvSpPr>
            <p:nvPr/>
          </p:nvSpPr>
          <p:spPr>
            <a:xfrm>
              <a:off x="8865985" y="4466625"/>
              <a:ext cx="2935730" cy="1169551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/>
              <a:r>
                <a:rPr lang="en-US" sz="4400" b="1" dirty="0">
                  <a:solidFill>
                    <a:schemeClr val="accent5"/>
                  </a:solidFill>
                </a:rPr>
                <a:t>+</a:t>
              </a:r>
              <a:r>
                <a:rPr lang="en-US" sz="4400" b="1" dirty="0" smtClean="0">
                  <a:solidFill>
                    <a:schemeClr val="accent5"/>
                  </a:solidFill>
                </a:rPr>
                <a:t>5.5 </a:t>
              </a:r>
              <a:r>
                <a:rPr lang="de-DE" sz="4400" b="1" dirty="0" err="1">
                  <a:solidFill>
                    <a:schemeClr val="accent5"/>
                  </a:solidFill>
                </a:rPr>
                <a:t>Gt</a:t>
              </a:r>
              <a:r>
                <a:rPr lang="de-DE" sz="4400" dirty="0">
                  <a:solidFill>
                    <a:schemeClr val="accent5"/>
                  </a:solidFill>
                </a:rPr>
                <a:t/>
              </a:r>
              <a:br>
                <a:rPr lang="de-DE" sz="4400" dirty="0">
                  <a:solidFill>
                    <a:schemeClr val="accent5"/>
                  </a:solidFill>
                </a:rPr>
              </a:br>
              <a:r>
                <a:rPr lang="en-US" sz="1600" dirty="0"/>
                <a:t>from very little today</a:t>
              </a:r>
              <a:br>
                <a:rPr lang="en-US" sz="1600" dirty="0"/>
              </a:br>
              <a:r>
                <a:rPr lang="en-US" sz="1600" dirty="0"/>
                <a:t>to </a:t>
              </a:r>
              <a:r>
                <a:rPr lang="en-US" sz="1600" dirty="0" smtClean="0"/>
                <a:t>5.5 </a:t>
              </a:r>
              <a:r>
                <a:rPr lang="en-US" sz="1600" dirty="0"/>
                <a:t>Gt by 2050</a:t>
              </a:r>
              <a:endParaRPr lang="en-US" sz="24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651315" y="3129382"/>
            <a:ext cx="3321001" cy="2842477"/>
            <a:chOff x="2752725" y="3548063"/>
            <a:chExt cx="3321001" cy="2842477"/>
          </a:xfrm>
        </p:grpSpPr>
        <p:grpSp>
          <p:nvGrpSpPr>
            <p:cNvPr id="181" name="Group 180"/>
            <p:cNvGrpSpPr/>
            <p:nvPr/>
          </p:nvGrpSpPr>
          <p:grpSpPr>
            <a:xfrm>
              <a:off x="2752725" y="3548063"/>
              <a:ext cx="3321001" cy="2842477"/>
              <a:chOff x="2752725" y="3548063"/>
              <a:chExt cx="3321001" cy="2842477"/>
            </a:xfrm>
          </p:grpSpPr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FAE054EB-B811-4A15-865F-25F371837583}"/>
                  </a:ext>
                </a:extLst>
              </p:cNvPr>
              <p:cNvGrpSpPr/>
              <p:nvPr/>
            </p:nvGrpSpPr>
            <p:grpSpPr>
              <a:xfrm>
                <a:off x="2752725" y="3548063"/>
                <a:ext cx="3321001" cy="2842477"/>
                <a:chOff x="157163" y="2638547"/>
                <a:chExt cx="2714401" cy="2323283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40" name="Hexagon 139">
                  <a:extLst>
                    <a:ext uri="{FF2B5EF4-FFF2-40B4-BE49-F238E27FC236}">
                      <a16:creationId xmlns:a16="http://schemas.microsoft.com/office/drawing/2014/main" id="{B6433C9F-874C-49C0-9CA5-066A541664C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57163" y="2638547"/>
                  <a:ext cx="2693176" cy="2323283"/>
                </a:xfrm>
                <a:prstGeom prst="hexagon">
                  <a:avLst>
                    <a:gd name="adj" fmla="val 28619"/>
                    <a:gd name="vf" fmla="val 115470"/>
                  </a:avLst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Hexagon 140">
                  <a:extLst>
                    <a:ext uri="{FF2B5EF4-FFF2-40B4-BE49-F238E27FC236}">
                      <a16:creationId xmlns:a16="http://schemas.microsoft.com/office/drawing/2014/main" id="{0763AAAB-0FE2-4159-9A60-814FC035E32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36238" y="2688452"/>
                  <a:ext cx="2635326" cy="2273378"/>
                </a:xfrm>
                <a:prstGeom prst="hexagon">
                  <a:avLst>
                    <a:gd name="adj" fmla="val 28619"/>
                    <a:gd name="vf" fmla="val 115470"/>
                  </a:avLst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97" name="TextBox 96"/>
              <p:cNvSpPr txBox="1"/>
              <p:nvPr/>
            </p:nvSpPr>
            <p:spPr>
              <a:xfrm>
                <a:off x="3397158" y="3703638"/>
                <a:ext cx="2181934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 err="1">
                    <a:solidFill>
                      <a:schemeClr val="accent2"/>
                    </a:solidFill>
                  </a:rPr>
                  <a:t>Renewable</a:t>
                </a:r>
                <a:r>
                  <a:rPr lang="de-DE" b="1" dirty="0">
                    <a:solidFill>
                      <a:schemeClr val="accent2"/>
                    </a:solidFill>
                  </a:rPr>
                  <a:t/>
                </a:r>
                <a:br>
                  <a:rPr lang="de-DE" b="1" dirty="0">
                    <a:solidFill>
                      <a:schemeClr val="accent2"/>
                    </a:solidFill>
                  </a:rPr>
                </a:br>
                <a:r>
                  <a:rPr lang="de-DE" b="1" dirty="0" err="1">
                    <a:solidFill>
                      <a:schemeClr val="accent2"/>
                    </a:solidFill>
                  </a:rPr>
                  <a:t>energy</a:t>
                </a:r>
                <a:r>
                  <a:rPr lang="de-DE" b="1" dirty="0">
                    <a:solidFill>
                      <a:schemeClr val="accent2"/>
                    </a:solidFill>
                  </a:rPr>
                  <a:t> </a:t>
                </a:r>
                <a:r>
                  <a:rPr lang="de-DE" b="1" dirty="0" err="1">
                    <a:solidFill>
                      <a:schemeClr val="accent2"/>
                    </a:solidFill>
                  </a:rPr>
                  <a:t>storage</a:t>
                </a:r>
                <a:endParaRPr lang="de-DE" dirty="0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D4E98BF9-821E-451E-BFE8-AE57A21A500B}"/>
                </a:ext>
              </a:extLst>
            </p:cNvPr>
            <p:cNvSpPr txBox="1">
              <a:spLocks/>
            </p:cNvSpPr>
            <p:nvPr/>
          </p:nvSpPr>
          <p:spPr>
            <a:xfrm>
              <a:off x="3207028" y="4457228"/>
              <a:ext cx="2443020" cy="1569660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ctr"/>
              <a:r>
                <a:rPr lang="en-US" sz="5400" b="1" dirty="0">
                  <a:solidFill>
                    <a:schemeClr val="accent2"/>
                  </a:solidFill>
                </a:rPr>
                <a:t>+18 EJ</a:t>
              </a:r>
              <a:endParaRPr lang="en-US" sz="5400" dirty="0"/>
            </a:p>
            <a:p>
              <a:pPr algn="ctr"/>
              <a:r>
                <a:rPr lang="en-US" sz="1600" dirty="0"/>
                <a:t>From fossil-fuel based energy storage today to renewable by 2050</a:t>
              </a:r>
              <a:endParaRPr lang="en-US" sz="2400" b="1" dirty="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830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MTFACCENT" val="Accent3"/>
  <p:tag name="ISNEWSLIDENUMBER" val="True"/>
  <p:tag name="NEWNAMES" val="True"/>
  <p:tag name="MTBTACCENT" val="Text2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3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22&quot;&gt;&lt;elem m_fUsage=&quot;5.12579511000000032084E+00&quot;&gt;&lt;m_msothmcolidx val=&quot;0&quot;/&gt;&lt;m_rgb r=&quot;00&quot; g=&quot;70&quot; b=&quot;C0&quot;/&gt;&lt;m_nBrightness val=&quot;0&quot;/&gt;&lt;/elem&gt;&lt;elem m_fUsage=&quot;1.87140505639547960470E+00&quot;&gt;&lt;m_msothmcolidx val=&quot;0&quot;/&gt;&lt;m_rgb r=&quot;ED&quot; g=&quot;99&quot; b=&quot;27&quot;/&gt;&lt;m_nBrightness val=&quot;0&quot;/&gt;&lt;/elem&gt;&lt;elem m_fUsage=&quot;1.00000000000000000000E+00&quot;&gt;&lt;m_msothmcolidx val=&quot;0&quot;/&gt;&lt;m_rgb r=&quot;E7&quot; g=&quot;EF&quot; b=&quot;ED&quot;/&gt;&lt;m_nBrightness val=&quot;0&quot;/&gt;&lt;/elem&gt;&lt;elem m_fUsage=&quot;5.01834698764717201946E-01&quot;&gt;&lt;m_msothmcolidx val=&quot;0&quot;/&gt;&lt;m_rgb r=&quot;D8&quot; g=&quot;D6&quot; b=&quot;1F&quot;/&gt;&lt;m_nBrightness val=&quot;0&quot;/&gt;&lt;/elem&gt;&lt;elem m_fUsage=&quot;2.73069047362295591608E-01&quot;&gt;&lt;m_msothmcolidx val=&quot;0&quot;/&gt;&lt;m_rgb r=&quot;00&quot; g=&quot;6C&quot; b=&quot;3F&quot;/&gt;&lt;m_nBrightness val=&quot;0&quot;/&gt;&lt;/elem&gt;&lt;elem m_fUsage=&quot;2.66730674205746975947E-01&quot;&gt;&lt;m_msothmcolidx val=&quot;0&quot;/&gt;&lt;m_rgb r=&quot;6B&quot; g=&quot;72&quot; b=&quot;7A&quot;/&gt;&lt;m_nBrightness val=&quot;0&quot;/&gt;&lt;/elem&gt;&lt;elem m_fUsage=&quot;2.28767924549610118801E-01&quot;&gt;&lt;m_msothmcolidx val=&quot;0&quot;/&gt;&lt;m_rgb r=&quot;86&quot; g=&quot;AD&quot; b=&quot;A4&quot;/&gt;&lt;m_nBrightness val=&quot;0&quot;/&gt;&lt;/elem&gt;&lt;elem m_fUsage=&quot;2.05891132094649098594E-01&quot;&gt;&lt;m_msothmcolidx val=&quot;0&quot;/&gt;&lt;m_rgb r=&quot;EE&quot; g=&quot;9D&quot; b=&quot;44&quot;/&gt;&lt;m_nBrightness val=&quot;0&quot;/&gt;&lt;/elem&gt;&lt;elem m_fUsage=&quot;1.66771816996665767086E-01&quot;&gt;&lt;m_msothmcolidx val=&quot;0&quot;/&gt;&lt;m_rgb r=&quot;18&quot; g=&quot;52&quot; b=&quot;71&quot;/&gt;&lt;m_nBrightness val=&quot;0&quot;/&gt;&lt;/elem&gt;&lt;elem m_fUsage=&quot;1.09418989131512434110E-01&quot;&gt;&lt;m_msothmcolidx val=&quot;0&quot;/&gt;&lt;m_rgb r=&quot;E8&quot; g=&quot;E8&quot; b=&quot;E8&quot;/&gt;&lt;m_nBrightness val=&quot;0&quot;/&gt;&lt;/elem&gt;&lt;elem m_fUsage=&quot;5.07189670828058700169E-02&quot;&gt;&lt;m_msothmcolidx val=&quot;0&quot;/&gt;&lt;m_rgb r=&quot;AF&quot; g=&quot;D3&quot; b=&quot;EA&quot;/&gt;&lt;m_nBrightness val=&quot;0&quot;/&gt;&lt;/elem&gt;&lt;elem m_fUsage=&quot;3.80063932564577988682E-02&quot;&gt;&lt;m_msothmcolidx val=&quot;0&quot;/&gt;&lt;m_rgb r=&quot;66&quot; g=&quot;66&quot; b=&quot;66&quot;/&gt;&lt;m_nBrightness val=&quot;0&quot;/&gt;&lt;/elem&gt;&lt;elem m_fUsage=&quot;2.83957184508226989639E-02&quot;&gt;&lt;m_msothmcolidx val=&quot;0&quot;/&gt;&lt;m_rgb r=&quot;C0&quot; g=&quot;D8&quot; b=&quot;96&quot;/&gt;&lt;m_nBrightness val=&quot;0&quot;/&gt;&lt;/elem&gt;&lt;elem m_fUsage=&quot;2.50315550499324440681E-02&quot;&gt;&lt;m_msothmcolidx val=&quot;0&quot;/&gt;&lt;m_rgb r=&quot;91&quot; g=&quot;B5&quot; b=&quot;CC&quot;/&gt;&lt;m_nBrightness val=&quot;0&quot;/&gt;&lt;/elem&gt;&lt;elem m_fUsage=&quot;2.25283995449391989674E-02&quot;&gt;&lt;m_msothmcolidx val=&quot;0&quot;/&gt;&lt;m_rgb r=&quot;9B&quot; g=&quot;BF&quot; b=&quot;D6&quot;/&gt;&lt;m_nBrightness val=&quot;0&quot;/&gt;&lt;/elem&gt;&lt;elem m_fUsage=&quot;1.82480036314007498799E-02&quot;&gt;&lt;m_msothmcolidx val=&quot;0&quot;/&gt;&lt;m_rgb r=&quot;EF&quot; g=&quot;F1&quot; b=&quot;F0&quot;/&gt;&lt;m_nBrightness val=&quot;0&quot;/&gt;&lt;/elem&gt;&lt;elem m_fUsage=&quot;1.47808829414346077497E-02&quot;&gt;&lt;m_msothmcolidx val=&quot;0&quot;/&gt;&lt;m_rgb r=&quot;47&quot; g=&quot;48&quot; b=&quot;46&quot;/&gt;&lt;m_nBrightness val=&quot;0&quot;/&gt;&lt;/elem&gt;&lt;elem m_fUsage=&quot;1.32402983692638982760E-02&quot;&gt;&lt;m_msothmcolidx val=&quot;0&quot;/&gt;&lt;m_rgb r=&quot;A3&quot; g=&quot;B3&quot; b=&quot;00&quot;/&gt;&lt;m_nBrightness val=&quot;0&quot;/&gt;&lt;/elem&gt;&lt;elem m_fUsage=&quot;8.72796356808772273717E-03&quot;&gt;&lt;m_msothmcolidx val=&quot;0&quot;/&gt;&lt;m_rgb r=&quot;AD&quot; g=&quot;A6&quot; b=&quot;96&quot;/&gt;&lt;m_nBrightness val=&quot;0&quot;/&gt;&lt;/elem&gt;&lt;elem m_fUsage=&quot;4.17455791792929655631E-03&quot;&gt;&lt;m_msothmcolidx val=&quot;0&quot;/&gt;&lt;m_rgb r=&quot;01&quot; g=&quot;3C&quot; b=&quot;67&quot;/&gt;&lt;m_nBrightness val=&quot;0&quot;/&gt;&lt;/elem&gt;&lt;elem m_fUsage=&quot;3.75710212613636698742E-03&quot;&gt;&lt;m_msothmcolidx val=&quot;0&quot;/&gt;&lt;m_rgb r=&quot;F2&quot; g=&quot;7F&quot; b=&quot;00&quot;/&gt;&lt;m_nBrightness val=&quot;0&quot;/&gt;&lt;/elem&gt;&lt;elem m_fUsage=&quot;2.73892744995341171077E-03&quot;&gt;&lt;m_msothmcolidx val=&quot;0&quot;/&gt;&lt;m_rgb r=&quot;CD&quot; g=&quot;20&quot; b=&quot;2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Markus Wilthaner\Box Sync\201706 Hydrogen Council\40 Client meetings\20171111 COP23 Bonn\CEO presentation\20171111 COP23 Presentation v15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nJlVf0T.GJNjxSW4Rv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6bO.JCQRqs1dczu47T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ueVH29Sy65L.JvRUEx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CstoiFRGCQpA5VjYTW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F2VSyRR7Kg3rJiE5FN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2LWQu7R7C43T3SVS6H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_A0G49QrmMPUwPvihm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5htlduQe61BzNZZMeJ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6Ph26PSW6FSnd1z_Jh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2lgytKQiCy6HQ2MO3w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wn._rNRyKXQHFSeqeo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14zsNwSUG4oiK7o39d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Guf3IRtywK5VhQUBO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wdClCQsadUp9XjGV5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gDXCeXQoSy3tAxCqUf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gDXCeXQoSy3tAxCqUf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jpOsBSi6MC1xd1keg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51.4888"/>
  <p:tag name="ORIGTOP" val="140.423"/>
  <p:tag name="ORIGHEIGHT" val="65.79173"/>
  <p:tag name="ORIGWIDTH" val="72.0931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3295"/>
  <p:tag name="ORIGTOP" val="295.5877"/>
  <p:tag name="ORIGHEIGHT" val="35.40905"/>
  <p:tag name="ORIGWIDTH" val="30.2156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q0wZNQmC.WWJIxgpV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za7N1WRxKg5ftQxgdY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.hW2DATwWY_x6I0CLP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wktsrATfeE3CquizIjo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Leu15JQwqjZcpYNlcT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inYYD6TkupA29aFJo_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m4jsPUTSS2Y8.YD9OV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m6JABrQJiGzRfZvPc9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dGbWLrR2q58j4mFRKo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ag1WX5RQSeVWNySGor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NoBREPQoGLCEy3L1D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8tSs_3RSuSxAzTUsii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.cqgpTRiqF6rVq_vVm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3Y8MUVThm_jdimuVhk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XpmqGDQcmZZFBa1QSN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uK9ORlSD.scixo8RH.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RCLHJrSCSenx0_UrY_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c8MdJCQ8Ww5Uz05XAY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YeoHENTvif8aIK.w_0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iZ_4ldQH6Ij_9SJa5wt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Rtbz6JSRKPBbVn_D0bp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3CFF_Rui.Bh2OI7H6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Hydrogen">
      <a:dk1>
        <a:srgbClr val="000000"/>
      </a:dk1>
      <a:lt1>
        <a:srgbClr val="FFFFFF"/>
      </a:lt1>
      <a:dk2>
        <a:srgbClr val="185271"/>
      </a:dk2>
      <a:lt2>
        <a:srgbClr val="FFFFFF"/>
      </a:lt2>
      <a:accent1>
        <a:srgbClr val="E8E8E8"/>
      </a:accent1>
      <a:accent2>
        <a:srgbClr val="9DC15C"/>
      </a:accent2>
      <a:accent3>
        <a:srgbClr val="86ADA4"/>
      </a:accent3>
      <a:accent4>
        <a:srgbClr val="185271"/>
      </a:accent4>
      <a:accent5>
        <a:srgbClr val="00B3E3"/>
      </a:accent5>
      <a:accent6>
        <a:srgbClr val="B2B2B2"/>
      </a:accent6>
      <a:hlink>
        <a:srgbClr val="86ADA4"/>
      </a:hlink>
      <a:folHlink>
        <a:srgbClr val="185271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5C28D347-7A05-43D7-81F9-D532D56F9B81}" vid="{34CEA61B-C070-419B-8F16-8199C90D1840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nited States) - Blue - Wide</Template>
  <TotalTime>0</TotalTime>
  <Words>2158</Words>
  <Application>Microsoft Office PowerPoint</Application>
  <PresentationFormat>Personnalisé</PresentationFormat>
  <Paragraphs>404</Paragraphs>
  <Slides>25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5</vt:i4>
      </vt:variant>
    </vt:vector>
  </HeadingPairs>
  <TitlesOfParts>
    <vt:vector size="33" baseType="lpstr">
      <vt:lpstr>Arial</vt:lpstr>
      <vt:lpstr>Calibri</vt:lpstr>
      <vt:lpstr>Calibri Regular</vt:lpstr>
      <vt:lpstr>Signika Semibold</vt:lpstr>
      <vt:lpstr>Source Sans Pro</vt:lpstr>
      <vt:lpstr>Firm Format - template_Blue</vt:lpstr>
      <vt:lpstr>think-cell Slide</vt:lpstr>
      <vt:lpstr>Chart</vt:lpstr>
      <vt:lpstr>Présentation PowerPoint</vt:lpstr>
      <vt:lpstr>The Hydrogen Council - Introduction</vt:lpstr>
      <vt:lpstr> A STRONG &amp; DYNAMIC GROUP</vt:lpstr>
      <vt:lpstr> MOBILISED TOP LEADERS</vt:lpstr>
      <vt:lpstr> SHAPING A JOINT VISION  To foster h2 in political agenda</vt:lpstr>
      <vt:lpstr>COMMITMENTS CEO  meeting - San Francisco, USA – September 2018</vt:lpstr>
      <vt:lpstr>VISION &amp; AMBITION</vt:lpstr>
      <vt:lpstr>Présentation PowerPoint</vt:lpstr>
      <vt:lpstr>The energy transition creates multiple challenges</vt:lpstr>
      <vt:lpstr>Hydrogen can help mitigate all these challenges</vt:lpstr>
      <vt:lpstr>Hydrogen can benefit the energy system, environment and economy</vt:lpstr>
      <vt:lpstr>Présentation PowerPoint</vt:lpstr>
      <vt:lpstr>The technologies exist and are ready to be deployed</vt:lpstr>
      <vt:lpstr>Hydrogen has significant potential across all applications</vt:lpstr>
      <vt:lpstr>In transport, industry and buildings hydrogen could contribute 40-60% of required CO2 abatement</vt:lpstr>
      <vt:lpstr>Milestones for 2030 on the path to the 2050 vision</vt:lpstr>
      <vt:lpstr>Investing $280 billion until 2030 would create a market worth more than $140 billion annually</vt:lpstr>
      <vt:lpstr>The case for acting now: Large-scale deployment initiatives underpinned by long-term policy frameworks to attract investors</vt:lpstr>
      <vt:lpstr>Présentation PowerPoint</vt:lpstr>
      <vt:lpstr>Présentation PowerPoint</vt:lpstr>
      <vt:lpstr>Transportation</vt:lpstr>
      <vt:lpstr>Industry energy</vt:lpstr>
      <vt:lpstr>Building heat  and power</vt:lpstr>
      <vt:lpstr>Industry feedstock</vt:lpstr>
      <vt:lpstr>Energy syste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7-08-01T08:44:56Z</dcterms:created>
  <dcterms:modified xsi:type="dcterms:W3CDTF">2018-11-27T15:23:18Z</dcterms:modified>
  <cp:category/>
  <cp:contentStatus/>
  <dc:language/>
  <cp:version/>
</cp:coreProperties>
</file>